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1.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53"/>
  </p:notesMasterIdLst>
  <p:handoutMasterIdLst>
    <p:handoutMasterId r:id="rId54"/>
  </p:handoutMasterIdLst>
  <p:sldIdLst>
    <p:sldId id="275" r:id="rId5"/>
    <p:sldId id="276" r:id="rId6"/>
    <p:sldId id="383" r:id="rId7"/>
    <p:sldId id="323" r:id="rId8"/>
    <p:sldId id="327" r:id="rId9"/>
    <p:sldId id="375" r:id="rId10"/>
    <p:sldId id="324" r:id="rId11"/>
    <p:sldId id="326" r:id="rId12"/>
    <p:sldId id="325" r:id="rId13"/>
    <p:sldId id="358" r:id="rId14"/>
    <p:sldId id="376" r:id="rId15"/>
    <p:sldId id="315" r:id="rId16"/>
    <p:sldId id="377" r:id="rId17"/>
    <p:sldId id="318" r:id="rId18"/>
    <p:sldId id="334" r:id="rId19"/>
    <p:sldId id="342" r:id="rId20"/>
    <p:sldId id="378" r:id="rId21"/>
    <p:sldId id="360" r:id="rId22"/>
    <p:sldId id="382" r:id="rId23"/>
    <p:sldId id="339" r:id="rId24"/>
    <p:sldId id="389" r:id="rId25"/>
    <p:sldId id="285" r:id="rId26"/>
    <p:sldId id="355" r:id="rId27"/>
    <p:sldId id="337" r:id="rId28"/>
    <p:sldId id="369" r:id="rId29"/>
    <p:sldId id="346" r:id="rId30"/>
    <p:sldId id="345" r:id="rId31"/>
    <p:sldId id="379" r:id="rId32"/>
    <p:sldId id="384" r:id="rId33"/>
    <p:sldId id="317" r:id="rId34"/>
    <p:sldId id="386" r:id="rId35"/>
    <p:sldId id="387" r:id="rId36"/>
    <p:sldId id="361" r:id="rId37"/>
    <p:sldId id="362" r:id="rId38"/>
    <p:sldId id="363" r:id="rId39"/>
    <p:sldId id="364" r:id="rId40"/>
    <p:sldId id="365" r:id="rId41"/>
    <p:sldId id="366" r:id="rId42"/>
    <p:sldId id="367" r:id="rId43"/>
    <p:sldId id="368" r:id="rId44"/>
    <p:sldId id="388" r:id="rId45"/>
    <p:sldId id="352" r:id="rId46"/>
    <p:sldId id="353" r:id="rId47"/>
    <p:sldId id="347" r:id="rId48"/>
    <p:sldId id="351" r:id="rId49"/>
    <p:sldId id="349" r:id="rId50"/>
    <p:sldId id="350" r:id="rId51"/>
    <p:sldId id="278" r:id="rId52"/>
  </p:sldIdLst>
  <p:sldSz cx="12192000" cy="6858000"/>
  <p:notesSz cx="6950075" cy="9236075"/>
  <p:custShowLst>
    <p:custShow name="Format Guide Workshop" id="0">
      <p:sldLst/>
    </p:custShow>
  </p:custShowLst>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velyn Yong" initials="EY" lastIdx="1" clrIdx="0">
    <p:extLst>
      <p:ext uri="{19B8F6BF-5375-455C-9EA6-DF929625EA0E}">
        <p15:presenceInfo xmlns:p15="http://schemas.microsoft.com/office/powerpoint/2012/main" userId="119b54a3e824dba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C00"/>
    <a:srgbClr val="171D3C"/>
    <a:srgbClr val="FF8400"/>
    <a:srgbClr val="FF4343"/>
    <a:srgbClr val="FFFFFF"/>
    <a:srgbClr val="FF9900"/>
    <a:srgbClr val="FF0000"/>
    <a:srgbClr val="CBD0EB"/>
    <a:srgbClr val="A6A6A6"/>
    <a:srgbClr val="FF61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D17A1B-BAE4-4F53-935B-B69E11F8410A}" v="136" dt="2022-01-10T14:01:35.165"/>
    <p1510:client id="{0781AC2C-9B4D-48D3-8DAF-7A5A21AEF7CE}" v="1275" dt="2022-01-08T16:05:34.667"/>
    <p1510:client id="{0830A887-6C9B-4A6F-BE69-9E706E02DBA8}" v="93" dt="2022-01-10T04:35:17.181"/>
    <p1510:client id="{0883F417-7066-4F8C-84B9-A30A3FA59957}" v="91" dt="2022-01-11T03:40:58.195"/>
    <p1510:client id="{09A785CA-DAAB-46F8-8EBF-288BFAA28F4E}" v="26" dt="2022-01-10T14:30:12.487"/>
    <p1510:client id="{0C79BA91-1E94-4A31-96DF-93ED1DF4A512}" v="35" dt="2022-01-08T13:13:28.156"/>
    <p1510:client id="{0DBCE264-42AB-4E4D-92BD-92ADD1AB384F}" v="1493" dt="2022-01-09T08:50:17.590"/>
    <p1510:client id="{0EAB42A7-036F-4A14-8FB0-25A7DE98B9AA}" v="295" dt="2022-01-10T09:34:57.734"/>
    <p1510:client id="{0F3143D1-733D-4693-A1B4-4AC0E952203C}" v="1105" dt="2022-01-07T13:10:44.812"/>
    <p1510:client id="{116AD1FC-2C16-4F94-8C8D-181AC04248D0}" v="29" dt="2022-01-11T04:00:03.570"/>
    <p1510:client id="{11BCB7EC-2CD9-4DDE-8140-3BA1CF4EA7FC}" v="311" dt="2022-01-07T15:49:01.823"/>
    <p1510:client id="{1C868A80-F4F0-4CEC-A1DD-DCD9806FF52B}" v="24" dt="2022-01-08T01:47:13.057"/>
    <p1510:client id="{1DBB4F16-1CCE-4857-AA6E-634E45949B51}" v="51" dt="2022-01-10T12:50:26.267"/>
    <p1510:client id="{22FB8DB7-6371-41EB-A551-BB3DDECDAE5A}" v="160" dt="2022-01-07T15:42:27.729"/>
    <p1510:client id="{2992AFF7-732E-4672-B302-1D5AC74540D2}" v="1" dt="2022-01-10T13:54:38.336"/>
    <p1510:client id="{29E29440-0DE4-4097-B1BF-169145A03F4F}" v="207" dt="2022-01-09T08:56:03.225"/>
    <p1510:client id="{2E7C0D6E-C6A5-4772-9216-92AEF06745C3}" v="80" dt="2022-01-10T09:05:25.487"/>
    <p1510:client id="{2EA7E1D5-AE21-44E4-92AE-69268DACCF94}" v="15" dt="2022-01-10T15:02:02.024"/>
    <p1510:client id="{30E8B6D5-C3BB-4CF4-B067-415A54B103BF}" v="95" dt="2022-01-10T15:53:31.207"/>
    <p1510:client id="{33D43782-FE1C-4BEA-8261-254FCF1485F7}" v="42" dt="2022-01-06T05:10:20.904"/>
    <p1510:client id="{35D5487B-20F6-4690-B7B5-A0BABE93271B}" v="23" dt="2022-01-10T01:12:05.893"/>
    <p1510:client id="{3A0958C3-CB40-44EF-97F0-B6BA51C72152}" v="22" dt="2022-01-07T07:02:59.853"/>
    <p1510:client id="{3B0288CD-6438-43D8-A754-2C00C1097321}" v="118" dt="2022-01-08T09:20:41.361"/>
    <p1510:client id="{3DD3E0D8-2C05-47AB-82DF-4BAE0BF55AF8}" v="23" dt="2022-01-10T09:04:14.239"/>
    <p1510:client id="{3EB0FAEB-12AC-4A2E-B9FA-FADDBCDDECE3}" v="1097" dt="2022-01-09T08:42:28.530"/>
    <p1510:client id="{42D81030-C5C2-460C-A637-800465825350}" v="310" dt="2022-01-07T16:02:55.108"/>
    <p1510:client id="{4E6E0DEA-90C1-4A1E-9096-69DC99BE4D41}" v="254" dt="2022-01-10T14:19:46.720"/>
    <p1510:client id="{4F596F7E-1732-48F6-8EE6-FBAB330260FB}" v="42" dt="2022-01-10T14:20:40.710"/>
    <p1510:client id="{55682CF0-600E-4A1C-988E-B1F5D773606E}" v="81" dt="2022-01-10T07:12:59.772"/>
    <p1510:client id="{563C5F07-89ED-4C5B-9408-64EED2D8E2C5}" v="3" dt="2022-01-11T04:00:48.607"/>
    <p1510:client id="{5CD08495-A19E-4CF7-BFBD-9B49CA003DCB}" v="6" dt="2022-01-11T00:33:43.917"/>
    <p1510:client id="{5E8024D4-CE76-4AF1-992E-04FA62D5E2AB}" v="428" dt="2022-01-08T10:04:29.276"/>
    <p1510:client id="{5F7935B9-78CB-4A7B-8139-79A142C00EBF}" v="497" dt="2022-01-09T15:24:45.521"/>
    <p1510:client id="{66309B90-B0C0-4F8C-8157-2D5E7497EB64}" v="5" dt="2022-01-11T05:28:47.309"/>
    <p1510:client id="{6981EFE4-3ADF-4E20-BA36-B81A1510612B}" v="34" dt="2022-01-10T15:57:59.784"/>
    <p1510:client id="{6EAABDA4-EA01-40EA-B2FC-B981EDB1CB4F}" v="229" dt="2022-01-11T03:06:00.334"/>
    <p1510:client id="{6F35DDEF-8826-4C84-9907-7B864915BAD9}" v="82" dt="2022-01-10T13:24:19.747"/>
    <p1510:client id="{7463F86D-6C44-401E-8A00-13B6FBFAE0BB}" v="2" dt="2022-01-10T05:43:18.394"/>
    <p1510:client id="{74E7815B-A246-44ED-82DC-F39008407D50}" v="2" dt="2022-01-11T02:30:29.498"/>
    <p1510:client id="{753517D1-64AA-4B8B-9638-0F17DE131089}" v="6" dt="2022-01-11T02:53:24.791"/>
    <p1510:client id="{75A97B9E-77E4-426A-B7F0-B00B889C97DC}" v="887" dt="2022-01-09T09:49:42.068"/>
    <p1510:client id="{819C4CA1-6F1E-40FB-B176-D0B36B393917}" v="728" dt="2022-01-08T12:35:44.353"/>
    <p1510:client id="{819DFFEC-4326-43C8-95FF-064276E98504}" v="358" dt="2022-01-07T21:32:37.885"/>
    <p1510:client id="{828BBC6C-4A81-498B-B039-8F85469C9F22}" v="23" dt="2022-01-10T04:25:52.845"/>
    <p1510:client id="{8B5C4203-1535-4333-83EB-DAD9020FD920}" v="153" dt="2022-01-06T02:49:45.409"/>
    <p1510:client id="{8BDC63DD-249F-4E6F-A55B-0758E9C53307}" v="2" dt="2022-01-10T10:56:09.264"/>
    <p1510:client id="{9D3249DC-2FF3-4A4F-BA09-258EFA95E181}" v="54" dt="2022-01-10T09:58:09.444"/>
    <p1510:client id="{AA8F84BC-5D19-4691-B461-BEF25C6106FD}" v="87" dt="2022-01-07T15:00:23.632"/>
    <p1510:client id="{AADDA445-BDD6-42F9-85C9-88CD3230B937}" v="178" dt="2022-01-09T11:24:00.148"/>
    <p1510:client id="{B0F3A502-3AAB-41AE-A44C-28F5E8973229}" v="69" dt="2022-01-10T09:52:51.728"/>
    <p1510:client id="{B1695F6B-E229-47A3-B13F-79B478ED93D2}" v="99" dt="2022-01-10T10:54:53.825"/>
    <p1510:client id="{B2367C32-F6D3-4B00-AB58-61F5BF24A91B}" v="3" dt="2022-01-11T03:31:50.139"/>
    <p1510:client id="{B3D6AD75-5C2B-429E-AEC9-A42607A550DC}" v="327" dt="2022-01-10T05:20:00.031"/>
    <p1510:client id="{B7065643-81CF-4785-A43E-F7F8964C8BB8}" v="1456" dt="2022-01-10T09:42:47.078"/>
    <p1510:client id="{BCBC7DAA-9194-4E0F-B355-1B8AC41DDAA0}" v="13" dt="2022-01-07T12:45:06.721"/>
    <p1510:client id="{C17ABDC1-3A95-4347-ABD6-D23CA761376E}" v="7" dt="2022-01-10T04:09:52.368"/>
    <p1510:client id="{C2525DC1-AD49-4805-9A67-C03488954F44}" v="55" dt="2022-01-10T12:37:28.393"/>
    <p1510:client id="{C2689611-F562-4134-AD43-73D7DCE046D6}" v="60" dt="2022-01-10T08:43:10.639"/>
    <p1510:client id="{C501F9E6-D361-42A5-8B59-09DBEA01AB0D}" v="8" dt="2022-01-10T05:41:53.551"/>
    <p1510:client id="{C6B74C6D-491E-41E5-B73F-A02C1ED83FFA}" v="180" dt="2022-01-09T08:32:09.601"/>
    <p1510:client id="{CD146A5B-B186-475E-8C29-997FD5E6FBB0}" v="122" dt="2022-01-10T02:07:23.339"/>
    <p1510:client id="{CD67B01C-8D2C-4219-AAFF-DFC5DB634769}" v="116" dt="2022-01-10T01:59:24.333"/>
    <p1510:client id="{D85AE390-7E41-40BF-A7F8-D1E85EDA5A44}" v="315" dt="2022-01-10T09:48:19.945"/>
    <p1510:client id="{D87E7FF8-9009-404F-B3B4-E419E79AB32F}" v="67" dt="2022-01-10T06:29:07.212"/>
    <p1510:client id="{D9D9CDA3-6727-4953-8803-8E71B7B07B33}" v="271" dt="2022-01-07T13:51:27.594"/>
    <p1510:client id="{DA0791EE-8C54-44FE-85AD-70117F2C2B72}" v="1118" dt="2022-01-09T15:55:51.484"/>
    <p1510:client id="{DCEE5406-83BB-48F0-AF89-99663C2BD9DB}" v="2266" dt="2022-01-08T16:29:50.092"/>
    <p1510:client id="{DFDD5CEE-4220-4D97-8780-A131383F4A54}" v="709" dt="2022-01-08T11:59:47.449"/>
    <p1510:client id="{E369CB37-3068-47E4-AD90-1DEAD92C8B6F}" v="2187" dt="2022-01-08T16:39:17.078"/>
    <p1510:client id="{E4B2E7FC-2D8C-47A5-B122-28DCEC8EB684}" v="28" dt="2022-01-10T09:43:13.322"/>
    <p1510:client id="{E725992E-162C-40AB-8AAE-B624A47B0E36}" v="76" dt="2022-01-10T10:16:03.092"/>
    <p1510:client id="{EBBE918A-CD43-47AE-9637-5ACE8C97E877}" v="452" dt="2022-01-07T12:56:47.011"/>
    <p1510:client id="{EC2A99E8-D57E-404D-978A-0C90CBE96F0A}" v="65" dt="2022-01-08T18:36:54.308"/>
    <p1510:client id="{ED715E7B-4604-42E7-9143-8C9AAFEFEE22}" v="1083" dt="2022-01-08T16:25:18.505"/>
    <p1510:client id="{F0A9F897-F63F-4ABF-9284-5B2E5231BFDE}" v="22" dt="2022-01-09T05:48:54.330"/>
    <p1510:client id="{F2365CAA-0801-4EFC-BF65-DCB1BFF3D234}" v="250" dt="2022-01-10T11:09:30.370"/>
    <p1510:client id="{F4D536A2-EFCC-4670-8C8C-E863D221E9CA}" v="415" dt="2022-01-09T03:38:55.223"/>
    <p1510:client id="{F6E9D699-77B0-4065-86A7-8BD3B22EE356}" v="183" dt="2022-01-08T15:00:33.726"/>
    <p1510:client id="{F7F9ED99-F543-40A2-8A6C-8021AD617F06}" v="1423" dt="2022-01-11T03:32:22.964"/>
    <p1510:client id="{FE7A7410-B3C7-4707-853A-BB53FCF4B11C}" v="4" dt="2022-01-09T06:53:57.8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handoutMaster" Target="handoutMasters/handout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VELYNSM.YONG" userId="S::evelynsm.yong_gmail.com#ext#@risebcg.onmicrosoft.com::67a27a72-2420-4d38-b745-316a53f4b99a" providerId="AD" clId="Web-{6981EFE4-3ADF-4E20-BA36-B81A1510612B}"/>
    <pc:docChg chg="modSld">
      <pc:chgData name="EVELYNSM.YONG" userId="S::evelynsm.yong_gmail.com#ext#@risebcg.onmicrosoft.com::67a27a72-2420-4d38-b745-316a53f4b99a" providerId="AD" clId="Web-{6981EFE4-3ADF-4E20-BA36-B81A1510612B}" dt="2022-01-10T15:57:59.784" v="33" actId="14100"/>
      <pc:docMkLst>
        <pc:docMk/>
      </pc:docMkLst>
      <pc:sldChg chg="addSp modSp">
        <pc:chgData name="EVELYNSM.YONG" userId="S::evelynsm.yong_gmail.com#ext#@risebcg.onmicrosoft.com::67a27a72-2420-4d38-b745-316a53f4b99a" providerId="AD" clId="Web-{6981EFE4-3ADF-4E20-BA36-B81A1510612B}" dt="2022-01-10T15:57:59.784" v="33" actId="14100"/>
        <pc:sldMkLst>
          <pc:docMk/>
          <pc:sldMk cId="2160415509" sldId="326"/>
        </pc:sldMkLst>
        <pc:spChg chg="mod">
          <ac:chgData name="EVELYNSM.YONG" userId="S::evelynsm.yong_gmail.com#ext#@risebcg.onmicrosoft.com::67a27a72-2420-4d38-b745-316a53f4b99a" providerId="AD" clId="Web-{6981EFE4-3ADF-4E20-BA36-B81A1510612B}" dt="2022-01-10T15:56:53.736" v="14" actId="1076"/>
          <ac:spMkLst>
            <pc:docMk/>
            <pc:sldMk cId="2160415509" sldId="326"/>
            <ac:spMk id="3" creationId="{A06E2C6C-AA2D-4DBA-B448-457815C4CAD3}"/>
          </ac:spMkLst>
        </pc:spChg>
        <pc:spChg chg="mod">
          <ac:chgData name="EVELYNSM.YONG" userId="S::evelynsm.yong_gmail.com#ext#@risebcg.onmicrosoft.com::67a27a72-2420-4d38-b745-316a53f4b99a" providerId="AD" clId="Web-{6981EFE4-3ADF-4E20-BA36-B81A1510612B}" dt="2022-01-10T15:57:59.784" v="33" actId="14100"/>
          <ac:spMkLst>
            <pc:docMk/>
            <pc:sldMk cId="2160415509" sldId="326"/>
            <ac:spMk id="7" creationId="{EE72E06D-8EAE-4242-B1FE-DB5A60BCC68C}"/>
          </ac:spMkLst>
        </pc:spChg>
        <pc:spChg chg="mod">
          <ac:chgData name="EVELYNSM.YONG" userId="S::evelynsm.yong_gmail.com#ext#@risebcg.onmicrosoft.com::67a27a72-2420-4d38-b745-316a53f4b99a" providerId="AD" clId="Web-{6981EFE4-3ADF-4E20-BA36-B81A1510612B}" dt="2022-01-10T15:57:30.830" v="24"/>
          <ac:spMkLst>
            <pc:docMk/>
            <pc:sldMk cId="2160415509" sldId="326"/>
            <ac:spMk id="10" creationId="{F403E5AA-CAF9-429E-AF8A-D6CAE94AE104}"/>
          </ac:spMkLst>
        </pc:spChg>
        <pc:spChg chg="mod">
          <ac:chgData name="EVELYNSM.YONG" userId="S::evelynsm.yong_gmail.com#ext#@risebcg.onmicrosoft.com::67a27a72-2420-4d38-b745-316a53f4b99a" providerId="AD" clId="Web-{6981EFE4-3ADF-4E20-BA36-B81A1510612B}" dt="2022-01-10T15:57:35.549" v="26" actId="1076"/>
          <ac:spMkLst>
            <pc:docMk/>
            <pc:sldMk cId="2160415509" sldId="326"/>
            <ac:spMk id="12" creationId="{E8C9A459-A11F-4DB3-BC61-E14A0DC903CB}"/>
          </ac:spMkLst>
        </pc:spChg>
        <pc:spChg chg="mod">
          <ac:chgData name="EVELYNSM.YONG" userId="S::evelynsm.yong_gmail.com#ext#@risebcg.onmicrosoft.com::67a27a72-2420-4d38-b745-316a53f4b99a" providerId="AD" clId="Web-{6981EFE4-3ADF-4E20-BA36-B81A1510612B}" dt="2022-01-10T15:56:27.220" v="4" actId="1076"/>
          <ac:spMkLst>
            <pc:docMk/>
            <pc:sldMk cId="2160415509" sldId="326"/>
            <ac:spMk id="14" creationId="{12CD60CA-AC80-48C2-9831-7C24A5BBDBE7}"/>
          </ac:spMkLst>
        </pc:spChg>
        <pc:spChg chg="mod">
          <ac:chgData name="EVELYNSM.YONG" userId="S::evelynsm.yong_gmail.com#ext#@risebcg.onmicrosoft.com::67a27a72-2420-4d38-b745-316a53f4b99a" providerId="AD" clId="Web-{6981EFE4-3ADF-4E20-BA36-B81A1510612B}" dt="2022-01-10T15:56:32.923" v="7"/>
          <ac:spMkLst>
            <pc:docMk/>
            <pc:sldMk cId="2160415509" sldId="326"/>
            <ac:spMk id="15" creationId="{1F2C1FDF-EED7-4160-A26E-17CDC484D1F4}"/>
          </ac:spMkLst>
        </pc:spChg>
        <pc:spChg chg="mod">
          <ac:chgData name="EVELYNSM.YONG" userId="S::evelynsm.yong_gmail.com#ext#@risebcg.onmicrosoft.com::67a27a72-2420-4d38-b745-316a53f4b99a" providerId="AD" clId="Web-{6981EFE4-3ADF-4E20-BA36-B81A1510612B}" dt="2022-01-10T15:57:24.065" v="22" actId="1076"/>
          <ac:spMkLst>
            <pc:docMk/>
            <pc:sldMk cId="2160415509" sldId="326"/>
            <ac:spMk id="16" creationId="{61F108A6-436D-4F03-92A9-5601D56E72A0}"/>
          </ac:spMkLst>
        </pc:spChg>
        <pc:spChg chg="add mod">
          <ac:chgData name="EVELYNSM.YONG" userId="S::evelynsm.yong_gmail.com#ext#@risebcg.onmicrosoft.com::67a27a72-2420-4d38-b745-316a53f4b99a" providerId="AD" clId="Web-{6981EFE4-3ADF-4E20-BA36-B81A1510612B}" dt="2022-01-10T15:57:55.534" v="32" actId="14100"/>
          <ac:spMkLst>
            <pc:docMk/>
            <pc:sldMk cId="2160415509" sldId="326"/>
            <ac:spMk id="17" creationId="{DDF5B590-7633-4FDD-B31B-61FFF495E327}"/>
          </ac:spMkLst>
        </pc:spChg>
        <pc:picChg chg="mod">
          <ac:chgData name="EVELYNSM.YONG" userId="S::evelynsm.yong_gmail.com#ext#@risebcg.onmicrosoft.com::67a27a72-2420-4d38-b745-316a53f4b99a" providerId="AD" clId="Web-{6981EFE4-3ADF-4E20-BA36-B81A1510612B}" dt="2022-01-10T15:57:13.408" v="19" actId="14100"/>
          <ac:picMkLst>
            <pc:docMk/>
            <pc:sldMk cId="2160415509" sldId="326"/>
            <ac:picMk id="8" creationId="{1F3B5E8D-69F3-429F-8C72-BA870189EF2F}"/>
          </ac:picMkLst>
        </pc:picChg>
      </pc:sldChg>
    </pc:docChg>
  </pc:docChgLst>
  <pc:docChgLst>
    <pc:chgData name="EVELYNSM.YONG" userId="S::evelynsm.yong_gmail.com#ext#@risebcg.onmicrosoft.com::67a27a72-2420-4d38-b745-316a53f4b99a" providerId="AD" clId="Web-{09A785CA-DAAB-46F8-8EBF-288BFAA28F4E}"/>
    <pc:docChg chg="modSld">
      <pc:chgData name="EVELYNSM.YONG" userId="S::evelynsm.yong_gmail.com#ext#@risebcg.onmicrosoft.com::67a27a72-2420-4d38-b745-316a53f4b99a" providerId="AD" clId="Web-{09A785CA-DAAB-46F8-8EBF-288BFAA28F4E}" dt="2022-01-10T14:50:54.344" v="454"/>
      <pc:docMkLst>
        <pc:docMk/>
      </pc:docMkLst>
      <pc:sldChg chg="modSp">
        <pc:chgData name="EVELYNSM.YONG" userId="S::evelynsm.yong_gmail.com#ext#@risebcg.onmicrosoft.com::67a27a72-2420-4d38-b745-316a53f4b99a" providerId="AD" clId="Web-{09A785CA-DAAB-46F8-8EBF-288BFAA28F4E}" dt="2022-01-10T14:41:47.472" v="393" actId="20577"/>
        <pc:sldMkLst>
          <pc:docMk/>
          <pc:sldMk cId="2256265757" sldId="315"/>
        </pc:sldMkLst>
        <pc:graphicFrameChg chg="modGraphic">
          <ac:chgData name="EVELYNSM.YONG" userId="S::evelynsm.yong_gmail.com#ext#@risebcg.onmicrosoft.com::67a27a72-2420-4d38-b745-316a53f4b99a" providerId="AD" clId="Web-{09A785CA-DAAB-46F8-8EBF-288BFAA28F4E}" dt="2022-01-10T14:41:47.472" v="393" actId="20577"/>
          <ac:graphicFrameMkLst>
            <pc:docMk/>
            <pc:sldMk cId="2256265757" sldId="315"/>
            <ac:graphicFrameMk id="38" creationId="{2DAB4BA8-57FC-486D-A609-66F3FDCD540C}"/>
          </ac:graphicFrameMkLst>
        </pc:graphicFrameChg>
      </pc:sldChg>
      <pc:sldChg chg="addSp delSp modSp">
        <pc:chgData name="EVELYNSM.YONG" userId="S::evelynsm.yong_gmail.com#ext#@risebcg.onmicrosoft.com::67a27a72-2420-4d38-b745-316a53f4b99a" providerId="AD" clId="Web-{09A785CA-DAAB-46F8-8EBF-288BFAA28F4E}" dt="2022-01-10T14:21:37.974" v="365" actId="1076"/>
        <pc:sldMkLst>
          <pc:docMk/>
          <pc:sldMk cId="2160415509" sldId="326"/>
        </pc:sldMkLst>
        <pc:spChg chg="mod">
          <ac:chgData name="EVELYNSM.YONG" userId="S::evelynsm.yong_gmail.com#ext#@risebcg.onmicrosoft.com::67a27a72-2420-4d38-b745-316a53f4b99a" providerId="AD" clId="Web-{09A785CA-DAAB-46F8-8EBF-288BFAA28F4E}" dt="2022-01-10T14:21:37.974" v="365" actId="1076"/>
          <ac:spMkLst>
            <pc:docMk/>
            <pc:sldMk cId="2160415509" sldId="326"/>
            <ac:spMk id="4" creationId="{215644EC-E1A2-4B5F-BA53-79EB189605EC}"/>
          </ac:spMkLst>
        </pc:spChg>
        <pc:picChg chg="add mod ord">
          <ac:chgData name="EVELYNSM.YONG" userId="S::evelynsm.yong_gmail.com#ext#@risebcg.onmicrosoft.com::67a27a72-2420-4d38-b745-316a53f4b99a" providerId="AD" clId="Web-{09A785CA-DAAB-46F8-8EBF-288BFAA28F4E}" dt="2022-01-10T14:20:36.910" v="356" actId="1076"/>
          <ac:picMkLst>
            <pc:docMk/>
            <pc:sldMk cId="2160415509" sldId="326"/>
            <ac:picMk id="5" creationId="{8751F432-9B55-4E93-BF75-FB00FEACF1B2}"/>
          </ac:picMkLst>
        </pc:picChg>
        <pc:picChg chg="del">
          <ac:chgData name="EVELYNSM.YONG" userId="S::evelynsm.yong_gmail.com#ext#@risebcg.onmicrosoft.com::67a27a72-2420-4d38-b745-316a53f4b99a" providerId="AD" clId="Web-{09A785CA-DAAB-46F8-8EBF-288BFAA28F4E}" dt="2022-01-10T14:20:25.691" v="352"/>
          <ac:picMkLst>
            <pc:docMk/>
            <pc:sldMk cId="2160415509" sldId="326"/>
            <ac:picMk id="6" creationId="{BFC712DB-8FC7-4ACB-AF6D-D3D38470A4A2}"/>
          </ac:picMkLst>
        </pc:picChg>
        <pc:picChg chg="add mod ord">
          <ac:chgData name="EVELYNSM.YONG" userId="S::evelynsm.yong_gmail.com#ext#@risebcg.onmicrosoft.com::67a27a72-2420-4d38-b745-316a53f4b99a" providerId="AD" clId="Web-{09A785CA-DAAB-46F8-8EBF-288BFAA28F4E}" dt="2022-01-10T14:21:05.333" v="363" actId="1076"/>
          <ac:picMkLst>
            <pc:docMk/>
            <pc:sldMk cId="2160415509" sldId="326"/>
            <ac:picMk id="8" creationId="{1F3B5E8D-69F3-429F-8C72-BA870189EF2F}"/>
          </ac:picMkLst>
        </pc:picChg>
        <pc:picChg chg="del">
          <ac:chgData name="EVELYNSM.YONG" userId="S::evelynsm.yong_gmail.com#ext#@risebcg.onmicrosoft.com::67a27a72-2420-4d38-b745-316a53f4b99a" providerId="AD" clId="Web-{09A785CA-DAAB-46F8-8EBF-288BFAA28F4E}" dt="2022-01-10T14:20:57.598" v="361"/>
          <ac:picMkLst>
            <pc:docMk/>
            <pc:sldMk cId="2160415509" sldId="326"/>
            <ac:picMk id="13" creationId="{D0632260-7B50-43ED-B59B-456B08533DBB}"/>
          </ac:picMkLst>
        </pc:picChg>
      </pc:sldChg>
      <pc:sldChg chg="modSp modNotes">
        <pc:chgData name="EVELYNSM.YONG" userId="S::evelynsm.yong_gmail.com#ext#@risebcg.onmicrosoft.com::67a27a72-2420-4d38-b745-316a53f4b99a" providerId="AD" clId="Web-{09A785CA-DAAB-46F8-8EBF-288BFAA28F4E}" dt="2022-01-10T14:50:54.344" v="454"/>
        <pc:sldMkLst>
          <pc:docMk/>
          <pc:sldMk cId="3391215681" sldId="339"/>
        </pc:sldMkLst>
        <pc:spChg chg="mod">
          <ac:chgData name="EVELYNSM.YONG" userId="S::evelynsm.yong_gmail.com#ext#@risebcg.onmicrosoft.com::67a27a72-2420-4d38-b745-316a53f4b99a" providerId="AD" clId="Web-{09A785CA-DAAB-46F8-8EBF-288BFAA28F4E}" dt="2022-01-10T14:25:29.433" v="369" actId="14100"/>
          <ac:spMkLst>
            <pc:docMk/>
            <pc:sldMk cId="3391215681" sldId="339"/>
            <ac:spMk id="47" creationId="{B72F6C48-B470-4163-9AC9-2982A10656DA}"/>
          </ac:spMkLst>
        </pc:spChg>
        <pc:grpChg chg="mod">
          <ac:chgData name="EVELYNSM.YONG" userId="S::evelynsm.yong_gmail.com#ext#@risebcg.onmicrosoft.com::67a27a72-2420-4d38-b745-316a53f4b99a" providerId="AD" clId="Web-{09A785CA-DAAB-46F8-8EBF-288BFAA28F4E}" dt="2022-01-10T14:25:25.386" v="368" actId="1076"/>
          <ac:grpSpMkLst>
            <pc:docMk/>
            <pc:sldMk cId="3391215681" sldId="339"/>
            <ac:grpSpMk id="70" creationId="{1C6C7C9E-B94C-40CE-A89F-A87214022882}"/>
          </ac:grpSpMkLst>
        </pc:grpChg>
      </pc:sldChg>
      <pc:sldChg chg="modNotes">
        <pc:chgData name="EVELYNSM.YONG" userId="S::evelynsm.yong_gmail.com#ext#@risebcg.onmicrosoft.com::67a27a72-2420-4d38-b745-316a53f4b99a" providerId="AD" clId="Web-{09A785CA-DAAB-46F8-8EBF-288BFAA28F4E}" dt="2022-01-10T14:44:16.179" v="401"/>
        <pc:sldMkLst>
          <pc:docMk/>
          <pc:sldMk cId="3531645893" sldId="360"/>
        </pc:sldMkLst>
      </pc:sldChg>
    </pc:docChg>
  </pc:docChgLst>
  <pc:docChgLst>
    <pc:chgData name="EVELYNSM.YONG" userId="S::evelynsm.yong_gmail.com#ext#@risebcg.onmicrosoft.com::67a27a72-2420-4d38-b745-316a53f4b99a" providerId="AD" clId="Web-{8BDC63DD-249F-4E6F-A55B-0758E9C53307}"/>
    <pc:docChg chg="modSld">
      <pc:chgData name="EVELYNSM.YONG" userId="S::evelynsm.yong_gmail.com#ext#@risebcg.onmicrosoft.com::67a27a72-2420-4d38-b745-316a53f4b99a" providerId="AD" clId="Web-{8BDC63DD-249F-4E6F-A55B-0758E9C53307}" dt="2022-01-10T10:56:09.264" v="1"/>
      <pc:docMkLst>
        <pc:docMk/>
      </pc:docMkLst>
      <pc:sldChg chg="modSp">
        <pc:chgData name="EVELYNSM.YONG" userId="S::evelynsm.yong_gmail.com#ext#@risebcg.onmicrosoft.com::67a27a72-2420-4d38-b745-316a53f4b99a" providerId="AD" clId="Web-{8BDC63DD-249F-4E6F-A55B-0758E9C53307}" dt="2022-01-10T10:56:09.264" v="1"/>
        <pc:sldMkLst>
          <pc:docMk/>
          <pc:sldMk cId="3531645893" sldId="360"/>
        </pc:sldMkLst>
        <pc:spChg chg="mod">
          <ac:chgData name="EVELYNSM.YONG" userId="S::evelynsm.yong_gmail.com#ext#@risebcg.onmicrosoft.com::67a27a72-2420-4d38-b745-316a53f4b99a" providerId="AD" clId="Web-{8BDC63DD-249F-4E6F-A55B-0758E9C53307}" dt="2022-01-10T10:56:09.264" v="1"/>
          <ac:spMkLst>
            <pc:docMk/>
            <pc:sldMk cId="3531645893" sldId="360"/>
            <ac:spMk id="27" creationId="{9C31BED3-CE5F-440A-A9B8-F5924562E1BA}"/>
          </ac:spMkLst>
        </pc:spChg>
        <pc:spChg chg="mod">
          <ac:chgData name="EVELYNSM.YONG" userId="S::evelynsm.yong_gmail.com#ext#@risebcg.onmicrosoft.com::67a27a72-2420-4d38-b745-316a53f4b99a" providerId="AD" clId="Web-{8BDC63DD-249F-4E6F-A55B-0758E9C53307}" dt="2022-01-10T10:56:04.296" v="0"/>
          <ac:spMkLst>
            <pc:docMk/>
            <pc:sldMk cId="3531645893" sldId="360"/>
            <ac:spMk id="29" creationId="{C9BEC35E-523C-4554-8EBD-4475698ECF55}"/>
          </ac:spMkLst>
        </pc:spChg>
      </pc:sldChg>
    </pc:docChg>
  </pc:docChgLst>
  <pc:docChgLst>
    <pc:chgData name="EVELYNSM.YONG" userId="S::evelynsm.yong_gmail.com#ext#@risebcg.onmicrosoft.com::67a27a72-2420-4d38-b745-316a53f4b99a" providerId="AD" clId="Web-{C501F9E6-D361-42A5-8B59-09DBEA01AB0D}"/>
    <pc:docChg chg="modSld">
      <pc:chgData name="EVELYNSM.YONG" userId="S::evelynsm.yong_gmail.com#ext#@risebcg.onmicrosoft.com::67a27a72-2420-4d38-b745-316a53f4b99a" providerId="AD" clId="Web-{C501F9E6-D361-42A5-8B59-09DBEA01AB0D}" dt="2022-01-10T05:41:49.786" v="1" actId="1076"/>
      <pc:docMkLst>
        <pc:docMk/>
      </pc:docMkLst>
      <pc:sldChg chg="modSp">
        <pc:chgData name="EVELYNSM.YONG" userId="S::evelynsm.yong_gmail.com#ext#@risebcg.onmicrosoft.com::67a27a72-2420-4d38-b745-316a53f4b99a" providerId="AD" clId="Web-{C501F9E6-D361-42A5-8B59-09DBEA01AB0D}" dt="2022-01-10T05:41:49.786" v="1" actId="1076"/>
        <pc:sldMkLst>
          <pc:docMk/>
          <pc:sldMk cId="4159389698" sldId="342"/>
        </pc:sldMkLst>
        <pc:spChg chg="mod">
          <ac:chgData name="EVELYNSM.YONG" userId="S::evelynsm.yong_gmail.com#ext#@risebcg.onmicrosoft.com::67a27a72-2420-4d38-b745-316a53f4b99a" providerId="AD" clId="Web-{C501F9E6-D361-42A5-8B59-09DBEA01AB0D}" dt="2022-01-10T05:41:49.786" v="1" actId="1076"/>
          <ac:spMkLst>
            <pc:docMk/>
            <pc:sldMk cId="4159389698" sldId="342"/>
            <ac:spMk id="2" creationId="{080435EA-AD4F-4934-83BC-D5D53AFD93E9}"/>
          </ac:spMkLst>
        </pc:spChg>
      </pc:sldChg>
    </pc:docChg>
  </pc:docChgLst>
  <pc:docChgLst>
    <pc:chgData name="wei yuan" userId="S::pwy_92_hotmail.com#ext#@risebcg.onmicrosoft.com::ca38e7f8-9ace-4d94-b37a-86e65e91f2b0" providerId="AD" clId="Web-{6EAABDA4-EA01-40EA-B2FC-B981EDB1CB4F}"/>
    <pc:docChg chg="addSld modSld">
      <pc:chgData name="wei yuan" userId="S::pwy_92_hotmail.com#ext#@risebcg.onmicrosoft.com::ca38e7f8-9ace-4d94-b37a-86e65e91f2b0" providerId="AD" clId="Web-{6EAABDA4-EA01-40EA-B2FC-B981EDB1CB4F}" dt="2022-01-11T03:06:00.334" v="198"/>
      <pc:docMkLst>
        <pc:docMk/>
      </pc:docMkLst>
      <pc:sldChg chg="addSp modSp">
        <pc:chgData name="wei yuan" userId="S::pwy_92_hotmail.com#ext#@risebcg.onmicrosoft.com::ca38e7f8-9ace-4d94-b37a-86e65e91f2b0" providerId="AD" clId="Web-{6EAABDA4-EA01-40EA-B2FC-B981EDB1CB4F}" dt="2022-01-11T03:02:50.486" v="196" actId="1076"/>
        <pc:sldMkLst>
          <pc:docMk/>
          <pc:sldMk cId="2160415509" sldId="326"/>
        </pc:sldMkLst>
        <pc:picChg chg="mod">
          <ac:chgData name="wei yuan" userId="S::pwy_92_hotmail.com#ext#@risebcg.onmicrosoft.com::ca38e7f8-9ace-4d94-b37a-86e65e91f2b0" providerId="AD" clId="Web-{6EAABDA4-EA01-40EA-B2FC-B981EDB1CB4F}" dt="2022-01-11T03:02:50.486" v="196" actId="1076"/>
          <ac:picMkLst>
            <pc:docMk/>
            <pc:sldMk cId="2160415509" sldId="326"/>
            <ac:picMk id="5" creationId="{3739471E-5215-49A8-8746-A476792E3348}"/>
          </ac:picMkLst>
        </pc:picChg>
        <pc:picChg chg="add mod">
          <ac:chgData name="wei yuan" userId="S::pwy_92_hotmail.com#ext#@risebcg.onmicrosoft.com::ca38e7f8-9ace-4d94-b37a-86e65e91f2b0" providerId="AD" clId="Web-{6EAABDA4-EA01-40EA-B2FC-B981EDB1CB4F}" dt="2022-01-11T03:02:45.329" v="195" actId="1076"/>
          <ac:picMkLst>
            <pc:docMk/>
            <pc:sldMk cId="2160415509" sldId="326"/>
            <ac:picMk id="8" creationId="{BF88B153-D379-4AEB-882A-4640F4183E92}"/>
          </ac:picMkLst>
        </pc:picChg>
      </pc:sldChg>
      <pc:sldChg chg="addSp delSp modSp">
        <pc:chgData name="wei yuan" userId="S::pwy_92_hotmail.com#ext#@risebcg.onmicrosoft.com::ca38e7f8-9ace-4d94-b37a-86e65e91f2b0" providerId="AD" clId="Web-{6EAABDA4-EA01-40EA-B2FC-B981EDB1CB4F}" dt="2022-01-11T02:54:14.441" v="1"/>
        <pc:sldMkLst>
          <pc:docMk/>
          <pc:sldMk cId="744992136" sldId="357"/>
        </pc:sldMkLst>
        <pc:picChg chg="add del mod">
          <ac:chgData name="wei yuan" userId="S::pwy_92_hotmail.com#ext#@risebcg.onmicrosoft.com::ca38e7f8-9ace-4d94-b37a-86e65e91f2b0" providerId="AD" clId="Web-{6EAABDA4-EA01-40EA-B2FC-B981EDB1CB4F}" dt="2022-01-11T02:54:14.441" v="1"/>
          <ac:picMkLst>
            <pc:docMk/>
            <pc:sldMk cId="744992136" sldId="357"/>
            <ac:picMk id="5" creationId="{7A350E79-4E01-43ED-B839-E8643D34875F}"/>
          </ac:picMkLst>
        </pc:picChg>
      </pc:sldChg>
      <pc:sldChg chg="addSp delSp modSp add replId">
        <pc:chgData name="wei yuan" userId="S::pwy_92_hotmail.com#ext#@risebcg.onmicrosoft.com::ca38e7f8-9ace-4d94-b37a-86e65e91f2b0" providerId="AD" clId="Web-{6EAABDA4-EA01-40EA-B2FC-B981EDB1CB4F}" dt="2022-01-11T03:06:00.334" v="198"/>
        <pc:sldMkLst>
          <pc:docMk/>
          <pc:sldMk cId="1042430735" sldId="386"/>
        </pc:sldMkLst>
        <pc:spChg chg="del">
          <ac:chgData name="wei yuan" userId="S::pwy_92_hotmail.com#ext#@risebcg.onmicrosoft.com::ca38e7f8-9ace-4d94-b37a-86e65e91f2b0" providerId="AD" clId="Web-{6EAABDA4-EA01-40EA-B2FC-B981EDB1CB4F}" dt="2022-01-11T02:54:26.317" v="3"/>
          <ac:spMkLst>
            <pc:docMk/>
            <pc:sldMk cId="1042430735" sldId="386"/>
            <ac:spMk id="3" creationId="{3AAD55FA-63B7-4DBA-8DC0-293DEF7C309C}"/>
          </ac:spMkLst>
        </pc:spChg>
        <pc:spChg chg="add mod">
          <ac:chgData name="wei yuan" userId="S::pwy_92_hotmail.com#ext#@risebcg.onmicrosoft.com::ca38e7f8-9ace-4d94-b37a-86e65e91f2b0" providerId="AD" clId="Web-{6EAABDA4-EA01-40EA-B2FC-B981EDB1CB4F}" dt="2022-01-11T02:57:33.368" v="187" actId="20577"/>
          <ac:spMkLst>
            <pc:docMk/>
            <pc:sldMk cId="1042430735" sldId="386"/>
            <ac:spMk id="6" creationId="{1C835B3A-380E-4994-B53F-7959A6AC8E61}"/>
          </ac:spMkLst>
        </pc:spChg>
        <pc:graphicFrameChg chg="add mod modGraphic">
          <ac:chgData name="wei yuan" userId="S::pwy_92_hotmail.com#ext#@risebcg.onmicrosoft.com::ca38e7f8-9ace-4d94-b37a-86e65e91f2b0" providerId="AD" clId="Web-{6EAABDA4-EA01-40EA-B2FC-B981EDB1CB4F}" dt="2022-01-11T03:06:00.334" v="198"/>
          <ac:graphicFrameMkLst>
            <pc:docMk/>
            <pc:sldMk cId="1042430735" sldId="386"/>
            <ac:graphicFrameMk id="8" creationId="{BD3CD10A-81F4-4A69-8AAA-07E4E7005A3F}"/>
          </ac:graphicFrameMkLst>
        </pc:graphicFrameChg>
        <pc:picChg chg="mod">
          <ac:chgData name="wei yuan" userId="S::pwy_92_hotmail.com#ext#@risebcg.onmicrosoft.com::ca38e7f8-9ace-4d94-b37a-86e65e91f2b0" providerId="AD" clId="Web-{6EAABDA4-EA01-40EA-B2FC-B981EDB1CB4F}" dt="2022-01-11T02:55:34.271" v="84" actId="14100"/>
          <ac:picMkLst>
            <pc:docMk/>
            <pc:sldMk cId="1042430735" sldId="386"/>
            <ac:picMk id="4" creationId="{46E58862-E3FD-4841-8757-18ED8AB46909}"/>
          </ac:picMkLst>
        </pc:picChg>
      </pc:sldChg>
    </pc:docChg>
  </pc:docChgLst>
  <pc:docChgLst>
    <pc:chgData name="WONGYONGLIN91" userId="S::wongyonglin91_gmail.com#ext#@risebcg.onmicrosoft.com::b2d94f93-e580-4f0d-9dda-2138509d25ae" providerId="AD" clId="Web-{4F596F7E-1732-48F6-8EE6-FBAB330260FB}"/>
    <pc:docChg chg="modSld">
      <pc:chgData name="WONGYONGLIN91" userId="S::wongyonglin91_gmail.com#ext#@risebcg.onmicrosoft.com::b2d94f93-e580-4f0d-9dda-2138509d25ae" providerId="AD" clId="Web-{4F596F7E-1732-48F6-8EE6-FBAB330260FB}" dt="2022-01-10T14:20:40.710" v="10" actId="1076"/>
      <pc:docMkLst>
        <pc:docMk/>
      </pc:docMkLst>
      <pc:sldChg chg="addSp delSp modSp">
        <pc:chgData name="WONGYONGLIN91" userId="S::wongyonglin91_gmail.com#ext#@risebcg.onmicrosoft.com::b2d94f93-e580-4f0d-9dda-2138509d25ae" providerId="AD" clId="Web-{4F596F7E-1732-48F6-8EE6-FBAB330260FB}" dt="2022-01-10T14:20:40.710" v="10" actId="1076"/>
        <pc:sldMkLst>
          <pc:docMk/>
          <pc:sldMk cId="2160415509" sldId="326"/>
        </pc:sldMkLst>
        <pc:spChg chg="mod">
          <ac:chgData name="WONGYONGLIN91" userId="S::wongyonglin91_gmail.com#ext#@risebcg.onmicrosoft.com::b2d94f93-e580-4f0d-9dda-2138509d25ae" providerId="AD" clId="Web-{4F596F7E-1732-48F6-8EE6-FBAB330260FB}" dt="2022-01-10T14:19:43.647" v="7" actId="1076"/>
          <ac:spMkLst>
            <pc:docMk/>
            <pc:sldMk cId="2160415509" sldId="326"/>
            <ac:spMk id="3" creationId="{A06E2C6C-AA2D-4DBA-B448-457815C4CAD3}"/>
          </ac:spMkLst>
        </pc:spChg>
        <pc:spChg chg="add mod">
          <ac:chgData name="WONGYONGLIN91" userId="S::wongyonglin91_gmail.com#ext#@risebcg.onmicrosoft.com::b2d94f93-e580-4f0d-9dda-2138509d25ae" providerId="AD" clId="Web-{4F596F7E-1732-48F6-8EE6-FBAB330260FB}" dt="2022-01-10T14:19:08.396" v="3" actId="1076"/>
          <ac:spMkLst>
            <pc:docMk/>
            <pc:sldMk cId="2160415509" sldId="326"/>
            <ac:spMk id="14" creationId="{12CD60CA-AC80-48C2-9831-7C24A5BBDBE7}"/>
          </ac:spMkLst>
        </pc:spChg>
        <pc:spChg chg="add mod">
          <ac:chgData name="WONGYONGLIN91" userId="S::wongyonglin91_gmail.com#ext#@risebcg.onmicrosoft.com::b2d94f93-e580-4f0d-9dda-2138509d25ae" providerId="AD" clId="Web-{4F596F7E-1732-48F6-8EE6-FBAB330260FB}" dt="2022-01-10T14:19:37.475" v="6" actId="1076"/>
          <ac:spMkLst>
            <pc:docMk/>
            <pc:sldMk cId="2160415509" sldId="326"/>
            <ac:spMk id="15" creationId="{1F2C1FDF-EED7-4160-A26E-17CDC484D1F4}"/>
          </ac:spMkLst>
        </pc:spChg>
        <pc:spChg chg="add mod">
          <ac:chgData name="WONGYONGLIN91" userId="S::wongyonglin91_gmail.com#ext#@risebcg.onmicrosoft.com::b2d94f93-e580-4f0d-9dda-2138509d25ae" providerId="AD" clId="Web-{4F596F7E-1732-48F6-8EE6-FBAB330260FB}" dt="2022-01-10T14:20:03.897" v="9" actId="1076"/>
          <ac:spMkLst>
            <pc:docMk/>
            <pc:sldMk cId="2160415509" sldId="326"/>
            <ac:spMk id="16" creationId="{61F108A6-436D-4F03-92A9-5601D56E72A0}"/>
          </ac:spMkLst>
        </pc:spChg>
        <pc:picChg chg="add del mod">
          <ac:chgData name="WONGYONGLIN91" userId="S::wongyonglin91_gmail.com#ext#@risebcg.onmicrosoft.com::b2d94f93-e580-4f0d-9dda-2138509d25ae" providerId="AD" clId="Web-{4F596F7E-1732-48F6-8EE6-FBAB330260FB}" dt="2022-01-10T14:17:41.691" v="1"/>
          <ac:picMkLst>
            <pc:docMk/>
            <pc:sldMk cId="2160415509" sldId="326"/>
            <ac:picMk id="5" creationId="{98A274ED-98CE-4D52-9238-CD2502FEE43B}"/>
          </ac:picMkLst>
        </pc:picChg>
        <pc:picChg chg="mod">
          <ac:chgData name="WONGYONGLIN91" userId="S::wongyonglin91_gmail.com#ext#@risebcg.onmicrosoft.com::b2d94f93-e580-4f0d-9dda-2138509d25ae" providerId="AD" clId="Web-{4F596F7E-1732-48F6-8EE6-FBAB330260FB}" dt="2022-01-10T14:20:40.710" v="10" actId="1076"/>
          <ac:picMkLst>
            <pc:docMk/>
            <pc:sldMk cId="2160415509" sldId="326"/>
            <ac:picMk id="8" creationId="{1F3B5E8D-69F3-429F-8C72-BA870189EF2F}"/>
          </ac:picMkLst>
        </pc:picChg>
      </pc:sldChg>
    </pc:docChg>
  </pc:docChgLst>
  <pc:docChgLst>
    <pc:chgData name="EVELYNSM.YONG" userId="S::evelynsm.yong_gmail.com#ext#@risebcg.onmicrosoft.com::67a27a72-2420-4d38-b745-316a53f4b99a" providerId="AD" clId="Web-{CD146A5B-B186-475E-8C29-997FD5E6FBB0}"/>
    <pc:docChg chg="modSld">
      <pc:chgData name="EVELYNSM.YONG" userId="S::evelynsm.yong_gmail.com#ext#@risebcg.onmicrosoft.com::67a27a72-2420-4d38-b745-316a53f4b99a" providerId="AD" clId="Web-{CD146A5B-B186-475E-8C29-997FD5E6FBB0}" dt="2022-01-10T02:07:23.339" v="92" actId="1076"/>
      <pc:docMkLst>
        <pc:docMk/>
      </pc:docMkLst>
      <pc:sldChg chg="addSp delSp modSp">
        <pc:chgData name="EVELYNSM.YONG" userId="S::evelynsm.yong_gmail.com#ext#@risebcg.onmicrosoft.com::67a27a72-2420-4d38-b745-316a53f4b99a" providerId="AD" clId="Web-{CD146A5B-B186-475E-8C29-997FD5E6FBB0}" dt="2022-01-10T02:07:23.339" v="92" actId="1076"/>
        <pc:sldMkLst>
          <pc:docMk/>
          <pc:sldMk cId="3531645893" sldId="360"/>
        </pc:sldMkLst>
        <pc:spChg chg="add mod">
          <ac:chgData name="EVELYNSM.YONG" userId="S::evelynsm.yong_gmail.com#ext#@risebcg.onmicrosoft.com::67a27a72-2420-4d38-b745-316a53f4b99a" providerId="AD" clId="Web-{CD146A5B-B186-475E-8C29-997FD5E6FBB0}" dt="2022-01-10T02:07:20.355" v="91" actId="14100"/>
          <ac:spMkLst>
            <pc:docMk/>
            <pc:sldMk cId="3531645893" sldId="360"/>
            <ac:spMk id="5" creationId="{1999C9A4-8C8B-43CC-B77D-B8C58575D4DE}"/>
          </ac:spMkLst>
        </pc:spChg>
        <pc:spChg chg="mod">
          <ac:chgData name="EVELYNSM.YONG" userId="S::evelynsm.yong_gmail.com#ext#@risebcg.onmicrosoft.com::67a27a72-2420-4d38-b745-316a53f4b99a" providerId="AD" clId="Web-{CD146A5B-B186-475E-8C29-997FD5E6FBB0}" dt="2022-01-10T02:05:43.681" v="75" actId="1076"/>
          <ac:spMkLst>
            <pc:docMk/>
            <pc:sldMk cId="3531645893" sldId="360"/>
            <ac:spMk id="9" creationId="{E3C0B427-9E9D-47EC-AFD8-3D8F22D59FE9}"/>
          </ac:spMkLst>
        </pc:spChg>
        <pc:spChg chg="mod">
          <ac:chgData name="EVELYNSM.YONG" userId="S::evelynsm.yong_gmail.com#ext#@risebcg.onmicrosoft.com::67a27a72-2420-4d38-b745-316a53f4b99a" providerId="AD" clId="Web-{CD146A5B-B186-475E-8C29-997FD5E6FBB0}" dt="2022-01-10T02:03:19.803" v="36" actId="1076"/>
          <ac:spMkLst>
            <pc:docMk/>
            <pc:sldMk cId="3531645893" sldId="360"/>
            <ac:spMk id="15" creationId="{EA512C5C-B61E-4EDE-A2CD-308BFA2920DA}"/>
          </ac:spMkLst>
        </pc:spChg>
        <pc:spChg chg="mod">
          <ac:chgData name="EVELYNSM.YONG" userId="S::evelynsm.yong_gmail.com#ext#@risebcg.onmicrosoft.com::67a27a72-2420-4d38-b745-316a53f4b99a" providerId="AD" clId="Web-{CD146A5B-B186-475E-8C29-997FD5E6FBB0}" dt="2022-01-10T02:07:23.339" v="92" actId="1076"/>
          <ac:spMkLst>
            <pc:docMk/>
            <pc:sldMk cId="3531645893" sldId="360"/>
            <ac:spMk id="19" creationId="{950C64E7-6661-4AEA-8068-716AD3707128}"/>
          </ac:spMkLst>
        </pc:spChg>
        <pc:spChg chg="mod">
          <ac:chgData name="EVELYNSM.YONG" userId="S::evelynsm.yong_gmail.com#ext#@risebcg.onmicrosoft.com::67a27a72-2420-4d38-b745-316a53f4b99a" providerId="AD" clId="Web-{CD146A5B-B186-475E-8C29-997FD5E6FBB0}" dt="2022-01-10T02:04:47.821" v="54" actId="1076"/>
          <ac:spMkLst>
            <pc:docMk/>
            <pc:sldMk cId="3531645893" sldId="360"/>
            <ac:spMk id="20" creationId="{64A6A166-6CE6-41F0-99B2-FC47AF50CD6C}"/>
          </ac:spMkLst>
        </pc:spChg>
        <pc:spChg chg="mod">
          <ac:chgData name="EVELYNSM.YONG" userId="S::evelynsm.yong_gmail.com#ext#@risebcg.onmicrosoft.com::67a27a72-2420-4d38-b745-316a53f4b99a" providerId="AD" clId="Web-{CD146A5B-B186-475E-8C29-997FD5E6FBB0}" dt="2022-01-10T02:04:44.899" v="53" actId="1076"/>
          <ac:spMkLst>
            <pc:docMk/>
            <pc:sldMk cId="3531645893" sldId="360"/>
            <ac:spMk id="22" creationId="{31E2D2F4-E28C-4B52-9C47-E50AD68240D1}"/>
          </ac:spMkLst>
        </pc:spChg>
        <pc:spChg chg="mod">
          <ac:chgData name="EVELYNSM.YONG" userId="S::evelynsm.yong_gmail.com#ext#@risebcg.onmicrosoft.com::67a27a72-2420-4d38-b745-316a53f4b99a" providerId="AD" clId="Web-{CD146A5B-B186-475E-8C29-997FD5E6FBB0}" dt="2022-01-10T02:04:42.930" v="52" actId="1076"/>
          <ac:spMkLst>
            <pc:docMk/>
            <pc:sldMk cId="3531645893" sldId="360"/>
            <ac:spMk id="23" creationId="{2E06316D-D669-4187-8235-1A4EE0D9868B}"/>
          </ac:spMkLst>
        </pc:spChg>
        <pc:spChg chg="mod">
          <ac:chgData name="EVELYNSM.YONG" userId="S::evelynsm.yong_gmail.com#ext#@risebcg.onmicrosoft.com::67a27a72-2420-4d38-b745-316a53f4b99a" providerId="AD" clId="Web-{CD146A5B-B186-475E-8C29-997FD5E6FBB0}" dt="2022-01-10T02:04:41.024" v="51" actId="1076"/>
          <ac:spMkLst>
            <pc:docMk/>
            <pc:sldMk cId="3531645893" sldId="360"/>
            <ac:spMk id="24" creationId="{CEFC4E90-FB9D-4E3E-86B1-5712D705BC99}"/>
          </ac:spMkLst>
        </pc:spChg>
        <pc:grpChg chg="add del mod">
          <ac:chgData name="EVELYNSM.YONG" userId="S::evelynsm.yong_gmail.com#ext#@risebcg.onmicrosoft.com::67a27a72-2420-4d38-b745-316a53f4b99a" providerId="AD" clId="Web-{CD146A5B-B186-475E-8C29-997FD5E6FBB0}" dt="2022-01-10T02:04:07.039" v="42"/>
          <ac:grpSpMkLst>
            <pc:docMk/>
            <pc:sldMk cId="3531645893" sldId="360"/>
            <ac:grpSpMk id="2" creationId="{54BD664D-AC17-428F-B75D-77CB92BF5F53}"/>
          </ac:grpSpMkLst>
        </pc:grpChg>
        <pc:grpChg chg="add mod">
          <ac:chgData name="EVELYNSM.YONG" userId="S::evelynsm.yong_gmail.com#ext#@risebcg.onmicrosoft.com::67a27a72-2420-4d38-b745-316a53f4b99a" providerId="AD" clId="Web-{CD146A5B-B186-475E-8C29-997FD5E6FBB0}" dt="2022-01-10T02:04:30.914" v="46" actId="1076"/>
          <ac:grpSpMkLst>
            <pc:docMk/>
            <pc:sldMk cId="3531645893" sldId="360"/>
            <ac:grpSpMk id="4" creationId="{61B1B73A-FFA9-4E13-9361-87D7D06DE48D}"/>
          </ac:grpSpMkLst>
        </pc:grpChg>
        <pc:picChg chg="add mod ord">
          <ac:chgData name="EVELYNSM.YONG" userId="S::evelynsm.yong_gmail.com#ext#@risebcg.onmicrosoft.com::67a27a72-2420-4d38-b745-316a53f4b99a" providerId="AD" clId="Web-{CD146A5B-B186-475E-8C29-997FD5E6FBB0}" dt="2022-01-10T02:07:05.589" v="87" actId="14100"/>
          <ac:picMkLst>
            <pc:docMk/>
            <pc:sldMk cId="3531645893" sldId="360"/>
            <ac:picMk id="3" creationId="{D5FC14B1-A770-4155-9046-CEE54A573DFA}"/>
          </ac:picMkLst>
        </pc:picChg>
        <pc:picChg chg="mod topLvl modCrop">
          <ac:chgData name="EVELYNSM.YONG" userId="S::evelynsm.yong_gmail.com#ext#@risebcg.onmicrosoft.com::67a27a72-2420-4d38-b745-316a53f4b99a" providerId="AD" clId="Web-{CD146A5B-B186-475E-8C29-997FD5E6FBB0}" dt="2022-01-10T02:04:14.086" v="44"/>
          <ac:picMkLst>
            <pc:docMk/>
            <pc:sldMk cId="3531645893" sldId="360"/>
            <ac:picMk id="10" creationId="{584F5D47-ED1E-4045-A0B2-EF545696BD41}"/>
          </ac:picMkLst>
        </pc:picChg>
        <pc:picChg chg="mod topLvl modCrop">
          <ac:chgData name="EVELYNSM.YONG" userId="S::evelynsm.yong_gmail.com#ext#@risebcg.onmicrosoft.com::67a27a72-2420-4d38-b745-316a53f4b99a" providerId="AD" clId="Web-{CD146A5B-B186-475E-8C29-997FD5E6FBB0}" dt="2022-01-10T02:04:07.039" v="42"/>
          <ac:picMkLst>
            <pc:docMk/>
            <pc:sldMk cId="3531645893" sldId="360"/>
            <ac:picMk id="11" creationId="{6CC5917A-A4A9-45C7-865C-75F5E21300B8}"/>
          </ac:picMkLst>
        </pc:picChg>
      </pc:sldChg>
    </pc:docChg>
  </pc:docChgLst>
  <pc:docChgLst>
    <pc:chgData name="EVELYNSM.YONG" userId="S::evelynsm.yong_gmail.com#ext#@risebcg.onmicrosoft.com::67a27a72-2420-4d38-b745-316a53f4b99a" providerId="AD" clId="Web-{E369CB37-3068-47E4-AD90-1DEAD92C8B6F}"/>
    <pc:docChg chg="addSld delSld modSld sldOrd">
      <pc:chgData name="EVELYNSM.YONG" userId="S::evelynsm.yong_gmail.com#ext#@risebcg.onmicrosoft.com::67a27a72-2420-4d38-b745-316a53f4b99a" providerId="AD" clId="Web-{E369CB37-3068-47E4-AD90-1DEAD92C8B6F}" dt="2022-01-08T16:39:17.078" v="2651" actId="1076"/>
      <pc:docMkLst>
        <pc:docMk/>
      </pc:docMkLst>
      <pc:sldChg chg="addSp delSp modSp modNotes">
        <pc:chgData name="EVELYNSM.YONG" userId="S::evelynsm.yong_gmail.com#ext#@risebcg.onmicrosoft.com::67a27a72-2420-4d38-b745-316a53f4b99a" providerId="AD" clId="Web-{E369CB37-3068-47E4-AD90-1DEAD92C8B6F}" dt="2022-01-08T15:58:03.738" v="2302" actId="20577"/>
        <pc:sldMkLst>
          <pc:docMk/>
          <pc:sldMk cId="2256265757" sldId="315"/>
        </pc:sldMkLst>
        <pc:graphicFrameChg chg="add del mod modGraphic">
          <ac:chgData name="EVELYNSM.YONG" userId="S::evelynsm.yong_gmail.com#ext#@risebcg.onmicrosoft.com::67a27a72-2420-4d38-b745-316a53f4b99a" providerId="AD" clId="Web-{E369CB37-3068-47E4-AD90-1DEAD92C8B6F}" dt="2022-01-08T15:58:03.738" v="2302" actId="20577"/>
          <ac:graphicFrameMkLst>
            <pc:docMk/>
            <pc:sldMk cId="2256265757" sldId="315"/>
            <ac:graphicFrameMk id="18" creationId="{2289CFB1-4EE4-43EC-A8B5-4E5FC402B3C5}"/>
          </ac:graphicFrameMkLst>
        </pc:graphicFrameChg>
      </pc:sldChg>
      <pc:sldChg chg="addSp delSp modSp">
        <pc:chgData name="EVELYNSM.YONG" userId="S::evelynsm.yong_gmail.com#ext#@risebcg.onmicrosoft.com::67a27a72-2420-4d38-b745-316a53f4b99a" providerId="AD" clId="Web-{E369CB37-3068-47E4-AD90-1DEAD92C8B6F}" dt="2022-01-08T16:01:52.916" v="2310" actId="14100"/>
        <pc:sldMkLst>
          <pc:docMk/>
          <pc:sldMk cId="4084366951" sldId="318"/>
        </pc:sldMkLst>
        <pc:spChg chg="del mod">
          <ac:chgData name="EVELYNSM.YONG" userId="S::evelynsm.yong_gmail.com#ext#@risebcg.onmicrosoft.com::67a27a72-2420-4d38-b745-316a53f4b99a" providerId="AD" clId="Web-{E369CB37-3068-47E4-AD90-1DEAD92C8B6F}" dt="2022-01-08T11:57:02.168" v="48"/>
          <ac:spMkLst>
            <pc:docMk/>
            <pc:sldMk cId="4084366951" sldId="318"/>
            <ac:spMk id="2" creationId="{1CAEE4F4-60D4-46CA-A79F-1CD22235EEA0}"/>
          </ac:spMkLst>
        </pc:spChg>
        <pc:spChg chg="add mod">
          <ac:chgData name="EVELYNSM.YONG" userId="S::evelynsm.yong_gmail.com#ext#@risebcg.onmicrosoft.com::67a27a72-2420-4d38-b745-316a53f4b99a" providerId="AD" clId="Web-{E369CB37-3068-47E4-AD90-1DEAD92C8B6F}" dt="2022-01-08T11:56:59.558" v="47" actId="20577"/>
          <ac:spMkLst>
            <pc:docMk/>
            <pc:sldMk cId="4084366951" sldId="318"/>
            <ac:spMk id="4" creationId="{513CAA53-13D7-4313-8D45-14F4147EA5D0}"/>
          </ac:spMkLst>
        </pc:spChg>
        <pc:spChg chg="add del mod">
          <ac:chgData name="EVELYNSM.YONG" userId="S::evelynsm.yong_gmail.com#ext#@risebcg.onmicrosoft.com::67a27a72-2420-4d38-b745-316a53f4b99a" providerId="AD" clId="Web-{E369CB37-3068-47E4-AD90-1DEAD92C8B6F}" dt="2022-01-08T11:56:21.260" v="40"/>
          <ac:spMkLst>
            <pc:docMk/>
            <pc:sldMk cId="4084366951" sldId="318"/>
            <ac:spMk id="5" creationId="{195C82AC-3781-474A-8F77-6B2F0F0E9E03}"/>
          </ac:spMkLst>
        </pc:spChg>
        <pc:spChg chg="del mod">
          <ac:chgData name="EVELYNSM.YONG" userId="S::evelynsm.yong_gmail.com#ext#@risebcg.onmicrosoft.com::67a27a72-2420-4d38-b745-316a53f4b99a" providerId="AD" clId="Web-{E369CB37-3068-47E4-AD90-1DEAD92C8B6F}" dt="2022-01-08T12:21:19.858" v="191"/>
          <ac:spMkLst>
            <pc:docMk/>
            <pc:sldMk cId="4084366951" sldId="318"/>
            <ac:spMk id="7" creationId="{B3BF61C1-43C3-4800-B5DD-5D8A55C1B3E9}"/>
          </ac:spMkLst>
        </pc:spChg>
        <pc:spChg chg="del">
          <ac:chgData name="EVELYNSM.YONG" userId="S::evelynsm.yong_gmail.com#ext#@risebcg.onmicrosoft.com::67a27a72-2420-4d38-b745-316a53f4b99a" providerId="AD" clId="Web-{E369CB37-3068-47E4-AD90-1DEAD92C8B6F}" dt="2022-01-08T12:21:21.702" v="192"/>
          <ac:spMkLst>
            <pc:docMk/>
            <pc:sldMk cId="4084366951" sldId="318"/>
            <ac:spMk id="8" creationId="{B4102324-67C0-4946-A006-7D0AB358D531}"/>
          </ac:spMkLst>
        </pc:spChg>
        <pc:spChg chg="add del">
          <ac:chgData name="EVELYNSM.YONG" userId="S::evelynsm.yong_gmail.com#ext#@risebcg.onmicrosoft.com::67a27a72-2420-4d38-b745-316a53f4b99a" providerId="AD" clId="Web-{E369CB37-3068-47E4-AD90-1DEAD92C8B6F}" dt="2022-01-08T11:56:13.276" v="36"/>
          <ac:spMkLst>
            <pc:docMk/>
            <pc:sldMk cId="4084366951" sldId="318"/>
            <ac:spMk id="10" creationId="{C17085B1-9EA2-4B4B-8E23-8EB09F9C693F}"/>
          </ac:spMkLst>
        </pc:spChg>
        <pc:spChg chg="del mod">
          <ac:chgData name="EVELYNSM.YONG" userId="S::evelynsm.yong_gmail.com#ext#@risebcg.onmicrosoft.com::67a27a72-2420-4d38-b745-316a53f4b99a" providerId="AD" clId="Web-{E369CB37-3068-47E4-AD90-1DEAD92C8B6F}" dt="2022-01-08T12:10:06.030" v="138"/>
          <ac:spMkLst>
            <pc:docMk/>
            <pc:sldMk cId="4084366951" sldId="318"/>
            <ac:spMk id="19" creationId="{40F287F0-B118-4CB9-ACBF-1E5B0A5817A5}"/>
          </ac:spMkLst>
        </pc:spChg>
        <pc:spChg chg="del mod">
          <ac:chgData name="EVELYNSM.YONG" userId="S::evelynsm.yong_gmail.com#ext#@risebcg.onmicrosoft.com::67a27a72-2420-4d38-b745-316a53f4b99a" providerId="AD" clId="Web-{E369CB37-3068-47E4-AD90-1DEAD92C8B6F}" dt="2022-01-08T12:10:04.358" v="137"/>
          <ac:spMkLst>
            <pc:docMk/>
            <pc:sldMk cId="4084366951" sldId="318"/>
            <ac:spMk id="20" creationId="{FD3BCB8E-6B17-4F0A-A7A8-AA17BE71B8A2}"/>
          </ac:spMkLst>
        </pc:spChg>
        <pc:spChg chg="del mod">
          <ac:chgData name="EVELYNSM.YONG" userId="S::evelynsm.yong_gmail.com#ext#@risebcg.onmicrosoft.com::67a27a72-2420-4d38-b745-316a53f4b99a" providerId="AD" clId="Web-{E369CB37-3068-47E4-AD90-1DEAD92C8B6F}" dt="2022-01-08T12:10:03.045" v="136"/>
          <ac:spMkLst>
            <pc:docMk/>
            <pc:sldMk cId="4084366951" sldId="318"/>
            <ac:spMk id="21" creationId="{35D5CD39-ED1A-4202-9FEE-144C7FF14574}"/>
          </ac:spMkLst>
        </pc:spChg>
        <pc:spChg chg="add del mod">
          <ac:chgData name="EVELYNSM.YONG" userId="S::evelynsm.yong_gmail.com#ext#@risebcg.onmicrosoft.com::67a27a72-2420-4d38-b745-316a53f4b99a" providerId="AD" clId="Web-{E369CB37-3068-47E4-AD90-1DEAD92C8B6F}" dt="2022-01-08T11:57:05.965" v="49"/>
          <ac:spMkLst>
            <pc:docMk/>
            <pc:sldMk cId="4084366951" sldId="318"/>
            <ac:spMk id="25" creationId="{D8E2CB21-A832-458E-B0D8-463B2179D04D}"/>
          </ac:spMkLst>
        </pc:spChg>
        <pc:spChg chg="add mod">
          <ac:chgData name="EVELYNSM.YONG" userId="S::evelynsm.yong_gmail.com#ext#@risebcg.onmicrosoft.com::67a27a72-2420-4d38-b745-316a53f4b99a" providerId="AD" clId="Web-{E369CB37-3068-47E4-AD90-1DEAD92C8B6F}" dt="2022-01-08T14:10:48.455" v="753" actId="14100"/>
          <ac:spMkLst>
            <pc:docMk/>
            <pc:sldMk cId="4084366951" sldId="318"/>
            <ac:spMk id="27" creationId="{1085EEA4-0F74-4601-B0CF-FE2599EB9A10}"/>
          </ac:spMkLst>
        </pc:spChg>
        <pc:spChg chg="add mod">
          <ac:chgData name="EVELYNSM.YONG" userId="S::evelynsm.yong_gmail.com#ext#@risebcg.onmicrosoft.com::67a27a72-2420-4d38-b745-316a53f4b99a" providerId="AD" clId="Web-{E369CB37-3068-47E4-AD90-1DEAD92C8B6F}" dt="2022-01-08T12:10:08.280" v="139" actId="1076"/>
          <ac:spMkLst>
            <pc:docMk/>
            <pc:sldMk cId="4084366951" sldId="318"/>
            <ac:spMk id="28" creationId="{28FDC5A9-3EE3-4145-B1B8-3B46F9314E01}"/>
          </ac:spMkLst>
        </pc:spChg>
        <pc:spChg chg="add mod">
          <ac:chgData name="EVELYNSM.YONG" userId="S::evelynsm.yong_gmail.com#ext#@risebcg.onmicrosoft.com::67a27a72-2420-4d38-b745-316a53f4b99a" providerId="AD" clId="Web-{E369CB37-3068-47E4-AD90-1DEAD92C8B6F}" dt="2022-01-08T12:10:29.421" v="144" actId="1076"/>
          <ac:spMkLst>
            <pc:docMk/>
            <pc:sldMk cId="4084366951" sldId="318"/>
            <ac:spMk id="29" creationId="{A24DC5B5-6F7A-4616-BD21-B8AEE8EC67D9}"/>
          </ac:spMkLst>
        </pc:spChg>
        <pc:spChg chg="add mod">
          <ac:chgData name="EVELYNSM.YONG" userId="S::evelynsm.yong_gmail.com#ext#@risebcg.onmicrosoft.com::67a27a72-2420-4d38-b745-316a53f4b99a" providerId="AD" clId="Web-{E369CB37-3068-47E4-AD90-1DEAD92C8B6F}" dt="2022-01-08T12:01:59.581" v="88" actId="14100"/>
          <ac:spMkLst>
            <pc:docMk/>
            <pc:sldMk cId="4084366951" sldId="318"/>
            <ac:spMk id="30" creationId="{39B859B5-CE34-419F-BA1D-82EA5502A6AE}"/>
          </ac:spMkLst>
        </pc:spChg>
        <pc:spChg chg="add mod">
          <ac:chgData name="EVELYNSM.YONG" userId="S::evelynsm.yong_gmail.com#ext#@risebcg.onmicrosoft.com::67a27a72-2420-4d38-b745-316a53f4b99a" providerId="AD" clId="Web-{E369CB37-3068-47E4-AD90-1DEAD92C8B6F}" dt="2022-01-08T16:01:52.916" v="2310" actId="14100"/>
          <ac:spMkLst>
            <pc:docMk/>
            <pc:sldMk cId="4084366951" sldId="318"/>
            <ac:spMk id="32" creationId="{41E099E5-F68B-4939-9F7A-B9CC2E5F333A}"/>
          </ac:spMkLst>
        </pc:spChg>
        <pc:spChg chg="add mod">
          <ac:chgData name="EVELYNSM.YONG" userId="S::evelynsm.yong_gmail.com#ext#@risebcg.onmicrosoft.com::67a27a72-2420-4d38-b745-316a53f4b99a" providerId="AD" clId="Web-{E369CB37-3068-47E4-AD90-1DEAD92C8B6F}" dt="2022-01-08T16:01:35.634" v="2306" actId="1076"/>
          <ac:spMkLst>
            <pc:docMk/>
            <pc:sldMk cId="4084366951" sldId="318"/>
            <ac:spMk id="36" creationId="{F7D95DB6-AB55-4004-B0F3-E52A8FA9E4EF}"/>
          </ac:spMkLst>
        </pc:spChg>
        <pc:grpChg chg="add mod">
          <ac:chgData name="EVELYNSM.YONG" userId="S::evelynsm.yong_gmail.com#ext#@risebcg.onmicrosoft.com::67a27a72-2420-4d38-b745-316a53f4b99a" providerId="AD" clId="Web-{E369CB37-3068-47E4-AD90-1DEAD92C8B6F}" dt="2022-01-08T13:52:21.289" v="577" actId="1076"/>
          <ac:grpSpMkLst>
            <pc:docMk/>
            <pc:sldMk cId="4084366951" sldId="318"/>
            <ac:grpSpMk id="33" creationId="{1A60CE19-5118-4A2B-9381-1DE6CC5D1F64}"/>
          </ac:grpSpMkLst>
        </pc:grpChg>
        <pc:grpChg chg="add mod">
          <ac:chgData name="EVELYNSM.YONG" userId="S::evelynsm.yong_gmail.com#ext#@risebcg.onmicrosoft.com::67a27a72-2420-4d38-b745-316a53f4b99a" providerId="AD" clId="Web-{E369CB37-3068-47E4-AD90-1DEAD92C8B6F}" dt="2022-01-08T12:21:38.733" v="202" actId="1076"/>
          <ac:grpSpMkLst>
            <pc:docMk/>
            <pc:sldMk cId="4084366951" sldId="318"/>
            <ac:grpSpMk id="34" creationId="{05607143-7AC4-4585-8FF1-3A1245EE3DDE}"/>
          </ac:grpSpMkLst>
        </pc:grpChg>
        <pc:picChg chg="mod">
          <ac:chgData name="EVELYNSM.YONG" userId="S::evelynsm.yong_gmail.com#ext#@risebcg.onmicrosoft.com::67a27a72-2420-4d38-b745-316a53f4b99a" providerId="AD" clId="Web-{E369CB37-3068-47E4-AD90-1DEAD92C8B6F}" dt="2022-01-08T14:10:39.346" v="751" actId="1076"/>
          <ac:picMkLst>
            <pc:docMk/>
            <pc:sldMk cId="4084366951" sldId="318"/>
            <ac:picMk id="2" creationId="{A614BDB2-A87C-4D6E-B961-198BF7854FE2}"/>
          </ac:picMkLst>
        </pc:picChg>
        <pc:picChg chg="mod">
          <ac:chgData name="EVELYNSM.YONG" userId="S::evelynsm.yong_gmail.com#ext#@risebcg.onmicrosoft.com::67a27a72-2420-4d38-b745-316a53f4b99a" providerId="AD" clId="Web-{E369CB37-3068-47E4-AD90-1DEAD92C8B6F}" dt="2022-01-08T12:21:38.655" v="199" actId="1076"/>
          <ac:picMkLst>
            <pc:docMk/>
            <pc:sldMk cId="4084366951" sldId="318"/>
            <ac:picMk id="3" creationId="{4EA9D4D3-D6BE-4DD3-A185-A6287A9302E7}"/>
          </ac:picMkLst>
        </pc:picChg>
        <pc:picChg chg="mod">
          <ac:chgData name="EVELYNSM.YONG" userId="S::evelynsm.yong_gmail.com#ext#@risebcg.onmicrosoft.com::67a27a72-2420-4d38-b745-316a53f4b99a" providerId="AD" clId="Web-{E369CB37-3068-47E4-AD90-1DEAD92C8B6F}" dt="2022-01-08T11:57:30.840" v="54" actId="1076"/>
          <ac:picMkLst>
            <pc:docMk/>
            <pc:sldMk cId="4084366951" sldId="318"/>
            <ac:picMk id="9" creationId="{329F3741-BB5B-4CA9-80DC-60382768BE40}"/>
          </ac:picMkLst>
        </pc:picChg>
        <pc:picChg chg="mod">
          <ac:chgData name="EVELYNSM.YONG" userId="S::evelynsm.yong_gmail.com#ext#@risebcg.onmicrosoft.com::67a27a72-2420-4d38-b745-316a53f4b99a" providerId="AD" clId="Web-{E369CB37-3068-47E4-AD90-1DEAD92C8B6F}" dt="2022-01-08T12:21:38.687" v="200" actId="1076"/>
          <ac:picMkLst>
            <pc:docMk/>
            <pc:sldMk cId="4084366951" sldId="318"/>
            <ac:picMk id="11" creationId="{079CE0C2-D9FF-4DFE-967B-E9EFC7681473}"/>
          </ac:picMkLst>
        </pc:picChg>
        <pc:picChg chg="mod">
          <ac:chgData name="EVELYNSM.YONG" userId="S::evelynsm.yong_gmail.com#ext#@risebcg.onmicrosoft.com::67a27a72-2420-4d38-b745-316a53f4b99a" providerId="AD" clId="Web-{E369CB37-3068-47E4-AD90-1DEAD92C8B6F}" dt="2022-01-08T13:52:13.179" v="575"/>
          <ac:picMkLst>
            <pc:docMk/>
            <pc:sldMk cId="4084366951" sldId="318"/>
            <ac:picMk id="18" creationId="{01844450-929B-4C6F-8685-6FF3118F02E2}"/>
          </ac:picMkLst>
        </pc:picChg>
      </pc:sldChg>
      <pc:sldChg chg="addSp delSp modSp modNotes">
        <pc:chgData name="EVELYNSM.YONG" userId="S::evelynsm.yong_gmail.com#ext#@risebcg.onmicrosoft.com::67a27a72-2420-4d38-b745-316a53f4b99a" providerId="AD" clId="Web-{E369CB37-3068-47E4-AD90-1DEAD92C8B6F}" dt="2022-01-08T14:51:56.935" v="1315" actId="1076"/>
        <pc:sldMkLst>
          <pc:docMk/>
          <pc:sldMk cId="3666302761" sldId="324"/>
        </pc:sldMkLst>
        <pc:spChg chg="mod">
          <ac:chgData name="EVELYNSM.YONG" userId="S::evelynsm.yong_gmail.com#ext#@risebcg.onmicrosoft.com::67a27a72-2420-4d38-b745-316a53f4b99a" providerId="AD" clId="Web-{E369CB37-3068-47E4-AD90-1DEAD92C8B6F}" dt="2022-01-08T14:51:56.935" v="1315" actId="1076"/>
          <ac:spMkLst>
            <pc:docMk/>
            <pc:sldMk cId="3666302761" sldId="324"/>
            <ac:spMk id="5" creationId="{0A784A15-5CA4-4DDF-B588-22BE7AFBC9A8}"/>
          </ac:spMkLst>
        </pc:spChg>
        <pc:spChg chg="add mod">
          <ac:chgData name="EVELYNSM.YONG" userId="S::evelynsm.yong_gmail.com#ext#@risebcg.onmicrosoft.com::67a27a72-2420-4d38-b745-316a53f4b99a" providerId="AD" clId="Web-{E369CB37-3068-47E4-AD90-1DEAD92C8B6F}" dt="2022-01-08T14:49:39.463" v="1306" actId="1076"/>
          <ac:spMkLst>
            <pc:docMk/>
            <pc:sldMk cId="3666302761" sldId="324"/>
            <ac:spMk id="6" creationId="{2421FA36-AD2A-4740-8B15-775BD01D9062}"/>
          </ac:spMkLst>
        </pc:spChg>
        <pc:spChg chg="mod">
          <ac:chgData name="EVELYNSM.YONG" userId="S::evelynsm.yong_gmail.com#ext#@risebcg.onmicrosoft.com::67a27a72-2420-4d38-b745-316a53f4b99a" providerId="AD" clId="Web-{E369CB37-3068-47E4-AD90-1DEAD92C8B6F}" dt="2022-01-08T14:35:42.709" v="985" actId="20577"/>
          <ac:spMkLst>
            <pc:docMk/>
            <pc:sldMk cId="3666302761" sldId="324"/>
            <ac:spMk id="7" creationId="{5040411B-0A54-429E-94AB-0F4DA7C1917E}"/>
          </ac:spMkLst>
        </pc:spChg>
        <pc:spChg chg="del mod">
          <ac:chgData name="EVELYNSM.YONG" userId="S::evelynsm.yong_gmail.com#ext#@risebcg.onmicrosoft.com::67a27a72-2420-4d38-b745-316a53f4b99a" providerId="AD" clId="Web-{E369CB37-3068-47E4-AD90-1DEAD92C8B6F}" dt="2022-01-08T14:32:22.704" v="980"/>
          <ac:spMkLst>
            <pc:docMk/>
            <pc:sldMk cId="3666302761" sldId="324"/>
            <ac:spMk id="12" creationId="{844D08C5-3EE5-4BAC-9392-6CA8001CAD4E}"/>
          </ac:spMkLst>
        </pc:spChg>
        <pc:spChg chg="mod">
          <ac:chgData name="EVELYNSM.YONG" userId="S::evelynsm.yong_gmail.com#ext#@risebcg.onmicrosoft.com::67a27a72-2420-4d38-b745-316a53f4b99a" providerId="AD" clId="Web-{E369CB37-3068-47E4-AD90-1DEAD92C8B6F}" dt="2022-01-08T12:02:55.004" v="94"/>
          <ac:spMkLst>
            <pc:docMk/>
            <pc:sldMk cId="3666302761" sldId="324"/>
            <ac:spMk id="13" creationId="{003E35E4-DB87-4D35-8663-60FF12DD7B69}"/>
          </ac:spMkLst>
        </pc:spChg>
        <pc:spChg chg="mod">
          <ac:chgData name="EVELYNSM.YONG" userId="S::evelynsm.yong_gmail.com#ext#@risebcg.onmicrosoft.com::67a27a72-2420-4d38-b745-316a53f4b99a" providerId="AD" clId="Web-{E369CB37-3068-47E4-AD90-1DEAD92C8B6F}" dt="2022-01-08T12:03:27.286" v="99" actId="20577"/>
          <ac:spMkLst>
            <pc:docMk/>
            <pc:sldMk cId="3666302761" sldId="324"/>
            <ac:spMk id="14" creationId="{CD92118D-BCDA-4C90-B9D2-09972FA65EE3}"/>
          </ac:spMkLst>
        </pc:spChg>
        <pc:spChg chg="mod">
          <ac:chgData name="EVELYNSM.YONG" userId="S::evelynsm.yong_gmail.com#ext#@risebcg.onmicrosoft.com::67a27a72-2420-4d38-b745-316a53f4b99a" providerId="AD" clId="Web-{E369CB37-3068-47E4-AD90-1DEAD92C8B6F}" dt="2022-01-08T12:02:58.864" v="96"/>
          <ac:spMkLst>
            <pc:docMk/>
            <pc:sldMk cId="3666302761" sldId="324"/>
            <ac:spMk id="21" creationId="{46156451-ECB4-4520-895C-009D1F9E8343}"/>
          </ac:spMkLst>
        </pc:spChg>
        <pc:spChg chg="mod">
          <ac:chgData name="EVELYNSM.YONG" userId="S::evelynsm.yong_gmail.com#ext#@risebcg.onmicrosoft.com::67a27a72-2420-4d38-b745-316a53f4b99a" providerId="AD" clId="Web-{E369CB37-3068-47E4-AD90-1DEAD92C8B6F}" dt="2022-01-08T12:03:00.848" v="97"/>
          <ac:spMkLst>
            <pc:docMk/>
            <pc:sldMk cId="3666302761" sldId="324"/>
            <ac:spMk id="22" creationId="{C16AF6E1-B243-4B07-9F33-544B588862C6}"/>
          </ac:spMkLst>
        </pc:spChg>
        <pc:spChg chg="mod">
          <ac:chgData name="EVELYNSM.YONG" userId="S::evelynsm.yong_gmail.com#ext#@risebcg.onmicrosoft.com::67a27a72-2420-4d38-b745-316a53f4b99a" providerId="AD" clId="Web-{E369CB37-3068-47E4-AD90-1DEAD92C8B6F}" dt="2022-01-08T12:03:45.021" v="101" actId="20577"/>
          <ac:spMkLst>
            <pc:docMk/>
            <pc:sldMk cId="3666302761" sldId="324"/>
            <ac:spMk id="23" creationId="{437837FB-28C6-4D49-A0CB-199C96E6B187}"/>
          </ac:spMkLst>
        </pc:spChg>
        <pc:spChg chg="mod">
          <ac:chgData name="EVELYNSM.YONG" userId="S::evelynsm.yong_gmail.com#ext#@risebcg.onmicrosoft.com::67a27a72-2420-4d38-b745-316a53f4b99a" providerId="AD" clId="Web-{E369CB37-3068-47E4-AD90-1DEAD92C8B6F}" dt="2022-01-08T12:03:47.927" v="102" actId="20577"/>
          <ac:spMkLst>
            <pc:docMk/>
            <pc:sldMk cId="3666302761" sldId="324"/>
            <ac:spMk id="24" creationId="{3A5B42D3-2732-4D38-8D3A-233FB4F41BD0}"/>
          </ac:spMkLst>
        </pc:spChg>
        <pc:spChg chg="mod ord">
          <ac:chgData name="EVELYNSM.YONG" userId="S::evelynsm.yong_gmail.com#ext#@risebcg.onmicrosoft.com::67a27a72-2420-4d38-b745-316a53f4b99a" providerId="AD" clId="Web-{E369CB37-3068-47E4-AD90-1DEAD92C8B6F}" dt="2022-01-08T14:46:00.552" v="1235" actId="1076"/>
          <ac:spMkLst>
            <pc:docMk/>
            <pc:sldMk cId="3666302761" sldId="324"/>
            <ac:spMk id="25" creationId="{A72C66DB-3DFA-4DD0-BB16-94A4A31F5E94}"/>
          </ac:spMkLst>
        </pc:spChg>
        <pc:spChg chg="mod">
          <ac:chgData name="EVELYNSM.YONG" userId="S::evelynsm.yong_gmail.com#ext#@risebcg.onmicrosoft.com::67a27a72-2420-4d38-b745-316a53f4b99a" providerId="AD" clId="Web-{E369CB37-3068-47E4-AD90-1DEAD92C8B6F}" dt="2022-01-08T12:02:56.957" v="95"/>
          <ac:spMkLst>
            <pc:docMk/>
            <pc:sldMk cId="3666302761" sldId="324"/>
            <ac:spMk id="26" creationId="{22DD1760-D9EC-405F-9AAD-63EC690DC033}"/>
          </ac:spMkLst>
        </pc:spChg>
        <pc:spChg chg="mod">
          <ac:chgData name="EVELYNSM.YONG" userId="S::evelynsm.yong_gmail.com#ext#@risebcg.onmicrosoft.com::67a27a72-2420-4d38-b745-316a53f4b99a" providerId="AD" clId="Web-{E369CB37-3068-47E4-AD90-1DEAD92C8B6F}" dt="2022-01-08T12:03:39.302" v="100" actId="20577"/>
          <ac:spMkLst>
            <pc:docMk/>
            <pc:sldMk cId="3666302761" sldId="324"/>
            <ac:spMk id="27" creationId="{B2BF4484-08EE-483A-BA89-BC8EDC410538}"/>
          </ac:spMkLst>
        </pc:spChg>
        <pc:spChg chg="mod">
          <ac:chgData name="EVELYNSM.YONG" userId="S::evelynsm.yong_gmail.com#ext#@risebcg.onmicrosoft.com::67a27a72-2420-4d38-b745-316a53f4b99a" providerId="AD" clId="Web-{E369CB37-3068-47E4-AD90-1DEAD92C8B6F}" dt="2022-01-08T14:49:22.385" v="1303" actId="1076"/>
          <ac:spMkLst>
            <pc:docMk/>
            <pc:sldMk cId="3666302761" sldId="324"/>
            <ac:spMk id="28" creationId="{5BEF8CBE-6A99-4BE1-8789-ABAC27A176FF}"/>
          </ac:spMkLst>
        </pc:spChg>
        <pc:picChg chg="mod">
          <ac:chgData name="EVELYNSM.YONG" userId="S::evelynsm.yong_gmail.com#ext#@risebcg.onmicrosoft.com::67a27a72-2420-4d38-b745-316a53f4b99a" providerId="AD" clId="Web-{E369CB37-3068-47E4-AD90-1DEAD92C8B6F}" dt="2022-01-08T14:49:35.557" v="1304" actId="1076"/>
          <ac:picMkLst>
            <pc:docMk/>
            <pc:sldMk cId="3666302761" sldId="324"/>
            <ac:picMk id="15" creationId="{5D59DB1C-172C-47ED-95FD-1E3F001466CE}"/>
          </ac:picMkLst>
        </pc:picChg>
      </pc:sldChg>
      <pc:sldChg chg="addSp delSp modSp modNotes">
        <pc:chgData name="EVELYNSM.YONG" userId="S::evelynsm.yong_gmail.com#ext#@risebcg.onmicrosoft.com::67a27a72-2420-4d38-b745-316a53f4b99a" providerId="AD" clId="Web-{E369CB37-3068-47E4-AD90-1DEAD92C8B6F}" dt="2022-01-08T14:54:02.922" v="1327" actId="1076"/>
        <pc:sldMkLst>
          <pc:docMk/>
          <pc:sldMk cId="2316358039" sldId="325"/>
        </pc:sldMkLst>
        <pc:spChg chg="mod">
          <ac:chgData name="EVELYNSM.YONG" userId="S::evelynsm.yong_gmail.com#ext#@risebcg.onmicrosoft.com::67a27a72-2420-4d38-b745-316a53f4b99a" providerId="AD" clId="Web-{E369CB37-3068-47E4-AD90-1DEAD92C8B6F}" dt="2022-01-08T12:02:13.628" v="89"/>
          <ac:spMkLst>
            <pc:docMk/>
            <pc:sldMk cId="2316358039" sldId="325"/>
            <ac:spMk id="3" creationId="{424AF61A-30BE-4BE9-9F56-D2497C21C355}"/>
          </ac:spMkLst>
        </pc:spChg>
        <pc:spChg chg="mod">
          <ac:chgData name="EVELYNSM.YONG" userId="S::evelynsm.yong_gmail.com#ext#@risebcg.onmicrosoft.com::67a27a72-2420-4d38-b745-316a53f4b99a" providerId="AD" clId="Web-{E369CB37-3068-47E4-AD90-1DEAD92C8B6F}" dt="2022-01-08T14:15:55.572" v="855" actId="14100"/>
          <ac:spMkLst>
            <pc:docMk/>
            <pc:sldMk cId="2316358039" sldId="325"/>
            <ac:spMk id="5" creationId="{66362E8C-07A8-4B97-87C8-091A9FDB599A}"/>
          </ac:spMkLst>
        </pc:spChg>
        <pc:spChg chg="add mod">
          <ac:chgData name="EVELYNSM.YONG" userId="S::evelynsm.yong_gmail.com#ext#@risebcg.onmicrosoft.com::67a27a72-2420-4d38-b745-316a53f4b99a" providerId="AD" clId="Web-{E369CB37-3068-47E4-AD90-1DEAD92C8B6F}" dt="2022-01-08T14:53:49.781" v="1325" actId="14100"/>
          <ac:spMkLst>
            <pc:docMk/>
            <pc:sldMk cId="2316358039" sldId="325"/>
            <ac:spMk id="6" creationId="{208993E5-B009-40A8-BC89-286E139EA12D}"/>
          </ac:spMkLst>
        </pc:spChg>
        <pc:spChg chg="add mod">
          <ac:chgData name="EVELYNSM.YONG" userId="S::evelynsm.yong_gmail.com#ext#@risebcg.onmicrosoft.com::67a27a72-2420-4d38-b745-316a53f4b99a" providerId="AD" clId="Web-{E369CB37-3068-47E4-AD90-1DEAD92C8B6F}" dt="2022-01-08T14:54:02.922" v="1327" actId="1076"/>
          <ac:spMkLst>
            <pc:docMk/>
            <pc:sldMk cId="2316358039" sldId="325"/>
            <ac:spMk id="7" creationId="{94FE5CC3-34DB-4563-9D82-37FBEA4166BF}"/>
          </ac:spMkLst>
        </pc:spChg>
        <pc:spChg chg="del mod">
          <ac:chgData name="EVELYNSM.YONG" userId="S::evelynsm.yong_gmail.com#ext#@risebcg.onmicrosoft.com::67a27a72-2420-4d38-b745-316a53f4b99a" providerId="AD" clId="Web-{E369CB37-3068-47E4-AD90-1DEAD92C8B6F}" dt="2022-01-08T14:53:31.375" v="1321"/>
          <ac:spMkLst>
            <pc:docMk/>
            <pc:sldMk cId="2316358039" sldId="325"/>
            <ac:spMk id="9" creationId="{CE26EE87-2792-4EC3-8D5C-A7F50F434726}"/>
          </ac:spMkLst>
        </pc:spChg>
        <pc:picChg chg="mod modCrop">
          <ac:chgData name="EVELYNSM.YONG" userId="S::evelynsm.yong_gmail.com#ext#@risebcg.onmicrosoft.com::67a27a72-2420-4d38-b745-316a53f4b99a" providerId="AD" clId="Web-{E369CB37-3068-47E4-AD90-1DEAD92C8B6F}" dt="2022-01-08T14:53:39.219" v="1323" actId="14100"/>
          <ac:picMkLst>
            <pc:docMk/>
            <pc:sldMk cId="2316358039" sldId="325"/>
            <ac:picMk id="2" creationId="{69CF128B-0B09-4BF1-B2CA-1BA877B1F78B}"/>
          </ac:picMkLst>
        </pc:picChg>
      </pc:sldChg>
      <pc:sldChg chg="addSp delSp modSp">
        <pc:chgData name="EVELYNSM.YONG" userId="S::evelynsm.yong_gmail.com#ext#@risebcg.onmicrosoft.com::67a27a72-2420-4d38-b745-316a53f4b99a" providerId="AD" clId="Web-{E369CB37-3068-47E4-AD90-1DEAD92C8B6F}" dt="2022-01-08T14:59:25.367" v="1331" actId="20577"/>
        <pc:sldMkLst>
          <pc:docMk/>
          <pc:sldMk cId="2160415509" sldId="326"/>
        </pc:sldMkLst>
        <pc:spChg chg="mod">
          <ac:chgData name="EVELYNSM.YONG" userId="S::evelynsm.yong_gmail.com#ext#@risebcg.onmicrosoft.com::67a27a72-2420-4d38-b745-316a53f4b99a" providerId="AD" clId="Web-{E369CB37-3068-47E4-AD90-1DEAD92C8B6F}" dt="2022-01-08T14:41:25.623" v="1137" actId="20577"/>
          <ac:spMkLst>
            <pc:docMk/>
            <pc:sldMk cId="2160415509" sldId="326"/>
            <ac:spMk id="2" creationId="{ED14AA63-35D8-4136-8B2F-DE1837A583A2}"/>
          </ac:spMkLst>
        </pc:spChg>
        <pc:spChg chg="del">
          <ac:chgData name="EVELYNSM.YONG" userId="S::evelynsm.yong_gmail.com#ext#@risebcg.onmicrosoft.com::67a27a72-2420-4d38-b745-316a53f4b99a" providerId="AD" clId="Web-{E369CB37-3068-47E4-AD90-1DEAD92C8B6F}" dt="2022-01-08T14:39:42.793" v="1105"/>
          <ac:spMkLst>
            <pc:docMk/>
            <pc:sldMk cId="2160415509" sldId="326"/>
            <ac:spMk id="3" creationId="{2A938E9D-39F3-463F-BEAD-B91F6168A34D}"/>
          </ac:spMkLst>
        </pc:spChg>
        <pc:spChg chg="mod">
          <ac:chgData name="EVELYNSM.YONG" userId="S::evelynsm.yong_gmail.com#ext#@risebcg.onmicrosoft.com::67a27a72-2420-4d38-b745-316a53f4b99a" providerId="AD" clId="Web-{E369CB37-3068-47E4-AD90-1DEAD92C8B6F}" dt="2022-01-08T14:59:25.367" v="1331" actId="20577"/>
          <ac:spMkLst>
            <pc:docMk/>
            <pc:sldMk cId="2160415509" sldId="326"/>
            <ac:spMk id="4" creationId="{215644EC-E1A2-4B5F-BA53-79EB189605EC}"/>
          </ac:spMkLst>
        </pc:spChg>
        <pc:spChg chg="add mod">
          <ac:chgData name="EVELYNSM.YONG" userId="S::evelynsm.yong_gmail.com#ext#@risebcg.onmicrosoft.com::67a27a72-2420-4d38-b745-316a53f4b99a" providerId="AD" clId="Web-{E369CB37-3068-47E4-AD90-1DEAD92C8B6F}" dt="2022-01-08T14:41:07.920" v="1129" actId="14100"/>
          <ac:spMkLst>
            <pc:docMk/>
            <pc:sldMk cId="2160415509" sldId="326"/>
            <ac:spMk id="7" creationId="{EE72E06D-8EAE-4242-B1FE-DB5A60BCC68C}"/>
          </ac:spMkLst>
        </pc:spChg>
        <pc:spChg chg="add del">
          <ac:chgData name="EVELYNSM.YONG" userId="S::evelynsm.yong_gmail.com#ext#@risebcg.onmicrosoft.com::67a27a72-2420-4d38-b745-316a53f4b99a" providerId="AD" clId="Web-{E369CB37-3068-47E4-AD90-1DEAD92C8B6F}" dt="2022-01-08T14:43:27.736" v="1203"/>
          <ac:spMkLst>
            <pc:docMk/>
            <pc:sldMk cId="2160415509" sldId="326"/>
            <ac:spMk id="9" creationId="{D8A1EB4B-7628-48A8-9C65-8800363A8379}"/>
          </ac:spMkLst>
        </pc:spChg>
        <pc:spChg chg="add mod">
          <ac:chgData name="EVELYNSM.YONG" userId="S::evelynsm.yong_gmail.com#ext#@risebcg.onmicrosoft.com::67a27a72-2420-4d38-b745-316a53f4b99a" providerId="AD" clId="Web-{E369CB37-3068-47E4-AD90-1DEAD92C8B6F}" dt="2022-01-08T14:43:50.392" v="1207" actId="1076"/>
          <ac:spMkLst>
            <pc:docMk/>
            <pc:sldMk cId="2160415509" sldId="326"/>
            <ac:spMk id="11" creationId="{7A860165-0B15-49E4-A7ED-826D9540D919}"/>
          </ac:spMkLst>
        </pc:spChg>
        <pc:spChg chg="del">
          <ac:chgData name="EVELYNSM.YONG" userId="S::evelynsm.yong_gmail.com#ext#@risebcg.onmicrosoft.com::67a27a72-2420-4d38-b745-316a53f4b99a" providerId="AD" clId="Web-{E369CB37-3068-47E4-AD90-1DEAD92C8B6F}" dt="2022-01-08T14:16:19.869" v="858"/>
          <ac:spMkLst>
            <pc:docMk/>
            <pc:sldMk cId="2160415509" sldId="326"/>
            <ac:spMk id="15" creationId="{AAF3EE67-387A-430E-A8DA-4FF50FD506BC}"/>
          </ac:spMkLst>
        </pc:spChg>
        <pc:picChg chg="mod">
          <ac:chgData name="EVELYNSM.YONG" userId="S::evelynsm.yong_gmail.com#ext#@risebcg.onmicrosoft.com::67a27a72-2420-4d38-b745-316a53f4b99a" providerId="AD" clId="Web-{E369CB37-3068-47E4-AD90-1DEAD92C8B6F}" dt="2022-01-08T14:16:34.495" v="860"/>
          <ac:picMkLst>
            <pc:docMk/>
            <pc:sldMk cId="2160415509" sldId="326"/>
            <ac:picMk id="5" creationId="{8D9C3E5E-0B98-4B88-BFAE-486A9BD232FA}"/>
          </ac:picMkLst>
        </pc:picChg>
        <pc:picChg chg="mod">
          <ac:chgData name="EVELYNSM.YONG" userId="S::evelynsm.yong_gmail.com#ext#@risebcg.onmicrosoft.com::67a27a72-2420-4d38-b745-316a53f4b99a" providerId="AD" clId="Web-{E369CB37-3068-47E4-AD90-1DEAD92C8B6F}" dt="2022-01-08T14:55:20.893" v="1329" actId="14100"/>
          <ac:picMkLst>
            <pc:docMk/>
            <pc:sldMk cId="2160415509" sldId="326"/>
            <ac:picMk id="6" creationId="{BFC712DB-8FC7-4ACB-AF6D-D3D38470A4A2}"/>
          </ac:picMkLst>
        </pc:picChg>
        <pc:picChg chg="add del">
          <ac:chgData name="EVELYNSM.YONG" userId="S::evelynsm.yong_gmail.com#ext#@risebcg.onmicrosoft.com::67a27a72-2420-4d38-b745-316a53f4b99a" providerId="AD" clId="Web-{E369CB37-3068-47E4-AD90-1DEAD92C8B6F}" dt="2022-01-08T14:43:27.736" v="1204"/>
          <ac:picMkLst>
            <pc:docMk/>
            <pc:sldMk cId="2160415509" sldId="326"/>
            <ac:picMk id="8" creationId="{8EAC5815-EFDC-4BD8-8A2C-464345035089}"/>
          </ac:picMkLst>
        </pc:picChg>
      </pc:sldChg>
      <pc:sldChg chg="modSp">
        <pc:chgData name="EVELYNSM.YONG" userId="S::evelynsm.yong_gmail.com#ext#@risebcg.onmicrosoft.com::67a27a72-2420-4d38-b745-316a53f4b99a" providerId="AD" clId="Web-{E369CB37-3068-47E4-AD90-1DEAD92C8B6F}" dt="2022-01-08T16:32:10.989" v="2640" actId="14100"/>
        <pc:sldMkLst>
          <pc:docMk/>
          <pc:sldMk cId="416007632" sldId="327"/>
        </pc:sldMkLst>
        <pc:spChg chg="mod">
          <ac:chgData name="EVELYNSM.YONG" userId="S::evelynsm.yong_gmail.com#ext#@risebcg.onmicrosoft.com::67a27a72-2420-4d38-b745-316a53f4b99a" providerId="AD" clId="Web-{E369CB37-3068-47E4-AD90-1DEAD92C8B6F}" dt="2022-01-08T16:32:10.989" v="2640" actId="14100"/>
          <ac:spMkLst>
            <pc:docMk/>
            <pc:sldMk cId="416007632" sldId="327"/>
            <ac:spMk id="37" creationId="{1AA86EF9-D1F2-488E-902B-9C25FAEFDD52}"/>
          </ac:spMkLst>
        </pc:spChg>
      </pc:sldChg>
      <pc:sldChg chg="addSp delSp modSp">
        <pc:chgData name="EVELYNSM.YONG" userId="S::evelynsm.yong_gmail.com#ext#@risebcg.onmicrosoft.com::67a27a72-2420-4d38-b745-316a53f4b99a" providerId="AD" clId="Web-{E369CB37-3068-47E4-AD90-1DEAD92C8B6F}" dt="2022-01-08T16:23:17.852" v="2547" actId="14100"/>
        <pc:sldMkLst>
          <pc:docMk/>
          <pc:sldMk cId="1249418479" sldId="334"/>
        </pc:sldMkLst>
        <pc:spChg chg="mod">
          <ac:chgData name="EVELYNSM.YONG" userId="S::evelynsm.yong_gmail.com#ext#@risebcg.onmicrosoft.com::67a27a72-2420-4d38-b745-316a53f4b99a" providerId="AD" clId="Web-{E369CB37-3068-47E4-AD90-1DEAD92C8B6F}" dt="2022-01-08T12:22:59.392" v="226" actId="20577"/>
          <ac:spMkLst>
            <pc:docMk/>
            <pc:sldMk cId="1249418479" sldId="334"/>
            <ac:spMk id="2" creationId="{1CAEE4F4-60D4-46CA-A79F-1CD22235EEA0}"/>
          </ac:spMkLst>
        </pc:spChg>
        <pc:spChg chg="mod">
          <ac:chgData name="EVELYNSM.YONG" userId="S::evelynsm.yong_gmail.com#ext#@risebcg.onmicrosoft.com::67a27a72-2420-4d38-b745-316a53f4b99a" providerId="AD" clId="Web-{E369CB37-3068-47E4-AD90-1DEAD92C8B6F}" dt="2022-01-08T16:23:05.977" v="2544" actId="1076"/>
          <ac:spMkLst>
            <pc:docMk/>
            <pc:sldMk cId="1249418479" sldId="334"/>
            <ac:spMk id="4" creationId="{E46E2F92-A159-4912-84AA-DB46BFE3D9EB}"/>
          </ac:spMkLst>
        </pc:spChg>
        <pc:spChg chg="del mod">
          <ac:chgData name="EVELYNSM.YONG" userId="S::evelynsm.yong_gmail.com#ext#@risebcg.onmicrosoft.com::67a27a72-2420-4d38-b745-316a53f4b99a" providerId="AD" clId="Web-{E369CB37-3068-47E4-AD90-1DEAD92C8B6F}" dt="2022-01-08T13:45:56.967" v="432"/>
          <ac:spMkLst>
            <pc:docMk/>
            <pc:sldMk cId="1249418479" sldId="334"/>
            <ac:spMk id="11" creationId="{662CF00E-7074-47A1-AC23-D8720DE006B4}"/>
          </ac:spMkLst>
        </pc:spChg>
        <pc:spChg chg="add mod">
          <ac:chgData name="EVELYNSM.YONG" userId="S::evelynsm.yong_gmail.com#ext#@risebcg.onmicrosoft.com::67a27a72-2420-4d38-b745-316a53f4b99a" providerId="AD" clId="Web-{E369CB37-3068-47E4-AD90-1DEAD92C8B6F}" dt="2022-01-08T16:23:02.508" v="2543" actId="14100"/>
          <ac:spMkLst>
            <pc:docMk/>
            <pc:sldMk cId="1249418479" sldId="334"/>
            <ac:spMk id="13" creationId="{FBC020E8-35CC-4608-825A-F2C3D7F17A69}"/>
          </ac:spMkLst>
        </pc:spChg>
        <pc:spChg chg="add mod ord">
          <ac:chgData name="EVELYNSM.YONG" userId="S::evelynsm.yong_gmail.com#ext#@risebcg.onmicrosoft.com::67a27a72-2420-4d38-b745-316a53f4b99a" providerId="AD" clId="Web-{E369CB37-3068-47E4-AD90-1DEAD92C8B6F}" dt="2022-01-08T16:18:16.548" v="2511"/>
          <ac:spMkLst>
            <pc:docMk/>
            <pc:sldMk cId="1249418479" sldId="334"/>
            <ac:spMk id="14" creationId="{DE96116D-A890-4EBF-BAFB-3F4B23F0096C}"/>
          </ac:spMkLst>
        </pc:spChg>
        <pc:spChg chg="add mod">
          <ac:chgData name="EVELYNSM.YONG" userId="S::evelynsm.yong_gmail.com#ext#@risebcg.onmicrosoft.com::67a27a72-2420-4d38-b745-316a53f4b99a" providerId="AD" clId="Web-{E369CB37-3068-47E4-AD90-1DEAD92C8B6F}" dt="2022-01-08T16:05:13.514" v="2352" actId="14100"/>
          <ac:spMkLst>
            <pc:docMk/>
            <pc:sldMk cId="1249418479" sldId="334"/>
            <ac:spMk id="19" creationId="{ED181DE7-5237-45A4-9F61-2873C0724F7B}"/>
          </ac:spMkLst>
        </pc:spChg>
        <pc:picChg chg="add del mod">
          <ac:chgData name="EVELYNSM.YONG" userId="S::evelynsm.yong_gmail.com#ext#@risebcg.onmicrosoft.com::67a27a72-2420-4d38-b745-316a53f4b99a" providerId="AD" clId="Web-{E369CB37-3068-47E4-AD90-1DEAD92C8B6F}" dt="2022-01-08T16:14:21.324" v="2483"/>
          <ac:picMkLst>
            <pc:docMk/>
            <pc:sldMk cId="1249418479" sldId="334"/>
            <ac:picMk id="3" creationId="{B278469D-20E4-4736-BDFE-B98D25197628}"/>
          </ac:picMkLst>
        </pc:picChg>
        <pc:picChg chg="add mod ord">
          <ac:chgData name="EVELYNSM.YONG" userId="S::evelynsm.yong_gmail.com#ext#@risebcg.onmicrosoft.com::67a27a72-2420-4d38-b745-316a53f4b99a" providerId="AD" clId="Web-{E369CB37-3068-47E4-AD90-1DEAD92C8B6F}" dt="2022-01-08T16:22:52.429" v="2542"/>
          <ac:picMkLst>
            <pc:docMk/>
            <pc:sldMk cId="1249418479" sldId="334"/>
            <ac:picMk id="3" creationId="{BB0FEA3F-D819-4B77-A827-0CADCE750344}"/>
          </ac:picMkLst>
        </pc:picChg>
        <pc:picChg chg="add del mod">
          <ac:chgData name="EVELYNSM.YONG" userId="S::evelynsm.yong_gmail.com#ext#@risebcg.onmicrosoft.com::67a27a72-2420-4d38-b745-316a53f4b99a" providerId="AD" clId="Web-{E369CB37-3068-47E4-AD90-1DEAD92C8B6F}" dt="2022-01-08T13:53:01.196" v="578"/>
          <ac:picMkLst>
            <pc:docMk/>
            <pc:sldMk cId="1249418479" sldId="334"/>
            <ac:picMk id="9" creationId="{09C03CC9-3D6E-45D8-905A-C71744F36B23}"/>
          </ac:picMkLst>
        </pc:picChg>
        <pc:picChg chg="add mod ord">
          <ac:chgData name="EVELYNSM.YONG" userId="S::evelynsm.yong_gmail.com#ext#@risebcg.onmicrosoft.com::67a27a72-2420-4d38-b745-316a53f4b99a" providerId="AD" clId="Web-{E369CB37-3068-47E4-AD90-1DEAD92C8B6F}" dt="2022-01-08T16:22:46.507" v="2541" actId="14100"/>
          <ac:picMkLst>
            <pc:docMk/>
            <pc:sldMk cId="1249418479" sldId="334"/>
            <ac:picMk id="9" creationId="{4808EF87-719E-4DC9-AB3F-F94B7F635A80}"/>
          </ac:picMkLst>
        </pc:picChg>
        <pc:picChg chg="add del mod ord">
          <ac:chgData name="EVELYNSM.YONG" userId="S::evelynsm.yong_gmail.com#ext#@risebcg.onmicrosoft.com::67a27a72-2420-4d38-b745-316a53f4b99a" providerId="AD" clId="Web-{E369CB37-3068-47E4-AD90-1DEAD92C8B6F}" dt="2022-01-08T14:18:53.232" v="890"/>
          <ac:picMkLst>
            <pc:docMk/>
            <pc:sldMk cId="1249418479" sldId="334"/>
            <ac:picMk id="10" creationId="{2FBA1C46-B222-4317-9257-B60D86080B83}"/>
          </ac:picMkLst>
        </pc:picChg>
        <pc:picChg chg="add del mod ord modCrop">
          <ac:chgData name="EVELYNSM.YONG" userId="S::evelynsm.yong_gmail.com#ext#@risebcg.onmicrosoft.com::67a27a72-2420-4d38-b745-316a53f4b99a" providerId="AD" clId="Web-{E369CB37-3068-47E4-AD90-1DEAD92C8B6F}" dt="2022-01-08T16:18:07.595" v="2509"/>
          <ac:picMkLst>
            <pc:docMk/>
            <pc:sldMk cId="1249418479" sldId="334"/>
            <ac:picMk id="18" creationId="{F58E345A-8639-400C-A429-D1DBBE0490BA}"/>
          </ac:picMkLst>
        </pc:picChg>
        <pc:picChg chg="add del mod ord">
          <ac:chgData name="EVELYNSM.YONG" userId="S::evelynsm.yong_gmail.com#ext#@risebcg.onmicrosoft.com::67a27a72-2420-4d38-b745-316a53f4b99a" providerId="AD" clId="Web-{E369CB37-3068-47E4-AD90-1DEAD92C8B6F}" dt="2022-01-08T16:21:00.161" v="2518"/>
          <ac:picMkLst>
            <pc:docMk/>
            <pc:sldMk cId="1249418479" sldId="334"/>
            <ac:picMk id="20" creationId="{1CC4F72F-73CC-4B65-8E6F-143B225F52E6}"/>
          </ac:picMkLst>
        </pc:picChg>
        <pc:picChg chg="add del mod">
          <ac:chgData name="EVELYNSM.YONG" userId="S::evelynsm.yong_gmail.com#ext#@risebcg.onmicrosoft.com::67a27a72-2420-4d38-b745-316a53f4b99a" providerId="AD" clId="Web-{E369CB37-3068-47E4-AD90-1DEAD92C8B6F}" dt="2022-01-08T16:19:01.018" v="2515"/>
          <ac:picMkLst>
            <pc:docMk/>
            <pc:sldMk cId="1249418479" sldId="334"/>
            <ac:picMk id="21" creationId="{043D9F2E-E3D3-4AFE-B0B4-4932315FF355}"/>
          </ac:picMkLst>
        </pc:picChg>
        <pc:cxnChg chg="add mod">
          <ac:chgData name="EVELYNSM.YONG" userId="S::evelynsm.yong_gmail.com#ext#@risebcg.onmicrosoft.com::67a27a72-2420-4d38-b745-316a53f4b99a" providerId="AD" clId="Web-{E369CB37-3068-47E4-AD90-1DEAD92C8B6F}" dt="2022-01-08T16:23:17.852" v="2547" actId="14100"/>
          <ac:cxnSpMkLst>
            <pc:docMk/>
            <pc:sldMk cId="1249418479" sldId="334"/>
            <ac:cxnSpMk id="15" creationId="{2522F95F-F659-4F93-A324-7ADD484F38A6}"/>
          </ac:cxnSpMkLst>
        </pc:cxnChg>
        <pc:cxnChg chg="add del mod">
          <ac:chgData name="EVELYNSM.YONG" userId="S::evelynsm.yong_gmail.com#ext#@risebcg.onmicrosoft.com::67a27a72-2420-4d38-b745-316a53f4b99a" providerId="AD" clId="Web-{E369CB37-3068-47E4-AD90-1DEAD92C8B6F}" dt="2022-01-08T13:58:52.345" v="637"/>
          <ac:cxnSpMkLst>
            <pc:docMk/>
            <pc:sldMk cId="1249418479" sldId="334"/>
            <ac:cxnSpMk id="16" creationId="{889435DC-0012-4D64-AF5F-7313A0EC512A}"/>
          </ac:cxnSpMkLst>
        </pc:cxnChg>
        <pc:cxnChg chg="add mod">
          <ac:chgData name="EVELYNSM.YONG" userId="S::evelynsm.yong_gmail.com#ext#@risebcg.onmicrosoft.com::67a27a72-2420-4d38-b745-316a53f4b99a" providerId="AD" clId="Web-{E369CB37-3068-47E4-AD90-1DEAD92C8B6F}" dt="2022-01-08T16:23:13.227" v="2546" actId="14100"/>
          <ac:cxnSpMkLst>
            <pc:docMk/>
            <pc:sldMk cId="1249418479" sldId="334"/>
            <ac:cxnSpMk id="17" creationId="{D1E24D10-25A9-42F6-B4A4-852E1CB8541C}"/>
          </ac:cxnSpMkLst>
        </pc:cxnChg>
      </pc:sldChg>
      <pc:sldChg chg="delSp modSp">
        <pc:chgData name="EVELYNSM.YONG" userId="S::evelynsm.yong_gmail.com#ext#@risebcg.onmicrosoft.com::67a27a72-2420-4d38-b745-316a53f4b99a" providerId="AD" clId="Web-{E369CB37-3068-47E4-AD90-1DEAD92C8B6F}" dt="2022-01-08T16:09:51.942" v="2464" actId="14100"/>
        <pc:sldMkLst>
          <pc:docMk/>
          <pc:sldMk cId="3391215681" sldId="339"/>
        </pc:sldMkLst>
        <pc:spChg chg="mod">
          <ac:chgData name="EVELYNSM.YONG" userId="S::evelynsm.yong_gmail.com#ext#@risebcg.onmicrosoft.com::67a27a72-2420-4d38-b745-316a53f4b99a" providerId="AD" clId="Web-{E369CB37-3068-47E4-AD90-1DEAD92C8B6F}" dt="2022-01-08T16:09:51.942" v="2464" actId="14100"/>
          <ac:spMkLst>
            <pc:docMk/>
            <pc:sldMk cId="3391215681" sldId="339"/>
            <ac:spMk id="47" creationId="{B72F6C48-B470-4163-9AC9-2982A10656DA}"/>
          </ac:spMkLst>
        </pc:spChg>
        <pc:spChg chg="mod">
          <ac:chgData name="EVELYNSM.YONG" userId="S::evelynsm.yong_gmail.com#ext#@risebcg.onmicrosoft.com::67a27a72-2420-4d38-b745-316a53f4b99a" providerId="AD" clId="Web-{E369CB37-3068-47E4-AD90-1DEAD92C8B6F}" dt="2022-01-08T16:00:19.257" v="2305" actId="20577"/>
          <ac:spMkLst>
            <pc:docMk/>
            <pc:sldMk cId="3391215681" sldId="339"/>
            <ac:spMk id="49" creationId="{1A40ECD8-EC71-4C0D-A629-C5042C9FBE1B}"/>
          </ac:spMkLst>
        </pc:spChg>
        <pc:spChg chg="mod">
          <ac:chgData name="EVELYNSM.YONG" userId="S::evelynsm.yong_gmail.com#ext#@risebcg.onmicrosoft.com::67a27a72-2420-4d38-b745-316a53f4b99a" providerId="AD" clId="Web-{E369CB37-3068-47E4-AD90-1DEAD92C8B6F}" dt="2022-01-08T16:09:41.989" v="2460" actId="1076"/>
          <ac:spMkLst>
            <pc:docMk/>
            <pc:sldMk cId="3391215681" sldId="339"/>
            <ac:spMk id="124" creationId="{C91A31F3-23FB-421F-8BC0-FD3F5F868D91}"/>
          </ac:spMkLst>
        </pc:spChg>
        <pc:spChg chg="del">
          <ac:chgData name="EVELYNSM.YONG" userId="S::evelynsm.yong_gmail.com#ext#@risebcg.onmicrosoft.com::67a27a72-2420-4d38-b745-316a53f4b99a" providerId="AD" clId="Web-{E369CB37-3068-47E4-AD90-1DEAD92C8B6F}" dt="2022-01-08T16:09:47.302" v="2462"/>
          <ac:spMkLst>
            <pc:docMk/>
            <pc:sldMk cId="3391215681" sldId="339"/>
            <ac:spMk id="126" creationId="{B0791398-D0B2-4A5B-9918-DABD658B5B39}"/>
          </ac:spMkLst>
        </pc:spChg>
        <pc:graphicFrameChg chg="mod modGraphic">
          <ac:chgData name="EVELYNSM.YONG" userId="S::evelynsm.yong_gmail.com#ext#@risebcg.onmicrosoft.com::67a27a72-2420-4d38-b745-316a53f4b99a" providerId="AD" clId="Web-{E369CB37-3068-47E4-AD90-1DEAD92C8B6F}" dt="2022-01-08T16:09:45.692" v="2461" actId="1076"/>
          <ac:graphicFrameMkLst>
            <pc:docMk/>
            <pc:sldMk cId="3391215681" sldId="339"/>
            <ac:graphicFrameMk id="28" creationId="{9D58B7B4-DE29-4DDF-BB8A-729D2B705659}"/>
          </ac:graphicFrameMkLst>
        </pc:graphicFrameChg>
      </pc:sldChg>
      <pc:sldChg chg="addSp delSp modSp modNotes">
        <pc:chgData name="EVELYNSM.YONG" userId="S::evelynsm.yong_gmail.com#ext#@risebcg.onmicrosoft.com::67a27a72-2420-4d38-b745-316a53f4b99a" providerId="AD" clId="Web-{E369CB37-3068-47E4-AD90-1DEAD92C8B6F}" dt="2022-01-08T16:24:44.557" v="2634"/>
        <pc:sldMkLst>
          <pc:docMk/>
          <pc:sldMk cId="4159389698" sldId="342"/>
        </pc:sldMkLst>
        <pc:spChg chg="mod">
          <ac:chgData name="EVELYNSM.YONG" userId="S::evelynsm.yong_gmail.com#ext#@risebcg.onmicrosoft.com::67a27a72-2420-4d38-b745-316a53f4b99a" providerId="AD" clId="Web-{E369CB37-3068-47E4-AD90-1DEAD92C8B6F}" dt="2022-01-08T13:44:34.778" v="397" actId="20577"/>
          <ac:spMkLst>
            <pc:docMk/>
            <pc:sldMk cId="4159389698" sldId="342"/>
            <ac:spMk id="2" creationId="{080435EA-AD4F-4934-83BC-D5D53AFD93E9}"/>
          </ac:spMkLst>
        </pc:spChg>
        <pc:spChg chg="del">
          <ac:chgData name="EVELYNSM.YONG" userId="S::evelynsm.yong_gmail.com#ext#@risebcg.onmicrosoft.com::67a27a72-2420-4d38-b745-316a53f4b99a" providerId="AD" clId="Web-{E369CB37-3068-47E4-AD90-1DEAD92C8B6F}" dt="2022-01-08T13:41:14.648" v="342"/>
          <ac:spMkLst>
            <pc:docMk/>
            <pc:sldMk cId="4159389698" sldId="342"/>
            <ac:spMk id="3" creationId="{1EADC3E2-9A88-4CFF-8CDC-C7B034C116B1}"/>
          </ac:spMkLst>
        </pc:spChg>
        <pc:spChg chg="add del mod">
          <ac:chgData name="EVELYNSM.YONG" userId="S::evelynsm.yong_gmail.com#ext#@risebcg.onmicrosoft.com::67a27a72-2420-4d38-b745-316a53f4b99a" providerId="AD" clId="Web-{E369CB37-3068-47E4-AD90-1DEAD92C8B6F}" dt="2022-01-08T13:41:18.476" v="343"/>
          <ac:spMkLst>
            <pc:docMk/>
            <pc:sldMk cId="4159389698" sldId="342"/>
            <ac:spMk id="6" creationId="{0CF8DD85-3546-480F-A3E7-2F8A294A8CE2}"/>
          </ac:spMkLst>
        </pc:spChg>
        <pc:spChg chg="add mod topLvl">
          <ac:chgData name="EVELYNSM.YONG" userId="S::evelynsm.yong_gmail.com#ext#@risebcg.onmicrosoft.com::67a27a72-2420-4d38-b745-316a53f4b99a" providerId="AD" clId="Web-{E369CB37-3068-47E4-AD90-1DEAD92C8B6F}" dt="2022-01-08T16:13:08.619" v="2479" actId="20577"/>
          <ac:spMkLst>
            <pc:docMk/>
            <pc:sldMk cId="4159389698" sldId="342"/>
            <ac:spMk id="9" creationId="{E953D56B-E197-4EF3-86AC-EB83FF562830}"/>
          </ac:spMkLst>
        </pc:spChg>
        <pc:spChg chg="add mod topLvl">
          <ac:chgData name="EVELYNSM.YONG" userId="S::evelynsm.yong_gmail.com#ext#@risebcg.onmicrosoft.com::67a27a72-2420-4d38-b745-316a53f4b99a" providerId="AD" clId="Web-{E369CB37-3068-47E4-AD90-1DEAD92C8B6F}" dt="2022-01-08T15:13:21.481" v="1668" actId="1076"/>
          <ac:spMkLst>
            <pc:docMk/>
            <pc:sldMk cId="4159389698" sldId="342"/>
            <ac:spMk id="10" creationId="{A949E116-7148-4CA9-A41F-83DB47255D80}"/>
          </ac:spMkLst>
        </pc:spChg>
        <pc:spChg chg="add mod ord topLvl">
          <ac:chgData name="EVELYNSM.YONG" userId="S::evelynsm.yong_gmail.com#ext#@risebcg.onmicrosoft.com::67a27a72-2420-4d38-b745-316a53f4b99a" providerId="AD" clId="Web-{E369CB37-3068-47E4-AD90-1DEAD92C8B6F}" dt="2022-01-08T15:13:21.496" v="1669" actId="1076"/>
          <ac:spMkLst>
            <pc:docMk/>
            <pc:sldMk cId="4159389698" sldId="342"/>
            <ac:spMk id="12" creationId="{AAEC2426-37C0-4083-9090-89DDF94F295F}"/>
          </ac:spMkLst>
        </pc:spChg>
        <pc:spChg chg="add del mod topLvl">
          <ac:chgData name="EVELYNSM.YONG" userId="S::evelynsm.yong_gmail.com#ext#@risebcg.onmicrosoft.com::67a27a72-2420-4d38-b745-316a53f4b99a" providerId="AD" clId="Web-{E369CB37-3068-47E4-AD90-1DEAD92C8B6F}" dt="2022-01-08T15:11:43.228" v="1642"/>
          <ac:spMkLst>
            <pc:docMk/>
            <pc:sldMk cId="4159389698" sldId="342"/>
            <ac:spMk id="13" creationId="{ED8EE41F-595D-4D3B-AFFB-AD8E358FCB34}"/>
          </ac:spMkLst>
        </pc:spChg>
        <pc:spChg chg="add del mod">
          <ac:chgData name="EVELYNSM.YONG" userId="S::evelynsm.yong_gmail.com#ext#@risebcg.onmicrosoft.com::67a27a72-2420-4d38-b745-316a53f4b99a" providerId="AD" clId="Web-{E369CB37-3068-47E4-AD90-1DEAD92C8B6F}" dt="2022-01-08T14:12:17.770" v="772"/>
          <ac:spMkLst>
            <pc:docMk/>
            <pc:sldMk cId="4159389698" sldId="342"/>
            <ac:spMk id="14" creationId="{3923CDFF-CE1D-4A54-A36B-AC25EBE97063}"/>
          </ac:spMkLst>
        </pc:spChg>
        <pc:spChg chg="add del mod">
          <ac:chgData name="EVELYNSM.YONG" userId="S::evelynsm.yong_gmail.com#ext#@risebcg.onmicrosoft.com::67a27a72-2420-4d38-b745-316a53f4b99a" providerId="AD" clId="Web-{E369CB37-3068-47E4-AD90-1DEAD92C8B6F}" dt="2022-01-08T15:07:26.254" v="1415"/>
          <ac:spMkLst>
            <pc:docMk/>
            <pc:sldMk cId="4159389698" sldId="342"/>
            <ac:spMk id="16" creationId="{B574E0FD-7D16-4BED-9AC6-92EC20DE76CD}"/>
          </ac:spMkLst>
        </pc:spChg>
        <pc:grpChg chg="add del mod">
          <ac:chgData name="EVELYNSM.YONG" userId="S::evelynsm.yong_gmail.com#ext#@risebcg.onmicrosoft.com::67a27a72-2420-4d38-b745-316a53f4b99a" providerId="AD" clId="Web-{E369CB37-3068-47E4-AD90-1DEAD92C8B6F}" dt="2022-01-08T15:11:33.166" v="1640"/>
          <ac:grpSpMkLst>
            <pc:docMk/>
            <pc:sldMk cId="4159389698" sldId="342"/>
            <ac:grpSpMk id="17" creationId="{BFBA0225-E50F-4BD0-BC31-808174CE9B31}"/>
          </ac:grpSpMkLst>
        </pc:grpChg>
        <pc:picChg chg="add del mod">
          <ac:chgData name="EVELYNSM.YONG" userId="S::evelynsm.yong_gmail.com#ext#@risebcg.onmicrosoft.com::67a27a72-2420-4d38-b745-316a53f4b99a" providerId="AD" clId="Web-{E369CB37-3068-47E4-AD90-1DEAD92C8B6F}" dt="2022-01-08T13:41:12.695" v="341"/>
          <ac:picMkLst>
            <pc:docMk/>
            <pc:sldMk cId="4159389698" sldId="342"/>
            <ac:picMk id="4" creationId="{568AA943-6E16-41F5-9469-C3A8C31A3592}"/>
          </ac:picMkLst>
        </pc:picChg>
        <pc:picChg chg="add del mod">
          <ac:chgData name="EVELYNSM.YONG" userId="S::evelynsm.yong_gmail.com#ext#@risebcg.onmicrosoft.com::67a27a72-2420-4d38-b745-316a53f4b99a" providerId="AD" clId="Web-{E369CB37-3068-47E4-AD90-1DEAD92C8B6F}" dt="2022-01-08T13:43:12.244" v="351"/>
          <ac:picMkLst>
            <pc:docMk/>
            <pc:sldMk cId="4159389698" sldId="342"/>
            <ac:picMk id="7" creationId="{E16B2329-7614-4FB4-ACBF-BFE445CE8B82}"/>
          </ac:picMkLst>
        </pc:picChg>
        <pc:picChg chg="add mod">
          <ac:chgData name="EVELYNSM.YONG" userId="S::evelynsm.yong_gmail.com#ext#@risebcg.onmicrosoft.com::67a27a72-2420-4d38-b745-316a53f4b99a" providerId="AD" clId="Web-{E369CB37-3068-47E4-AD90-1DEAD92C8B6F}" dt="2022-01-08T15:13:17.824" v="1666" actId="14100"/>
          <ac:picMkLst>
            <pc:docMk/>
            <pc:sldMk cId="4159389698" sldId="342"/>
            <ac:picMk id="8" creationId="{6B01C6A5-3C80-4889-B1DA-40342676F95C}"/>
          </ac:picMkLst>
        </pc:picChg>
      </pc:sldChg>
      <pc:sldChg chg="addSp delSp modSp del">
        <pc:chgData name="EVELYNSM.YONG" userId="S::evelynsm.yong_gmail.com#ext#@risebcg.onmicrosoft.com::67a27a72-2420-4d38-b745-316a53f4b99a" providerId="AD" clId="Web-{E369CB37-3068-47E4-AD90-1DEAD92C8B6F}" dt="2022-01-08T15:04:22.499" v="1334"/>
        <pc:sldMkLst>
          <pc:docMk/>
          <pc:sldMk cId="2403985300" sldId="343"/>
        </pc:sldMkLst>
        <pc:spChg chg="mod">
          <ac:chgData name="EVELYNSM.YONG" userId="S::evelynsm.yong_gmail.com#ext#@risebcg.onmicrosoft.com::67a27a72-2420-4d38-b745-316a53f4b99a" providerId="AD" clId="Web-{E369CB37-3068-47E4-AD90-1DEAD92C8B6F}" dt="2022-01-08T12:26:12.724" v="288" actId="20577"/>
          <ac:spMkLst>
            <pc:docMk/>
            <pc:sldMk cId="2403985300" sldId="343"/>
            <ac:spMk id="2" creationId="{53DDB4C4-01BA-4E62-BA0A-56A56EB4019B}"/>
          </ac:spMkLst>
        </pc:spChg>
        <pc:spChg chg="del mod">
          <ac:chgData name="EVELYNSM.YONG" userId="S::evelynsm.yong_gmail.com#ext#@risebcg.onmicrosoft.com::67a27a72-2420-4d38-b745-316a53f4b99a" providerId="AD" clId="Web-{E369CB37-3068-47E4-AD90-1DEAD92C8B6F}" dt="2022-01-08T12:25:41.583" v="277"/>
          <ac:spMkLst>
            <pc:docMk/>
            <pc:sldMk cId="2403985300" sldId="343"/>
            <ac:spMk id="3" creationId="{BD97DE7E-DDAB-4647-A467-DCE4D740C6EC}"/>
          </ac:spMkLst>
        </pc:spChg>
        <pc:spChg chg="add mod">
          <ac:chgData name="EVELYNSM.YONG" userId="S::evelynsm.yong_gmail.com#ext#@risebcg.onmicrosoft.com::67a27a72-2420-4d38-b745-316a53f4b99a" providerId="AD" clId="Web-{E369CB37-3068-47E4-AD90-1DEAD92C8B6F}" dt="2022-01-08T12:27:51.023" v="333" actId="1076"/>
          <ac:spMkLst>
            <pc:docMk/>
            <pc:sldMk cId="2403985300" sldId="343"/>
            <ac:spMk id="7" creationId="{32E4FEEF-88A9-451E-8BF8-0EF0F5AB7D42}"/>
          </ac:spMkLst>
        </pc:spChg>
        <pc:spChg chg="add mod">
          <ac:chgData name="EVELYNSM.YONG" userId="S::evelynsm.yong_gmail.com#ext#@risebcg.onmicrosoft.com::67a27a72-2420-4d38-b745-316a53f4b99a" providerId="AD" clId="Web-{E369CB37-3068-47E4-AD90-1DEAD92C8B6F}" dt="2022-01-08T12:27:52.867" v="334" actId="1076"/>
          <ac:spMkLst>
            <pc:docMk/>
            <pc:sldMk cId="2403985300" sldId="343"/>
            <ac:spMk id="8" creationId="{9BD2C1EA-7C83-44C6-B2FB-0D84F210DFF7}"/>
          </ac:spMkLst>
        </pc:spChg>
        <pc:spChg chg="add del mod">
          <ac:chgData name="EVELYNSM.YONG" userId="S::evelynsm.yong_gmail.com#ext#@risebcg.onmicrosoft.com::67a27a72-2420-4d38-b745-316a53f4b99a" providerId="AD" clId="Web-{E369CB37-3068-47E4-AD90-1DEAD92C8B6F}" dt="2022-01-08T12:26:00.177" v="278"/>
          <ac:spMkLst>
            <pc:docMk/>
            <pc:sldMk cId="2403985300" sldId="343"/>
            <ac:spMk id="10" creationId="{F114AE77-6064-4066-B778-7383DDDCE1DF}"/>
          </ac:spMkLst>
        </pc:spChg>
        <pc:spChg chg="add mod">
          <ac:chgData name="EVELYNSM.YONG" userId="S::evelynsm.yong_gmail.com#ext#@risebcg.onmicrosoft.com::67a27a72-2420-4d38-b745-316a53f4b99a" providerId="AD" clId="Web-{E369CB37-3068-47E4-AD90-1DEAD92C8B6F}" dt="2022-01-08T12:27:41.164" v="330" actId="1076"/>
          <ac:spMkLst>
            <pc:docMk/>
            <pc:sldMk cId="2403985300" sldId="343"/>
            <ac:spMk id="11" creationId="{9853CF2D-36A6-403A-A0DE-C7507BCFED32}"/>
          </ac:spMkLst>
        </pc:spChg>
        <pc:spChg chg="add mod">
          <ac:chgData name="EVELYNSM.YONG" userId="S::evelynsm.yong_gmail.com#ext#@risebcg.onmicrosoft.com::67a27a72-2420-4d38-b745-316a53f4b99a" providerId="AD" clId="Web-{E369CB37-3068-47E4-AD90-1DEAD92C8B6F}" dt="2022-01-08T12:27:38.336" v="329" actId="1076"/>
          <ac:spMkLst>
            <pc:docMk/>
            <pc:sldMk cId="2403985300" sldId="343"/>
            <ac:spMk id="12" creationId="{A165D514-EEF8-48A3-8ABA-C03F2CD74E02}"/>
          </ac:spMkLst>
        </pc:spChg>
        <pc:cxnChg chg="add mod">
          <ac:chgData name="EVELYNSM.YONG" userId="S::evelynsm.yong_gmail.com#ext#@risebcg.onmicrosoft.com::67a27a72-2420-4d38-b745-316a53f4b99a" providerId="AD" clId="Web-{E369CB37-3068-47E4-AD90-1DEAD92C8B6F}" dt="2022-01-08T12:28:04.727" v="336" actId="14100"/>
          <ac:cxnSpMkLst>
            <pc:docMk/>
            <pc:sldMk cId="2403985300" sldId="343"/>
            <ac:cxnSpMk id="5" creationId="{3DE7334B-F984-4BBE-91B9-E1663A755988}"/>
          </ac:cxnSpMkLst>
        </pc:cxnChg>
      </pc:sldChg>
      <pc:sldChg chg="modSp">
        <pc:chgData name="EVELYNSM.YONG" userId="S::evelynsm.yong_gmail.com#ext#@risebcg.onmicrosoft.com::67a27a72-2420-4d38-b745-316a53f4b99a" providerId="AD" clId="Web-{E369CB37-3068-47E4-AD90-1DEAD92C8B6F}" dt="2022-01-08T12:07:07.526" v="107" actId="14100"/>
        <pc:sldMkLst>
          <pc:docMk/>
          <pc:sldMk cId="3971465157" sldId="345"/>
        </pc:sldMkLst>
        <pc:spChg chg="mod">
          <ac:chgData name="EVELYNSM.YONG" userId="S::evelynsm.yong_gmail.com#ext#@risebcg.onmicrosoft.com::67a27a72-2420-4d38-b745-316a53f4b99a" providerId="AD" clId="Web-{E369CB37-3068-47E4-AD90-1DEAD92C8B6F}" dt="2022-01-08T12:07:07.526" v="107" actId="14100"/>
          <ac:spMkLst>
            <pc:docMk/>
            <pc:sldMk cId="3971465157" sldId="345"/>
            <ac:spMk id="4" creationId="{215644EC-E1A2-4B5F-BA53-79EB189605EC}"/>
          </ac:spMkLst>
        </pc:spChg>
      </pc:sldChg>
      <pc:sldChg chg="addSp delSp modSp ord">
        <pc:chgData name="EVELYNSM.YONG" userId="S::evelynsm.yong_gmail.com#ext#@risebcg.onmicrosoft.com::67a27a72-2420-4d38-b745-316a53f4b99a" providerId="AD" clId="Web-{E369CB37-3068-47E4-AD90-1DEAD92C8B6F}" dt="2022-01-08T12:06:52.791" v="106" actId="14100"/>
        <pc:sldMkLst>
          <pc:docMk/>
          <pc:sldMk cId="2149037765" sldId="346"/>
        </pc:sldMkLst>
        <pc:spChg chg="mod">
          <ac:chgData name="EVELYNSM.YONG" userId="S::evelynsm.yong_gmail.com#ext#@risebcg.onmicrosoft.com::67a27a72-2420-4d38-b745-316a53f4b99a" providerId="AD" clId="Web-{E369CB37-3068-47E4-AD90-1DEAD92C8B6F}" dt="2022-01-08T12:06:52.791" v="106" actId="14100"/>
          <ac:spMkLst>
            <pc:docMk/>
            <pc:sldMk cId="2149037765" sldId="346"/>
            <ac:spMk id="4" creationId="{215644EC-E1A2-4B5F-BA53-79EB189605EC}"/>
          </ac:spMkLst>
        </pc:spChg>
        <pc:spChg chg="add del mod">
          <ac:chgData name="EVELYNSM.YONG" userId="S::evelynsm.yong_gmail.com#ext#@risebcg.onmicrosoft.com::67a27a72-2420-4d38-b745-316a53f4b99a" providerId="AD" clId="Web-{E369CB37-3068-47E4-AD90-1DEAD92C8B6F}" dt="2022-01-08T11:55:23.775" v="25"/>
          <ac:spMkLst>
            <pc:docMk/>
            <pc:sldMk cId="2149037765" sldId="346"/>
            <ac:spMk id="10" creationId="{D3951B2B-A8B9-4014-9A6B-C2F181DF23F2}"/>
          </ac:spMkLst>
        </pc:spChg>
        <pc:spChg chg="add del mod">
          <ac:chgData name="EVELYNSM.YONG" userId="S::evelynsm.yong_gmail.com#ext#@risebcg.onmicrosoft.com::67a27a72-2420-4d38-b745-316a53f4b99a" providerId="AD" clId="Web-{E369CB37-3068-47E4-AD90-1DEAD92C8B6F}" dt="2022-01-08T11:55:25.384" v="26"/>
          <ac:spMkLst>
            <pc:docMk/>
            <pc:sldMk cId="2149037765" sldId="346"/>
            <ac:spMk id="15" creationId="{5801D3E9-70D7-4D50-AE16-0CD6E891A846}"/>
          </ac:spMkLst>
        </pc:spChg>
      </pc:sldChg>
      <pc:sldChg chg="addSp delSp modSp modNotes">
        <pc:chgData name="EVELYNSM.YONG" userId="S::evelynsm.yong_gmail.com#ext#@risebcg.onmicrosoft.com::67a27a72-2420-4d38-b745-316a53f4b99a" providerId="AD" clId="Web-{E369CB37-3068-47E4-AD90-1DEAD92C8B6F}" dt="2022-01-08T15:54:36.437" v="2262"/>
        <pc:sldMkLst>
          <pc:docMk/>
          <pc:sldMk cId="1227236751" sldId="356"/>
        </pc:sldMkLst>
        <pc:spChg chg="mod">
          <ac:chgData name="EVELYNSM.YONG" userId="S::evelynsm.yong_gmail.com#ext#@risebcg.onmicrosoft.com::67a27a72-2420-4d38-b745-316a53f4b99a" providerId="AD" clId="Web-{E369CB37-3068-47E4-AD90-1DEAD92C8B6F}" dt="2022-01-08T15:16:03.375" v="1726" actId="20577"/>
          <ac:spMkLst>
            <pc:docMk/>
            <pc:sldMk cId="1227236751" sldId="356"/>
            <ac:spMk id="2" creationId="{ED14AA63-35D8-4136-8B2F-DE1837A583A2}"/>
          </ac:spMkLst>
        </pc:spChg>
        <pc:spChg chg="mod">
          <ac:chgData name="EVELYNSM.YONG" userId="S::evelynsm.yong_gmail.com#ext#@risebcg.onmicrosoft.com::67a27a72-2420-4d38-b745-316a53f4b99a" providerId="AD" clId="Web-{E369CB37-3068-47E4-AD90-1DEAD92C8B6F}" dt="2022-01-08T15:14:04.419" v="1680"/>
          <ac:spMkLst>
            <pc:docMk/>
            <pc:sldMk cId="1227236751" sldId="356"/>
            <ac:spMk id="3" creationId="{2321500F-B116-49E9-B713-1C89E59A92D6}"/>
          </ac:spMkLst>
        </pc:spChg>
        <pc:spChg chg="mod">
          <ac:chgData name="EVELYNSM.YONG" userId="S::evelynsm.yong_gmail.com#ext#@risebcg.onmicrosoft.com::67a27a72-2420-4d38-b745-316a53f4b99a" providerId="AD" clId="Web-{E369CB37-3068-47E4-AD90-1DEAD92C8B6F}" dt="2022-01-08T15:15:42.172" v="1709" actId="20577"/>
          <ac:spMkLst>
            <pc:docMk/>
            <pc:sldMk cId="1227236751" sldId="356"/>
            <ac:spMk id="4" creationId="{215644EC-E1A2-4B5F-BA53-79EB189605EC}"/>
          </ac:spMkLst>
        </pc:spChg>
        <pc:spChg chg="add mod">
          <ac:chgData name="EVELYNSM.YONG" userId="S::evelynsm.yong_gmail.com#ext#@risebcg.onmicrosoft.com::67a27a72-2420-4d38-b745-316a53f4b99a" providerId="AD" clId="Web-{E369CB37-3068-47E4-AD90-1DEAD92C8B6F}" dt="2022-01-08T15:15:06.608" v="1692" actId="1076"/>
          <ac:spMkLst>
            <pc:docMk/>
            <pc:sldMk cId="1227236751" sldId="356"/>
            <ac:spMk id="10" creationId="{42FB9C20-3D6F-40FF-ABFC-89E5858742B1}"/>
          </ac:spMkLst>
        </pc:spChg>
        <pc:spChg chg="mod">
          <ac:chgData name="EVELYNSM.YONG" userId="S::evelynsm.yong_gmail.com#ext#@risebcg.onmicrosoft.com::67a27a72-2420-4d38-b745-316a53f4b99a" providerId="AD" clId="Web-{E369CB37-3068-47E4-AD90-1DEAD92C8B6F}" dt="2022-01-08T15:14:20.373" v="1684"/>
          <ac:spMkLst>
            <pc:docMk/>
            <pc:sldMk cId="1227236751" sldId="356"/>
            <ac:spMk id="12" creationId="{95E46411-4A0C-41AA-9250-790D71323EA7}"/>
          </ac:spMkLst>
        </pc:spChg>
        <pc:spChg chg="add del mod">
          <ac:chgData name="EVELYNSM.YONG" userId="S::evelynsm.yong_gmail.com#ext#@risebcg.onmicrosoft.com::67a27a72-2420-4d38-b745-316a53f4b99a" providerId="AD" clId="Web-{E369CB37-3068-47E4-AD90-1DEAD92C8B6F}" dt="2022-01-08T15:16:32.032" v="1728"/>
          <ac:spMkLst>
            <pc:docMk/>
            <pc:sldMk cId="1227236751" sldId="356"/>
            <ac:spMk id="16" creationId="{B6F7D705-C532-4B5C-B512-1BBCBA043185}"/>
          </ac:spMkLst>
        </pc:spChg>
        <pc:spChg chg="add del mod">
          <ac:chgData name="EVELYNSM.YONG" userId="S::evelynsm.yong_gmail.com#ext#@risebcg.onmicrosoft.com::67a27a72-2420-4d38-b745-316a53f4b99a" providerId="AD" clId="Web-{E369CB37-3068-47E4-AD90-1DEAD92C8B6F}" dt="2022-01-08T15:54:36.437" v="2262"/>
          <ac:spMkLst>
            <pc:docMk/>
            <pc:sldMk cId="1227236751" sldId="356"/>
            <ac:spMk id="17" creationId="{815F3179-193A-4F5E-A1A9-12297C608458}"/>
          </ac:spMkLst>
        </pc:spChg>
        <pc:picChg chg="mod">
          <ac:chgData name="EVELYNSM.YONG" userId="S::evelynsm.yong_gmail.com#ext#@risebcg.onmicrosoft.com::67a27a72-2420-4d38-b745-316a53f4b99a" providerId="AD" clId="Web-{E369CB37-3068-47E4-AD90-1DEAD92C8B6F}" dt="2022-01-08T15:14:23.857" v="1685" actId="1076"/>
          <ac:picMkLst>
            <pc:docMk/>
            <pc:sldMk cId="1227236751" sldId="356"/>
            <ac:picMk id="7" creationId="{F2806C6D-F724-4DED-AEF0-61ECCAB05DB6}"/>
          </ac:picMkLst>
        </pc:picChg>
        <pc:picChg chg="mod">
          <ac:chgData name="EVELYNSM.YONG" userId="S::evelynsm.yong_gmail.com#ext#@risebcg.onmicrosoft.com::67a27a72-2420-4d38-b745-316a53f4b99a" providerId="AD" clId="Web-{E369CB37-3068-47E4-AD90-1DEAD92C8B6F}" dt="2022-01-08T15:14:40.639" v="1688" actId="1076"/>
          <ac:picMkLst>
            <pc:docMk/>
            <pc:sldMk cId="1227236751" sldId="356"/>
            <ac:picMk id="8" creationId="{1C37FA25-553F-4164-8C97-7E76EEDF8003}"/>
          </ac:picMkLst>
        </pc:picChg>
        <pc:picChg chg="mod">
          <ac:chgData name="EVELYNSM.YONG" userId="S::evelynsm.yong_gmail.com#ext#@risebcg.onmicrosoft.com::67a27a72-2420-4d38-b745-316a53f4b99a" providerId="AD" clId="Web-{E369CB37-3068-47E4-AD90-1DEAD92C8B6F}" dt="2022-01-08T15:14:07.404" v="1681" actId="1076"/>
          <ac:picMkLst>
            <pc:docMk/>
            <pc:sldMk cId="1227236751" sldId="356"/>
            <ac:picMk id="11" creationId="{B9CA3DF6-D1DE-4B59-9A07-B34CE4EC9917}"/>
          </ac:picMkLst>
        </pc:picChg>
        <pc:picChg chg="mod">
          <ac:chgData name="EVELYNSM.YONG" userId="S::evelynsm.yong_gmail.com#ext#@risebcg.onmicrosoft.com::67a27a72-2420-4d38-b745-316a53f4b99a" providerId="AD" clId="Web-{E369CB37-3068-47E4-AD90-1DEAD92C8B6F}" dt="2022-01-08T15:14:38.623" v="1687" actId="1076"/>
          <ac:picMkLst>
            <pc:docMk/>
            <pc:sldMk cId="1227236751" sldId="356"/>
            <ac:picMk id="13" creationId="{6031EC29-FB42-4498-A4A9-E35C4E061CC4}"/>
          </ac:picMkLst>
        </pc:picChg>
        <pc:cxnChg chg="mod">
          <ac:chgData name="EVELYNSM.YONG" userId="S::evelynsm.yong_gmail.com#ext#@risebcg.onmicrosoft.com::67a27a72-2420-4d38-b745-316a53f4b99a" providerId="AD" clId="Web-{E369CB37-3068-47E4-AD90-1DEAD92C8B6F}" dt="2022-01-08T15:14:56.280" v="1690" actId="14100"/>
          <ac:cxnSpMkLst>
            <pc:docMk/>
            <pc:sldMk cId="1227236751" sldId="356"/>
            <ac:cxnSpMk id="5" creationId="{7650244C-E06B-41BA-A77C-2D20639EA927}"/>
          </ac:cxnSpMkLst>
        </pc:cxnChg>
      </pc:sldChg>
      <pc:sldChg chg="delSp modSp add replId">
        <pc:chgData name="EVELYNSM.YONG" userId="S::evelynsm.yong_gmail.com#ext#@risebcg.onmicrosoft.com::67a27a72-2420-4d38-b745-316a53f4b99a" providerId="AD" clId="Web-{E369CB37-3068-47E4-AD90-1DEAD92C8B6F}" dt="2022-01-08T16:39:17.078" v="2651" actId="1076"/>
        <pc:sldMkLst>
          <pc:docMk/>
          <pc:sldMk cId="1894441827" sldId="358"/>
        </pc:sldMkLst>
        <pc:spChg chg="del">
          <ac:chgData name="EVELYNSM.YONG" userId="S::evelynsm.yong_gmail.com#ext#@risebcg.onmicrosoft.com::67a27a72-2420-4d38-b745-316a53f4b99a" providerId="AD" clId="Web-{E369CB37-3068-47E4-AD90-1DEAD92C8B6F}" dt="2022-01-08T15:52:37.464" v="2251"/>
          <ac:spMkLst>
            <pc:docMk/>
            <pc:sldMk cId="1894441827" sldId="358"/>
            <ac:spMk id="4" creationId="{215644EC-E1A2-4B5F-BA53-79EB189605EC}"/>
          </ac:spMkLst>
        </pc:spChg>
        <pc:spChg chg="mod">
          <ac:chgData name="EVELYNSM.YONG" userId="S::evelynsm.yong_gmail.com#ext#@risebcg.onmicrosoft.com::67a27a72-2420-4d38-b745-316a53f4b99a" providerId="AD" clId="Web-{E369CB37-3068-47E4-AD90-1DEAD92C8B6F}" dt="2022-01-08T16:39:12.906" v="2650" actId="1076"/>
          <ac:spMkLst>
            <pc:docMk/>
            <pc:sldMk cId="1894441827" sldId="358"/>
            <ac:spMk id="10" creationId="{42FB9C20-3D6F-40FF-ABFC-89E5858742B1}"/>
          </ac:spMkLst>
        </pc:spChg>
        <pc:spChg chg="mod">
          <ac:chgData name="EVELYNSM.YONG" userId="S::evelynsm.yong_gmail.com#ext#@risebcg.onmicrosoft.com::67a27a72-2420-4d38-b745-316a53f4b99a" providerId="AD" clId="Web-{E369CB37-3068-47E4-AD90-1DEAD92C8B6F}" dt="2022-01-08T16:39:17.078" v="2651" actId="1076"/>
          <ac:spMkLst>
            <pc:docMk/>
            <pc:sldMk cId="1894441827" sldId="358"/>
            <ac:spMk id="17" creationId="{815F3179-193A-4F5E-A1A9-12297C608458}"/>
          </ac:spMkLst>
        </pc:spChg>
        <pc:picChg chg="mod">
          <ac:chgData name="EVELYNSM.YONG" userId="S::evelynsm.yong_gmail.com#ext#@risebcg.onmicrosoft.com::67a27a72-2420-4d38-b745-316a53f4b99a" providerId="AD" clId="Web-{E369CB37-3068-47E4-AD90-1DEAD92C8B6F}" dt="2022-01-08T16:37:11.356" v="2646" actId="1076"/>
          <ac:picMkLst>
            <pc:docMk/>
            <pc:sldMk cId="1894441827" sldId="358"/>
            <ac:picMk id="4" creationId="{0A2CEA9C-3B44-4930-8C81-9261CEA29D54}"/>
          </ac:picMkLst>
        </pc:picChg>
        <pc:picChg chg="mod">
          <ac:chgData name="EVELYNSM.YONG" userId="S::evelynsm.yong_gmail.com#ext#@risebcg.onmicrosoft.com::67a27a72-2420-4d38-b745-316a53f4b99a" providerId="AD" clId="Web-{E369CB37-3068-47E4-AD90-1DEAD92C8B6F}" dt="2022-01-08T16:37:17.372" v="2648" actId="1076"/>
          <ac:picMkLst>
            <pc:docMk/>
            <pc:sldMk cId="1894441827" sldId="358"/>
            <ac:picMk id="7" creationId="{F2806C6D-F724-4DED-AEF0-61ECCAB05DB6}"/>
          </ac:picMkLst>
        </pc:picChg>
        <pc:picChg chg="mod">
          <ac:chgData name="EVELYNSM.YONG" userId="S::evelynsm.yong_gmail.com#ext#@risebcg.onmicrosoft.com::67a27a72-2420-4d38-b745-316a53f4b99a" providerId="AD" clId="Web-{E369CB37-3068-47E4-AD90-1DEAD92C8B6F}" dt="2022-01-08T15:52:43.449" v="2253" actId="1076"/>
          <ac:picMkLst>
            <pc:docMk/>
            <pc:sldMk cId="1894441827" sldId="358"/>
            <ac:picMk id="8" creationId="{1C37FA25-553F-4164-8C97-7E76EEDF8003}"/>
          </ac:picMkLst>
        </pc:picChg>
        <pc:cxnChg chg="mod">
          <ac:chgData name="EVELYNSM.YONG" userId="S::evelynsm.yong_gmail.com#ext#@risebcg.onmicrosoft.com::67a27a72-2420-4d38-b745-316a53f4b99a" providerId="AD" clId="Web-{E369CB37-3068-47E4-AD90-1DEAD92C8B6F}" dt="2022-01-08T16:37:15.559" v="2647" actId="1076"/>
          <ac:cxnSpMkLst>
            <pc:docMk/>
            <pc:sldMk cId="1894441827" sldId="358"/>
            <ac:cxnSpMk id="5" creationId="{7650244C-E06B-41BA-A77C-2D20639EA927}"/>
          </ac:cxnSpMkLst>
        </pc:cxnChg>
      </pc:sldChg>
      <pc:sldChg chg="modSp">
        <pc:chgData name="EVELYNSM.YONG" userId="S::evelynsm.yong_gmail.com#ext#@risebcg.onmicrosoft.com::67a27a72-2420-4d38-b745-316a53f4b99a" providerId="AD" clId="Web-{E369CB37-3068-47E4-AD90-1DEAD92C8B6F}" dt="2022-01-08T16:31:39.067" v="2638" actId="20577"/>
        <pc:sldMkLst>
          <pc:docMk/>
          <pc:sldMk cId="373009354" sldId="360"/>
        </pc:sldMkLst>
        <pc:spChg chg="mod">
          <ac:chgData name="EVELYNSM.YONG" userId="S::evelynsm.yong_gmail.com#ext#@risebcg.onmicrosoft.com::67a27a72-2420-4d38-b745-316a53f4b99a" providerId="AD" clId="Web-{E369CB37-3068-47E4-AD90-1DEAD92C8B6F}" dt="2022-01-08T16:31:39.067" v="2638" actId="20577"/>
          <ac:spMkLst>
            <pc:docMk/>
            <pc:sldMk cId="373009354" sldId="360"/>
            <ac:spMk id="17" creationId="{815F3179-193A-4F5E-A1A9-12297C608458}"/>
          </ac:spMkLst>
        </pc:spChg>
      </pc:sldChg>
    </pc:docChg>
  </pc:docChgLst>
  <pc:docChgLst>
    <pc:chgData name="EVELYNSM.YONG" userId="S::evelynsm.yong_gmail.com#ext#@risebcg.onmicrosoft.com::67a27a72-2420-4d38-b745-316a53f4b99a" providerId="AD" clId="Web-{D87E7FF8-9009-404F-B3B4-E419E79AB32F}"/>
    <pc:docChg chg="modSld">
      <pc:chgData name="EVELYNSM.YONG" userId="S::evelynsm.yong_gmail.com#ext#@risebcg.onmicrosoft.com::67a27a72-2420-4d38-b745-316a53f4b99a" providerId="AD" clId="Web-{D87E7FF8-9009-404F-B3B4-E419E79AB32F}" dt="2022-01-10T06:29:07.212" v="255" actId="1076"/>
      <pc:docMkLst>
        <pc:docMk/>
      </pc:docMkLst>
      <pc:sldChg chg="modSp">
        <pc:chgData name="EVELYNSM.YONG" userId="S::evelynsm.yong_gmail.com#ext#@risebcg.onmicrosoft.com::67a27a72-2420-4d38-b745-316a53f4b99a" providerId="AD" clId="Web-{D87E7FF8-9009-404F-B3B4-E419E79AB32F}" dt="2022-01-10T06:14:32.022" v="237" actId="14100"/>
        <pc:sldMkLst>
          <pc:docMk/>
          <pc:sldMk cId="2316358039" sldId="325"/>
        </pc:sldMkLst>
        <pc:spChg chg="mod">
          <ac:chgData name="EVELYNSM.YONG" userId="S::evelynsm.yong_gmail.com#ext#@risebcg.onmicrosoft.com::67a27a72-2420-4d38-b745-316a53f4b99a" providerId="AD" clId="Web-{D87E7FF8-9009-404F-B3B4-E419E79AB32F}" dt="2022-01-10T06:14:32.022" v="237" actId="14100"/>
          <ac:spMkLst>
            <pc:docMk/>
            <pc:sldMk cId="2316358039" sldId="325"/>
            <ac:spMk id="6" creationId="{208993E5-B009-40A8-BC89-286E139EA12D}"/>
          </ac:spMkLst>
        </pc:spChg>
      </pc:sldChg>
      <pc:sldChg chg="modSp modNotes">
        <pc:chgData name="EVELYNSM.YONG" userId="S::evelynsm.yong_gmail.com#ext#@risebcg.onmicrosoft.com::67a27a72-2420-4d38-b745-316a53f4b99a" providerId="AD" clId="Web-{D87E7FF8-9009-404F-B3B4-E419E79AB32F}" dt="2022-01-10T06:23:45.799" v="254" actId="20577"/>
        <pc:sldMkLst>
          <pc:docMk/>
          <pc:sldMk cId="2652119032" sldId="335"/>
        </pc:sldMkLst>
        <pc:spChg chg="mod">
          <ac:chgData name="EVELYNSM.YONG" userId="S::evelynsm.yong_gmail.com#ext#@risebcg.onmicrosoft.com::67a27a72-2420-4d38-b745-316a53f4b99a" providerId="AD" clId="Web-{D87E7FF8-9009-404F-B3B4-E419E79AB32F}" dt="2022-01-10T06:23:45.799" v="254" actId="20577"/>
          <ac:spMkLst>
            <pc:docMk/>
            <pc:sldMk cId="2652119032" sldId="335"/>
            <ac:spMk id="28" creationId="{81280F0F-FE44-494C-A80A-92667A5E77F5}"/>
          </ac:spMkLst>
        </pc:spChg>
      </pc:sldChg>
      <pc:sldChg chg="modNotes">
        <pc:chgData name="EVELYNSM.YONG" userId="S::evelynsm.yong_gmail.com#ext#@risebcg.onmicrosoft.com::67a27a72-2420-4d38-b745-316a53f4b99a" providerId="AD" clId="Web-{D87E7FF8-9009-404F-B3B4-E419E79AB32F}" dt="2022-01-10T06:07:15.076" v="222"/>
        <pc:sldMkLst>
          <pc:docMk/>
          <pc:sldMk cId="3391215681" sldId="339"/>
        </pc:sldMkLst>
      </pc:sldChg>
      <pc:sldChg chg="modSp">
        <pc:chgData name="EVELYNSM.YONG" userId="S::evelynsm.yong_gmail.com#ext#@risebcg.onmicrosoft.com::67a27a72-2420-4d38-b745-316a53f4b99a" providerId="AD" clId="Web-{D87E7FF8-9009-404F-B3B4-E419E79AB32F}" dt="2022-01-10T06:29:07.212" v="255" actId="1076"/>
        <pc:sldMkLst>
          <pc:docMk/>
          <pc:sldMk cId="1894441827" sldId="358"/>
        </pc:sldMkLst>
        <pc:spChg chg="mod">
          <ac:chgData name="EVELYNSM.YONG" userId="S::evelynsm.yong_gmail.com#ext#@risebcg.onmicrosoft.com::67a27a72-2420-4d38-b745-316a53f4b99a" providerId="AD" clId="Web-{D87E7FF8-9009-404F-B3B4-E419E79AB32F}" dt="2022-01-10T06:29:07.212" v="255" actId="1076"/>
          <ac:spMkLst>
            <pc:docMk/>
            <pc:sldMk cId="1894441827" sldId="358"/>
            <ac:spMk id="15" creationId="{66ACABA1-7700-449A-A7C2-2D4C94CED2C7}"/>
          </ac:spMkLst>
        </pc:spChg>
      </pc:sldChg>
      <pc:sldChg chg="modSp modNotes">
        <pc:chgData name="EVELYNSM.YONG" userId="S::evelynsm.yong_gmail.com#ext#@risebcg.onmicrosoft.com::67a27a72-2420-4d38-b745-316a53f4b99a" providerId="AD" clId="Web-{D87E7FF8-9009-404F-B3B4-E419E79AB32F}" dt="2022-01-10T06:22:28.907" v="245"/>
        <pc:sldMkLst>
          <pc:docMk/>
          <pc:sldMk cId="3531645893" sldId="360"/>
        </pc:sldMkLst>
        <pc:spChg chg="mod">
          <ac:chgData name="EVELYNSM.YONG" userId="S::evelynsm.yong_gmail.com#ext#@risebcg.onmicrosoft.com::67a27a72-2420-4d38-b745-316a53f4b99a" providerId="AD" clId="Web-{D87E7FF8-9009-404F-B3B4-E419E79AB32F}" dt="2022-01-10T05:47:07.146" v="11" actId="20577"/>
          <ac:spMkLst>
            <pc:docMk/>
            <pc:sldMk cId="3531645893" sldId="360"/>
            <ac:spMk id="9" creationId="{E3C0B427-9E9D-47EC-AFD8-3D8F22D59FE9}"/>
          </ac:spMkLst>
        </pc:spChg>
      </pc:sldChg>
    </pc:docChg>
  </pc:docChgLst>
  <pc:docChgLst>
    <pc:chgData name="WONGYONGLIN91" userId="S::wongyonglin91_gmail.com#ext#@risebcg.onmicrosoft.com::b2d94f93-e580-4f0d-9dda-2138509d25ae" providerId="AD" clId="Web-{F0A9F897-F63F-4ABF-9284-5B2E5231BFDE}"/>
    <pc:docChg chg="delSld modSld">
      <pc:chgData name="WONGYONGLIN91" userId="S::wongyonglin91_gmail.com#ext#@risebcg.onmicrosoft.com::b2d94f93-e580-4f0d-9dda-2138509d25ae" providerId="AD" clId="Web-{F0A9F897-F63F-4ABF-9284-5B2E5231BFDE}" dt="2022-01-09T05:48:54.330" v="19" actId="20577"/>
      <pc:docMkLst>
        <pc:docMk/>
      </pc:docMkLst>
      <pc:sldChg chg="addSp delSp modSp">
        <pc:chgData name="WONGYONGLIN91" userId="S::wongyonglin91_gmail.com#ext#@risebcg.onmicrosoft.com::b2d94f93-e580-4f0d-9dda-2138509d25ae" providerId="AD" clId="Web-{F0A9F897-F63F-4ABF-9284-5B2E5231BFDE}" dt="2022-01-09T05:48:54.330" v="19" actId="20577"/>
        <pc:sldMkLst>
          <pc:docMk/>
          <pc:sldMk cId="1894441827" sldId="358"/>
        </pc:sldMkLst>
        <pc:spChg chg="mod">
          <ac:chgData name="WONGYONGLIN91" userId="S::wongyonglin91_gmail.com#ext#@risebcg.onmicrosoft.com::b2d94f93-e580-4f0d-9dda-2138509d25ae" providerId="AD" clId="Web-{F0A9F897-F63F-4ABF-9284-5B2E5231BFDE}" dt="2022-01-09T05:48:54.330" v="19" actId="20577"/>
          <ac:spMkLst>
            <pc:docMk/>
            <pc:sldMk cId="1894441827" sldId="358"/>
            <ac:spMk id="17" creationId="{815F3179-193A-4F5E-A1A9-12297C608458}"/>
          </ac:spMkLst>
        </pc:spChg>
        <pc:picChg chg="add mod">
          <ac:chgData name="WONGYONGLIN91" userId="S::wongyonglin91_gmail.com#ext#@risebcg.onmicrosoft.com::b2d94f93-e580-4f0d-9dda-2138509d25ae" providerId="AD" clId="Web-{F0A9F897-F63F-4ABF-9284-5B2E5231BFDE}" dt="2022-01-09T05:46:48.968" v="9" actId="14100"/>
          <ac:picMkLst>
            <pc:docMk/>
            <pc:sldMk cId="1894441827" sldId="358"/>
            <ac:picMk id="4" creationId="{BA22EAA2-4B47-4688-9DD6-1B3E79191AAF}"/>
          </ac:picMkLst>
        </pc:picChg>
        <pc:picChg chg="add mod">
          <ac:chgData name="WONGYONGLIN91" userId="S::wongyonglin91_gmail.com#ext#@risebcg.onmicrosoft.com::b2d94f93-e580-4f0d-9dda-2138509d25ae" providerId="AD" clId="Web-{F0A9F897-F63F-4ABF-9284-5B2E5231BFDE}" dt="2022-01-09T05:47:51.907" v="13" actId="14100"/>
          <ac:picMkLst>
            <pc:docMk/>
            <pc:sldMk cId="1894441827" sldId="358"/>
            <ac:picMk id="6" creationId="{5F5024CD-EB7B-49D0-9E4B-B6BFDC4F5683}"/>
          </ac:picMkLst>
        </pc:picChg>
        <pc:picChg chg="del">
          <ac:chgData name="WONGYONGLIN91" userId="S::wongyonglin91_gmail.com#ext#@risebcg.onmicrosoft.com::b2d94f93-e580-4f0d-9dda-2138509d25ae" providerId="AD" clId="Web-{F0A9F897-F63F-4ABF-9284-5B2E5231BFDE}" dt="2022-01-09T05:46:53.906" v="10"/>
          <ac:picMkLst>
            <pc:docMk/>
            <pc:sldMk cId="1894441827" sldId="358"/>
            <ac:picMk id="9" creationId="{AE0C5261-EE51-4A4C-8F2E-CF83910177AF}"/>
          </ac:picMkLst>
        </pc:picChg>
        <pc:picChg chg="del">
          <ac:chgData name="WONGYONGLIN91" userId="S::wongyonglin91_gmail.com#ext#@risebcg.onmicrosoft.com::b2d94f93-e580-4f0d-9dda-2138509d25ae" providerId="AD" clId="Web-{F0A9F897-F63F-4ABF-9284-5B2E5231BFDE}" dt="2022-01-09T05:46:24.327" v="2"/>
          <ac:picMkLst>
            <pc:docMk/>
            <pc:sldMk cId="1894441827" sldId="358"/>
            <ac:picMk id="13" creationId="{527B4510-4D9B-455A-B6C2-3238A0275F12}"/>
          </ac:picMkLst>
        </pc:picChg>
      </pc:sldChg>
      <pc:sldChg chg="del">
        <pc:chgData name="WONGYONGLIN91" userId="S::wongyonglin91_gmail.com#ext#@risebcg.onmicrosoft.com::b2d94f93-e580-4f0d-9dda-2138509d25ae" providerId="AD" clId="Web-{F0A9F897-F63F-4ABF-9284-5B2E5231BFDE}" dt="2022-01-09T05:20:57.244" v="0"/>
        <pc:sldMkLst>
          <pc:docMk/>
          <pc:sldMk cId="373009354" sldId="360"/>
        </pc:sldMkLst>
      </pc:sldChg>
    </pc:docChg>
  </pc:docChgLst>
  <pc:docChgLst>
    <pc:chgData name="EVELYNSM.YONG" userId="S::evelynsm.yong_gmail.com#ext#@risebcg.onmicrosoft.com::67a27a72-2420-4d38-b745-316a53f4b99a" providerId="AD" clId="Web-{1C868A80-F4F0-4CEC-A1DD-DCD9806FF52B}"/>
    <pc:docChg chg="modSld">
      <pc:chgData name="EVELYNSM.YONG" userId="S::evelynsm.yong_gmail.com#ext#@risebcg.onmicrosoft.com::67a27a72-2420-4d38-b745-316a53f4b99a" providerId="AD" clId="Web-{1C868A80-F4F0-4CEC-A1DD-DCD9806FF52B}" dt="2022-01-08T01:47:13.057" v="23" actId="14100"/>
      <pc:docMkLst>
        <pc:docMk/>
      </pc:docMkLst>
      <pc:sldChg chg="modSp">
        <pc:chgData name="EVELYNSM.YONG" userId="S::evelynsm.yong_gmail.com#ext#@risebcg.onmicrosoft.com::67a27a72-2420-4d38-b745-316a53f4b99a" providerId="AD" clId="Web-{1C868A80-F4F0-4CEC-A1DD-DCD9806FF52B}" dt="2022-01-08T01:47:01.057" v="22" actId="20577"/>
        <pc:sldMkLst>
          <pc:docMk/>
          <pc:sldMk cId="2652119032" sldId="335"/>
        </pc:sldMkLst>
        <pc:spChg chg="mod">
          <ac:chgData name="EVELYNSM.YONG" userId="S::evelynsm.yong_gmail.com#ext#@risebcg.onmicrosoft.com::67a27a72-2420-4d38-b745-316a53f4b99a" providerId="AD" clId="Web-{1C868A80-F4F0-4CEC-A1DD-DCD9806FF52B}" dt="2022-01-08T01:47:01.057" v="22" actId="20577"/>
          <ac:spMkLst>
            <pc:docMk/>
            <pc:sldMk cId="2652119032" sldId="335"/>
            <ac:spMk id="9" creationId="{7E2F8E19-F56B-4CB8-9CA2-A1277727EBFD}"/>
          </ac:spMkLst>
        </pc:spChg>
      </pc:sldChg>
      <pc:sldChg chg="modSp">
        <pc:chgData name="EVELYNSM.YONG" userId="S::evelynsm.yong_gmail.com#ext#@risebcg.onmicrosoft.com::67a27a72-2420-4d38-b745-316a53f4b99a" providerId="AD" clId="Web-{1C868A80-F4F0-4CEC-A1DD-DCD9806FF52B}" dt="2022-01-08T01:47:13.057" v="23" actId="14100"/>
        <pc:sldMkLst>
          <pc:docMk/>
          <pc:sldMk cId="3391215681" sldId="339"/>
        </pc:sldMkLst>
        <pc:spChg chg="mod">
          <ac:chgData name="EVELYNSM.YONG" userId="S::evelynsm.yong_gmail.com#ext#@risebcg.onmicrosoft.com::67a27a72-2420-4d38-b745-316a53f4b99a" providerId="AD" clId="Web-{1C868A80-F4F0-4CEC-A1DD-DCD9806FF52B}" dt="2022-01-08T01:47:13.057" v="23" actId="14100"/>
          <ac:spMkLst>
            <pc:docMk/>
            <pc:sldMk cId="3391215681" sldId="339"/>
            <ac:spMk id="47" creationId="{B72F6C48-B470-4163-9AC9-2982A10656DA}"/>
          </ac:spMkLst>
        </pc:spChg>
      </pc:sldChg>
    </pc:docChg>
  </pc:docChgLst>
  <pc:docChgLst>
    <pc:chgData name="WESLEY.TBW" userId="S::wesley.tbw_gmail.com#ext#@risebcg.onmicrosoft.com::1034df62-ee6d-4b2f-8a56-03c4406a0a8a" providerId="AD" clId="Web-{160C156C-165D-46D5-8041-D672FCE99AA0}"/>
    <pc:docChg chg="modSld">
      <pc:chgData name="WESLEY.TBW" userId="S::wesley.tbw_gmail.com#ext#@risebcg.onmicrosoft.com::1034df62-ee6d-4b2f-8a56-03c4406a0a8a" providerId="AD" clId="Web-{160C156C-165D-46D5-8041-D672FCE99AA0}" dt="2022-01-11T05:28:17.588" v="12"/>
      <pc:docMkLst>
        <pc:docMk/>
      </pc:docMkLst>
      <pc:sldChg chg="modNotes">
        <pc:chgData name="WESLEY.TBW" userId="S::wesley.tbw_gmail.com#ext#@risebcg.onmicrosoft.com::1034df62-ee6d-4b2f-8a56-03c4406a0a8a" providerId="AD" clId="Web-{160C156C-165D-46D5-8041-D672FCE99AA0}" dt="2022-01-11T05:27:16.492" v="3"/>
        <pc:sldMkLst>
          <pc:docMk/>
          <pc:sldMk cId="2256265757" sldId="315"/>
        </pc:sldMkLst>
      </pc:sldChg>
      <pc:sldChg chg="modNotes">
        <pc:chgData name="WESLEY.TBW" userId="S::wesley.tbw_gmail.com#ext#@risebcg.onmicrosoft.com::1034df62-ee6d-4b2f-8a56-03c4406a0a8a" providerId="AD" clId="Web-{160C156C-165D-46D5-8041-D672FCE99AA0}" dt="2022-01-11T05:27:31.915" v="7"/>
        <pc:sldMkLst>
          <pc:docMk/>
          <pc:sldMk cId="4084366951" sldId="318"/>
        </pc:sldMkLst>
      </pc:sldChg>
      <pc:sldChg chg="modNotes">
        <pc:chgData name="WESLEY.TBW" userId="S::wesley.tbw_gmail.com#ext#@risebcg.onmicrosoft.com::1034df62-ee6d-4b2f-8a56-03c4406a0a8a" providerId="AD" clId="Web-{160C156C-165D-46D5-8041-D672FCE99AA0}" dt="2022-01-11T05:27:47.103" v="10"/>
        <pc:sldMkLst>
          <pc:docMk/>
          <pc:sldMk cId="1249418479" sldId="334"/>
        </pc:sldMkLst>
      </pc:sldChg>
      <pc:sldChg chg="modNotes">
        <pc:chgData name="WESLEY.TBW" userId="S::wesley.tbw_gmail.com#ext#@risebcg.onmicrosoft.com::1034df62-ee6d-4b2f-8a56-03c4406a0a8a" providerId="AD" clId="Web-{160C156C-165D-46D5-8041-D672FCE99AA0}" dt="2022-01-11T05:28:17.588" v="12"/>
        <pc:sldMkLst>
          <pc:docMk/>
          <pc:sldMk cId="4159389698" sldId="342"/>
        </pc:sldMkLst>
      </pc:sldChg>
    </pc:docChg>
  </pc:docChgLst>
  <pc:docChgLst>
    <pc:chgData name="COSMOSFREN" userId="S::cosmosfren_yahoo.com#ext#@risebcg.onmicrosoft.com::5462f5f4-f618-47aa-abd8-fd504e002570" providerId="AD" clId="Web-{E4B2E7FC-2D8C-47A5-B122-28DCEC8EB684}"/>
    <pc:docChg chg="addSld delSld modSld">
      <pc:chgData name="COSMOSFREN" userId="S::cosmosfren_yahoo.com#ext#@risebcg.onmicrosoft.com::5462f5f4-f618-47aa-abd8-fd504e002570" providerId="AD" clId="Web-{E4B2E7FC-2D8C-47A5-B122-28DCEC8EB684}" dt="2022-01-10T09:48:50.502" v="94"/>
      <pc:docMkLst>
        <pc:docMk/>
      </pc:docMkLst>
      <pc:sldChg chg="modNotes">
        <pc:chgData name="COSMOSFREN" userId="S::cosmosfren_yahoo.com#ext#@risebcg.onmicrosoft.com::5462f5f4-f618-47aa-abd8-fd504e002570" providerId="AD" clId="Web-{E4B2E7FC-2D8C-47A5-B122-28DCEC8EB684}" dt="2022-01-10T09:48:50.502" v="94"/>
        <pc:sldMkLst>
          <pc:docMk/>
          <pc:sldMk cId="3944993204" sldId="370"/>
        </pc:sldMkLst>
      </pc:sldChg>
      <pc:sldChg chg="new del">
        <pc:chgData name="COSMOSFREN" userId="S::cosmosfren_yahoo.com#ext#@risebcg.onmicrosoft.com::5462f5f4-f618-47aa-abd8-fd504e002570" providerId="AD" clId="Web-{E4B2E7FC-2D8C-47A5-B122-28DCEC8EB684}" dt="2022-01-10T09:43:01.260" v="46"/>
        <pc:sldMkLst>
          <pc:docMk/>
          <pc:sldMk cId="2292648902" sldId="381"/>
        </pc:sldMkLst>
      </pc:sldChg>
      <pc:sldChg chg="modSp add replId modNotes">
        <pc:chgData name="COSMOSFREN" userId="S::cosmosfren_yahoo.com#ext#@risebcg.onmicrosoft.com::5462f5f4-f618-47aa-abd8-fd504e002570" providerId="AD" clId="Web-{E4B2E7FC-2D8C-47A5-B122-28DCEC8EB684}" dt="2022-01-10T09:43:17.932" v="70"/>
        <pc:sldMkLst>
          <pc:docMk/>
          <pc:sldMk cId="1638764710" sldId="382"/>
        </pc:sldMkLst>
        <pc:spChg chg="mod">
          <ac:chgData name="COSMOSFREN" userId="S::cosmosfren_yahoo.com#ext#@risebcg.onmicrosoft.com::5462f5f4-f618-47aa-abd8-fd504e002570" providerId="AD" clId="Web-{E4B2E7FC-2D8C-47A5-B122-28DCEC8EB684}" dt="2022-01-10T09:43:10.963" v="69" actId="20577"/>
          <ac:spMkLst>
            <pc:docMk/>
            <pc:sldMk cId="1638764710" sldId="382"/>
            <ac:spMk id="2" creationId="{D2AC414D-C8F9-4E07-9D41-5AAD3600E4CA}"/>
          </ac:spMkLst>
        </pc:spChg>
      </pc:sldChg>
    </pc:docChg>
  </pc:docChgLst>
  <pc:docChgLst>
    <pc:chgData name="WONGYONGLIN91" userId="S::wongyonglin91_gmail.com#ext#@risebcg.onmicrosoft.com::b2d94f93-e580-4f0d-9dda-2138509d25ae" providerId="AD" clId="Web-{30E8B6D5-C3BB-4CF4-B067-415A54B103BF}"/>
    <pc:docChg chg="addSld delSld modSld">
      <pc:chgData name="WONGYONGLIN91" userId="S::wongyonglin91_gmail.com#ext#@risebcg.onmicrosoft.com::b2d94f93-e580-4f0d-9dda-2138509d25ae" providerId="AD" clId="Web-{30E8B6D5-C3BB-4CF4-B067-415A54B103BF}" dt="2022-01-10T15:53:31.082" v="56" actId="20577"/>
      <pc:docMkLst>
        <pc:docMk/>
      </pc:docMkLst>
      <pc:sldChg chg="addSp delSp modSp">
        <pc:chgData name="WONGYONGLIN91" userId="S::wongyonglin91_gmail.com#ext#@risebcg.onmicrosoft.com::b2d94f93-e580-4f0d-9dda-2138509d25ae" providerId="AD" clId="Web-{30E8B6D5-C3BB-4CF4-B067-415A54B103BF}" dt="2022-01-10T15:48:57.106" v="47" actId="20577"/>
        <pc:sldMkLst>
          <pc:docMk/>
          <pc:sldMk cId="3758978858" sldId="379"/>
        </pc:sldMkLst>
        <pc:spChg chg="mod">
          <ac:chgData name="WONGYONGLIN91" userId="S::wongyonglin91_gmail.com#ext#@risebcg.onmicrosoft.com::b2d94f93-e580-4f0d-9dda-2138509d25ae" providerId="AD" clId="Web-{30E8B6D5-C3BB-4CF4-B067-415A54B103BF}" dt="2022-01-10T15:48:57.106" v="47" actId="20577"/>
          <ac:spMkLst>
            <pc:docMk/>
            <pc:sldMk cId="3758978858" sldId="379"/>
            <ac:spMk id="2" creationId="{C8764925-553F-46C0-AD49-7EDC41FA393B}"/>
          </ac:spMkLst>
        </pc:spChg>
        <pc:spChg chg="del">
          <ac:chgData name="WONGYONGLIN91" userId="S::wongyonglin91_gmail.com#ext#@risebcg.onmicrosoft.com::b2d94f93-e580-4f0d-9dda-2138509d25ae" providerId="AD" clId="Web-{30E8B6D5-C3BB-4CF4-B067-415A54B103BF}" dt="2022-01-10T15:41:54.517" v="13"/>
          <ac:spMkLst>
            <pc:docMk/>
            <pc:sldMk cId="3758978858" sldId="379"/>
            <ac:spMk id="3" creationId="{D93B70F6-8F9F-4D73-AE2A-A23E51FFBBC3}"/>
          </ac:spMkLst>
        </pc:spChg>
        <pc:picChg chg="del">
          <ac:chgData name="WONGYONGLIN91" userId="S::wongyonglin91_gmail.com#ext#@risebcg.onmicrosoft.com::b2d94f93-e580-4f0d-9dda-2138509d25ae" providerId="AD" clId="Web-{30E8B6D5-C3BB-4CF4-B067-415A54B103BF}" dt="2022-01-10T15:37:25.088" v="4"/>
          <ac:picMkLst>
            <pc:docMk/>
            <pc:sldMk cId="3758978858" sldId="379"/>
            <ac:picMk id="4" creationId="{645E4C34-8A7C-455C-918F-46EBACD32826}"/>
          </ac:picMkLst>
        </pc:picChg>
        <pc:picChg chg="add del mod">
          <ac:chgData name="WONGYONGLIN91" userId="S::wongyonglin91_gmail.com#ext#@risebcg.onmicrosoft.com::b2d94f93-e580-4f0d-9dda-2138509d25ae" providerId="AD" clId="Web-{30E8B6D5-C3BB-4CF4-B067-415A54B103BF}" dt="2022-01-10T15:44:42.537" v="21"/>
          <ac:picMkLst>
            <pc:docMk/>
            <pc:sldMk cId="3758978858" sldId="379"/>
            <ac:picMk id="5" creationId="{A468EDCA-C662-4ACD-B27A-5ABDB36C9DC1}"/>
          </ac:picMkLst>
        </pc:picChg>
        <pc:picChg chg="del">
          <ac:chgData name="WONGYONGLIN91" userId="S::wongyonglin91_gmail.com#ext#@risebcg.onmicrosoft.com::b2d94f93-e580-4f0d-9dda-2138509d25ae" providerId="AD" clId="Web-{30E8B6D5-C3BB-4CF4-B067-415A54B103BF}" dt="2022-01-10T15:39:41.951" v="8"/>
          <ac:picMkLst>
            <pc:docMk/>
            <pc:sldMk cId="3758978858" sldId="379"/>
            <ac:picMk id="6" creationId="{18A63D16-B496-4004-AB0A-2AAA668E85F4}"/>
          </ac:picMkLst>
        </pc:picChg>
        <pc:picChg chg="add mod">
          <ac:chgData name="WONGYONGLIN91" userId="S::wongyonglin91_gmail.com#ext#@risebcg.onmicrosoft.com::b2d94f93-e580-4f0d-9dda-2138509d25ae" providerId="AD" clId="Web-{30E8B6D5-C3BB-4CF4-B067-415A54B103BF}" dt="2022-01-10T15:41:59.330" v="14" actId="1076"/>
          <ac:picMkLst>
            <pc:docMk/>
            <pc:sldMk cId="3758978858" sldId="379"/>
            <ac:picMk id="7" creationId="{7172E854-F91B-4034-914C-283C25FD691D}"/>
          </ac:picMkLst>
        </pc:picChg>
        <pc:picChg chg="add del mod">
          <ac:chgData name="WONGYONGLIN91" userId="S::wongyonglin91_gmail.com#ext#@risebcg.onmicrosoft.com::b2d94f93-e580-4f0d-9dda-2138509d25ae" providerId="AD" clId="Web-{30E8B6D5-C3BB-4CF4-B067-415A54B103BF}" dt="2022-01-10T15:43:42.051" v="20"/>
          <ac:picMkLst>
            <pc:docMk/>
            <pc:sldMk cId="3758978858" sldId="379"/>
            <ac:picMk id="8" creationId="{0937322C-811F-48C1-9708-792B46781E33}"/>
          </ac:picMkLst>
        </pc:picChg>
        <pc:picChg chg="add mod">
          <ac:chgData name="WONGYONGLIN91" userId="S::wongyonglin91_gmail.com#ext#@risebcg.onmicrosoft.com::b2d94f93-e580-4f0d-9dda-2138509d25ae" providerId="AD" clId="Web-{30E8B6D5-C3BB-4CF4-B067-415A54B103BF}" dt="2022-01-10T15:44:53.068" v="24" actId="14100"/>
          <ac:picMkLst>
            <pc:docMk/>
            <pc:sldMk cId="3758978858" sldId="379"/>
            <ac:picMk id="9" creationId="{D15396CB-C56C-4A94-B451-A160648373B0}"/>
          </ac:picMkLst>
        </pc:picChg>
      </pc:sldChg>
      <pc:sldChg chg="del">
        <pc:chgData name="WONGYONGLIN91" userId="S::wongyonglin91_gmail.com#ext#@risebcg.onmicrosoft.com::b2d94f93-e580-4f0d-9dda-2138509d25ae" providerId="AD" clId="Web-{30E8B6D5-C3BB-4CF4-B067-415A54B103BF}" dt="2022-01-10T15:30:55" v="3"/>
        <pc:sldMkLst>
          <pc:docMk/>
          <pc:sldMk cId="1360270799" sldId="384"/>
        </pc:sldMkLst>
      </pc:sldChg>
      <pc:sldChg chg="addSp delSp modSp add replId">
        <pc:chgData name="WONGYONGLIN91" userId="S::wongyonglin91_gmail.com#ext#@risebcg.onmicrosoft.com::b2d94f93-e580-4f0d-9dda-2138509d25ae" providerId="AD" clId="Web-{30E8B6D5-C3BB-4CF4-B067-415A54B103BF}" dt="2022-01-10T15:53:31.082" v="56" actId="20577"/>
        <pc:sldMkLst>
          <pc:docMk/>
          <pc:sldMk cId="1431775713" sldId="384"/>
        </pc:sldMkLst>
        <pc:spChg chg="mod">
          <ac:chgData name="WONGYONGLIN91" userId="S::wongyonglin91_gmail.com#ext#@risebcg.onmicrosoft.com::b2d94f93-e580-4f0d-9dda-2138509d25ae" providerId="AD" clId="Web-{30E8B6D5-C3BB-4CF4-B067-415A54B103BF}" dt="2022-01-10T15:53:31.082" v="56" actId="20577"/>
          <ac:spMkLst>
            <pc:docMk/>
            <pc:sldMk cId="1431775713" sldId="384"/>
            <ac:spMk id="2" creationId="{C8764925-553F-46C0-AD49-7EDC41FA393B}"/>
          </ac:spMkLst>
        </pc:spChg>
        <pc:picChg chg="add mod">
          <ac:chgData name="WONGYONGLIN91" userId="S::wongyonglin91_gmail.com#ext#@risebcg.onmicrosoft.com::b2d94f93-e580-4f0d-9dda-2138509d25ae" providerId="AD" clId="Web-{30E8B6D5-C3BB-4CF4-B067-415A54B103BF}" dt="2022-01-10T15:49:27.779" v="49" actId="1076"/>
          <ac:picMkLst>
            <pc:docMk/>
            <pc:sldMk cId="1431775713" sldId="384"/>
            <ac:picMk id="3" creationId="{4BB0AA97-4D09-4E8C-8C6C-4D3B86D6CB1F}"/>
          </ac:picMkLst>
        </pc:picChg>
        <pc:picChg chg="add mod">
          <ac:chgData name="WONGYONGLIN91" userId="S::wongyonglin91_gmail.com#ext#@risebcg.onmicrosoft.com::b2d94f93-e580-4f0d-9dda-2138509d25ae" providerId="AD" clId="Web-{30E8B6D5-C3BB-4CF4-B067-415A54B103BF}" dt="2022-01-10T15:50:01.249" v="53" actId="14100"/>
          <ac:picMkLst>
            <pc:docMk/>
            <pc:sldMk cId="1431775713" sldId="384"/>
            <ac:picMk id="4" creationId="{17E32B17-67B8-4A5B-A3FF-B2170E712477}"/>
          </ac:picMkLst>
        </pc:picChg>
        <pc:picChg chg="del">
          <ac:chgData name="WONGYONGLIN91" userId="S::wongyonglin91_gmail.com#ext#@risebcg.onmicrosoft.com::b2d94f93-e580-4f0d-9dda-2138509d25ae" providerId="AD" clId="Web-{30E8B6D5-C3BB-4CF4-B067-415A54B103BF}" dt="2022-01-10T15:48:31.496" v="42"/>
          <ac:picMkLst>
            <pc:docMk/>
            <pc:sldMk cId="1431775713" sldId="384"/>
            <ac:picMk id="7" creationId="{7172E854-F91B-4034-914C-283C25FD691D}"/>
          </ac:picMkLst>
        </pc:picChg>
        <pc:picChg chg="del">
          <ac:chgData name="WONGYONGLIN91" userId="S::wongyonglin91_gmail.com#ext#@risebcg.onmicrosoft.com::b2d94f93-e580-4f0d-9dda-2138509d25ae" providerId="AD" clId="Web-{30E8B6D5-C3BB-4CF4-B067-415A54B103BF}" dt="2022-01-10T15:49:27.810" v="50"/>
          <ac:picMkLst>
            <pc:docMk/>
            <pc:sldMk cId="1431775713" sldId="384"/>
            <ac:picMk id="9" creationId="{D15396CB-C56C-4A94-B451-A160648373B0}"/>
          </ac:picMkLst>
        </pc:picChg>
      </pc:sldChg>
    </pc:docChg>
  </pc:docChgLst>
  <pc:docChgLst>
    <pc:chgData name="WONGYONGLIN91" userId="S::wongyonglin91_gmail.com#ext#@risebcg.onmicrosoft.com::b2d94f93-e580-4f0d-9dda-2138509d25ae" providerId="AD" clId="Web-{AA8F84BC-5D19-4691-B461-BEF25C6106FD}"/>
    <pc:docChg chg="modSld">
      <pc:chgData name="WONGYONGLIN91" userId="S::wongyonglin91_gmail.com#ext#@risebcg.onmicrosoft.com::b2d94f93-e580-4f0d-9dda-2138509d25ae" providerId="AD" clId="Web-{AA8F84BC-5D19-4691-B461-BEF25C6106FD}" dt="2022-01-07T15:00:23.632" v="81" actId="20577"/>
      <pc:docMkLst>
        <pc:docMk/>
      </pc:docMkLst>
      <pc:sldChg chg="addSp modSp">
        <pc:chgData name="WONGYONGLIN91" userId="S::wongyonglin91_gmail.com#ext#@risebcg.onmicrosoft.com::b2d94f93-e580-4f0d-9dda-2138509d25ae" providerId="AD" clId="Web-{AA8F84BC-5D19-4691-B461-BEF25C6106FD}" dt="2022-01-07T14:13:33.466" v="5" actId="1076"/>
        <pc:sldMkLst>
          <pc:docMk/>
          <pc:sldMk cId="3666302761" sldId="324"/>
        </pc:sldMkLst>
        <pc:picChg chg="add mod">
          <ac:chgData name="WONGYONGLIN91" userId="S::wongyonglin91_gmail.com#ext#@risebcg.onmicrosoft.com::b2d94f93-e580-4f0d-9dda-2138509d25ae" providerId="AD" clId="Web-{AA8F84BC-5D19-4691-B461-BEF25C6106FD}" dt="2022-01-07T14:13:33.466" v="5" actId="1076"/>
          <ac:picMkLst>
            <pc:docMk/>
            <pc:sldMk cId="3666302761" sldId="324"/>
            <ac:picMk id="3" creationId="{1E3FFB43-7F0A-45FE-BF03-B63BEC254DF1}"/>
          </ac:picMkLst>
        </pc:picChg>
      </pc:sldChg>
      <pc:sldChg chg="addSp delSp modSp">
        <pc:chgData name="WONGYONGLIN91" userId="S::wongyonglin91_gmail.com#ext#@risebcg.onmicrosoft.com::b2d94f93-e580-4f0d-9dda-2138509d25ae" providerId="AD" clId="Web-{AA8F84BC-5D19-4691-B461-BEF25C6106FD}" dt="2022-01-07T15:00:23.632" v="81" actId="20577"/>
        <pc:sldMkLst>
          <pc:docMk/>
          <pc:sldMk cId="2728944561" sldId="333"/>
        </pc:sldMkLst>
        <pc:spChg chg="mod">
          <ac:chgData name="WONGYONGLIN91" userId="S::wongyonglin91_gmail.com#ext#@risebcg.onmicrosoft.com::b2d94f93-e580-4f0d-9dda-2138509d25ae" providerId="AD" clId="Web-{AA8F84BC-5D19-4691-B461-BEF25C6106FD}" dt="2022-01-07T15:00:23.632" v="81" actId="20577"/>
          <ac:spMkLst>
            <pc:docMk/>
            <pc:sldMk cId="2728944561" sldId="333"/>
            <ac:spMk id="3" creationId="{9C545F2D-9E52-4C81-8BAE-363F523739FD}"/>
          </ac:spMkLst>
        </pc:spChg>
        <pc:spChg chg="del">
          <ac:chgData name="WONGYONGLIN91" userId="S::wongyonglin91_gmail.com#ext#@risebcg.onmicrosoft.com::b2d94f93-e580-4f0d-9dda-2138509d25ae" providerId="AD" clId="Web-{AA8F84BC-5D19-4691-B461-BEF25C6106FD}" dt="2022-01-07T14:50:59.305" v="30"/>
          <ac:spMkLst>
            <pc:docMk/>
            <pc:sldMk cId="2728944561" sldId="333"/>
            <ac:spMk id="15" creationId="{AAF3EE67-387A-430E-A8DA-4FF50FD506BC}"/>
          </ac:spMkLst>
        </pc:spChg>
        <pc:picChg chg="add del mod">
          <ac:chgData name="WONGYONGLIN91" userId="S::wongyonglin91_gmail.com#ext#@risebcg.onmicrosoft.com::b2d94f93-e580-4f0d-9dda-2138509d25ae" providerId="AD" clId="Web-{AA8F84BC-5D19-4691-B461-BEF25C6106FD}" dt="2022-01-07T14:42:47.654" v="9"/>
          <ac:picMkLst>
            <pc:docMk/>
            <pc:sldMk cId="2728944561" sldId="333"/>
            <ac:picMk id="4" creationId="{DEC86D4E-94C5-4CF4-B77C-49D72B4611AF}"/>
          </ac:picMkLst>
        </pc:picChg>
        <pc:picChg chg="add del mod">
          <ac:chgData name="WONGYONGLIN91" userId="S::wongyonglin91_gmail.com#ext#@risebcg.onmicrosoft.com::b2d94f93-e580-4f0d-9dda-2138509d25ae" providerId="AD" clId="Web-{AA8F84BC-5D19-4691-B461-BEF25C6106FD}" dt="2022-01-07T14:46:12.180" v="15"/>
          <ac:picMkLst>
            <pc:docMk/>
            <pc:sldMk cId="2728944561" sldId="333"/>
            <ac:picMk id="5" creationId="{9EDF73D7-6001-4A08-8EE8-495C9F93D383}"/>
          </ac:picMkLst>
        </pc:picChg>
        <pc:picChg chg="add mod">
          <ac:chgData name="WONGYONGLIN91" userId="S::wongyonglin91_gmail.com#ext#@risebcg.onmicrosoft.com::b2d94f93-e580-4f0d-9dda-2138509d25ae" providerId="AD" clId="Web-{AA8F84BC-5D19-4691-B461-BEF25C6106FD}" dt="2022-01-07T14:55:35.945" v="56" actId="14100"/>
          <ac:picMkLst>
            <pc:docMk/>
            <pc:sldMk cId="2728944561" sldId="333"/>
            <ac:picMk id="6" creationId="{5C7BC333-AC07-4C92-9439-0C248DD469B7}"/>
          </ac:picMkLst>
        </pc:picChg>
        <pc:picChg chg="add mod">
          <ac:chgData name="WONGYONGLIN91" userId="S::wongyonglin91_gmail.com#ext#@risebcg.onmicrosoft.com::b2d94f93-e580-4f0d-9dda-2138509d25ae" providerId="AD" clId="Web-{AA8F84BC-5D19-4691-B461-BEF25C6106FD}" dt="2022-01-07T14:55:07.631" v="50" actId="14100"/>
          <ac:picMkLst>
            <pc:docMk/>
            <pc:sldMk cId="2728944561" sldId="333"/>
            <ac:picMk id="7" creationId="{5DBECBC5-E506-4844-9DFC-8CEEA581E35F}"/>
          </ac:picMkLst>
        </pc:picChg>
      </pc:sldChg>
    </pc:docChg>
  </pc:docChgLst>
  <pc:docChgLst>
    <pc:chgData name="COSMOSFREN" userId="S::cosmosfren_yahoo.com#ext#@risebcg.onmicrosoft.com::5462f5f4-f618-47aa-abd8-fd504e002570" providerId="AD" clId="Web-{F2365CAA-0801-4EFC-BF65-DCB1BFF3D234}"/>
    <pc:docChg chg="addSld modSld sldOrd">
      <pc:chgData name="COSMOSFREN" userId="S::cosmosfren_yahoo.com#ext#@risebcg.onmicrosoft.com::5462f5f4-f618-47aa-abd8-fd504e002570" providerId="AD" clId="Web-{F2365CAA-0801-4EFC-BF65-DCB1BFF3D234}" dt="2022-01-10T11:14:06.813" v="3536"/>
      <pc:docMkLst>
        <pc:docMk/>
      </pc:docMkLst>
      <pc:sldChg chg="modNotes">
        <pc:chgData name="COSMOSFREN" userId="S::cosmosfren_yahoo.com#ext#@risebcg.onmicrosoft.com::5462f5f4-f618-47aa-abd8-fd504e002570" providerId="AD" clId="Web-{F2365CAA-0801-4EFC-BF65-DCB1BFF3D234}" dt="2022-01-10T10:35:36.077" v="1529"/>
        <pc:sldMkLst>
          <pc:docMk/>
          <pc:sldMk cId="2067521295" sldId="323"/>
        </pc:sldMkLst>
      </pc:sldChg>
      <pc:sldChg chg="modNotes">
        <pc:chgData name="COSMOSFREN" userId="S::cosmosfren_yahoo.com#ext#@risebcg.onmicrosoft.com::5462f5f4-f618-47aa-abd8-fd504e002570" providerId="AD" clId="Web-{F2365CAA-0801-4EFC-BF65-DCB1BFF3D234}" dt="2022-01-10T11:08:43.353" v="3022"/>
        <pc:sldMkLst>
          <pc:docMk/>
          <pc:sldMk cId="3666302761" sldId="324"/>
        </pc:sldMkLst>
      </pc:sldChg>
      <pc:sldChg chg="modNotes">
        <pc:chgData name="COSMOSFREN" userId="S::cosmosfren_yahoo.com#ext#@risebcg.onmicrosoft.com::5462f5f4-f618-47aa-abd8-fd504e002570" providerId="AD" clId="Web-{F2365CAA-0801-4EFC-BF65-DCB1BFF3D234}" dt="2022-01-10T10:45:15.558" v="2003"/>
        <pc:sldMkLst>
          <pc:docMk/>
          <pc:sldMk cId="2316358039" sldId="325"/>
        </pc:sldMkLst>
      </pc:sldChg>
      <pc:sldChg chg="modNotes">
        <pc:chgData name="COSMOSFREN" userId="S::cosmosfren_yahoo.com#ext#@risebcg.onmicrosoft.com::5462f5f4-f618-47aa-abd8-fd504e002570" providerId="AD" clId="Web-{F2365CAA-0801-4EFC-BF65-DCB1BFF3D234}" dt="2022-01-10T11:14:06.813" v="3536"/>
        <pc:sldMkLst>
          <pc:docMk/>
          <pc:sldMk cId="416007632" sldId="327"/>
        </pc:sldMkLst>
      </pc:sldChg>
      <pc:sldChg chg="modNotes">
        <pc:chgData name="COSMOSFREN" userId="S::cosmosfren_yahoo.com#ext#@risebcg.onmicrosoft.com::5462f5f4-f618-47aa-abd8-fd504e002570" providerId="AD" clId="Web-{F2365CAA-0801-4EFC-BF65-DCB1BFF3D234}" dt="2022-01-10T10:44:15.088" v="1929"/>
        <pc:sldMkLst>
          <pc:docMk/>
          <pc:sldMk cId="4159389698" sldId="342"/>
        </pc:sldMkLst>
      </pc:sldChg>
      <pc:sldChg chg="modNotes">
        <pc:chgData name="COSMOSFREN" userId="S::cosmosfren_yahoo.com#ext#@risebcg.onmicrosoft.com::5462f5f4-f618-47aa-abd8-fd504e002570" providerId="AD" clId="Web-{F2365CAA-0801-4EFC-BF65-DCB1BFF3D234}" dt="2022-01-10T10:49:14.829" v="2551"/>
        <pc:sldMkLst>
          <pc:docMk/>
          <pc:sldMk cId="1894441827" sldId="358"/>
        </pc:sldMkLst>
      </pc:sldChg>
      <pc:sldChg chg="ord modNotes">
        <pc:chgData name="COSMOSFREN" userId="S::cosmosfren_yahoo.com#ext#@risebcg.onmicrosoft.com::5462f5f4-f618-47aa-abd8-fd504e002570" providerId="AD" clId="Web-{F2365CAA-0801-4EFC-BF65-DCB1BFF3D234}" dt="2022-01-10T10:57:59.277" v="2587"/>
        <pc:sldMkLst>
          <pc:docMk/>
          <pc:sldMk cId="3944993204" sldId="370"/>
        </pc:sldMkLst>
      </pc:sldChg>
      <pc:sldChg chg="modSp new modNotes">
        <pc:chgData name="COSMOSFREN" userId="S::cosmosfren_yahoo.com#ext#@risebcg.onmicrosoft.com::5462f5f4-f618-47aa-abd8-fd504e002570" providerId="AD" clId="Web-{F2365CAA-0801-4EFC-BF65-DCB1BFF3D234}" dt="2022-01-10T11:09:33.979" v="3050"/>
        <pc:sldMkLst>
          <pc:docMk/>
          <pc:sldMk cId="531825606" sldId="383"/>
        </pc:sldMkLst>
        <pc:spChg chg="mod">
          <ac:chgData name="COSMOSFREN" userId="S::cosmosfren_yahoo.com#ext#@risebcg.onmicrosoft.com::5462f5f4-f618-47aa-abd8-fd504e002570" providerId="AD" clId="Web-{F2365CAA-0801-4EFC-BF65-DCB1BFF3D234}" dt="2022-01-10T10:56:21.885" v="2583" actId="20577"/>
          <ac:spMkLst>
            <pc:docMk/>
            <pc:sldMk cId="531825606" sldId="383"/>
            <ac:spMk id="2" creationId="{ABE39F15-1818-4D2D-A322-2BE665A44DF0}"/>
          </ac:spMkLst>
        </pc:spChg>
        <pc:spChg chg="mod">
          <ac:chgData name="COSMOSFREN" userId="S::cosmosfren_yahoo.com#ext#@risebcg.onmicrosoft.com::5462f5f4-f618-47aa-abd8-fd504e002570" providerId="AD" clId="Web-{F2365CAA-0801-4EFC-BF65-DCB1BFF3D234}" dt="2022-01-10T11:02:08.579" v="2781" actId="20577"/>
          <ac:spMkLst>
            <pc:docMk/>
            <pc:sldMk cId="531825606" sldId="383"/>
            <ac:spMk id="3" creationId="{9771EDC6-5C2F-4F03-A28A-6F11306CF575}"/>
          </ac:spMkLst>
        </pc:spChg>
      </pc:sldChg>
    </pc:docChg>
  </pc:docChgLst>
  <pc:docChgLst>
    <pc:chgData name="wei yuan" userId="S::pwy_92_hotmail.com#ext#@risebcg.onmicrosoft.com::ca38e7f8-9ace-4d94-b37a-86e65e91f2b0" providerId="AD" clId="Web-{BCBC7DAA-9194-4E0F-B355-1B8AC41DDAA0}"/>
    <pc:docChg chg="addSld delSld modSld">
      <pc:chgData name="wei yuan" userId="S::pwy_92_hotmail.com#ext#@risebcg.onmicrosoft.com::ca38e7f8-9ace-4d94-b37a-86e65e91f2b0" providerId="AD" clId="Web-{BCBC7DAA-9194-4E0F-B355-1B8AC41DDAA0}" dt="2022-01-07T12:45:06.721" v="11" actId="1076"/>
      <pc:docMkLst>
        <pc:docMk/>
      </pc:docMkLst>
      <pc:sldChg chg="addSp modSp">
        <pc:chgData name="wei yuan" userId="S::pwy_92_hotmail.com#ext#@risebcg.onmicrosoft.com::ca38e7f8-9ace-4d94-b37a-86e65e91f2b0" providerId="AD" clId="Web-{BCBC7DAA-9194-4E0F-B355-1B8AC41DDAA0}" dt="2022-01-07T12:45:06.721" v="11" actId="1076"/>
        <pc:sldMkLst>
          <pc:docMk/>
          <pc:sldMk cId="2316358039" sldId="325"/>
        </pc:sldMkLst>
        <pc:picChg chg="add mod">
          <ac:chgData name="wei yuan" userId="S::pwy_92_hotmail.com#ext#@risebcg.onmicrosoft.com::ca38e7f8-9ace-4d94-b37a-86e65e91f2b0" providerId="AD" clId="Web-{BCBC7DAA-9194-4E0F-B355-1B8AC41DDAA0}" dt="2022-01-07T12:45:06.721" v="11" actId="1076"/>
          <ac:picMkLst>
            <pc:docMk/>
            <pc:sldMk cId="2316358039" sldId="325"/>
            <ac:picMk id="2" creationId="{69CF128B-0B09-4BF1-B2CA-1BA877B1F78B}"/>
          </ac:picMkLst>
        </pc:picChg>
      </pc:sldChg>
      <pc:sldChg chg="add del replId">
        <pc:chgData name="wei yuan" userId="S::pwy_92_hotmail.com#ext#@risebcg.onmicrosoft.com::ca38e7f8-9ace-4d94-b37a-86e65e91f2b0" providerId="AD" clId="Web-{BCBC7DAA-9194-4E0F-B355-1B8AC41DDAA0}" dt="2022-01-07T12:44:35.767" v="2"/>
        <pc:sldMkLst>
          <pc:docMk/>
          <pc:sldMk cId="3512342733" sldId="337"/>
        </pc:sldMkLst>
      </pc:sldChg>
      <pc:sldChg chg="add del replId">
        <pc:chgData name="wei yuan" userId="S::pwy_92_hotmail.com#ext#@risebcg.onmicrosoft.com::ca38e7f8-9ace-4d94-b37a-86e65e91f2b0" providerId="AD" clId="Web-{BCBC7DAA-9194-4E0F-B355-1B8AC41DDAA0}" dt="2022-01-07T12:44:39.048" v="3"/>
        <pc:sldMkLst>
          <pc:docMk/>
          <pc:sldMk cId="1930631681" sldId="338"/>
        </pc:sldMkLst>
      </pc:sldChg>
    </pc:docChg>
  </pc:docChgLst>
  <pc:docChgLst>
    <pc:chgData name="EVELYNSM.YONG" userId="S::evelynsm.yong_gmail.com#ext#@risebcg.onmicrosoft.com::67a27a72-2420-4d38-b745-316a53f4b99a" providerId="AD" clId="Web-{563C5F07-89ED-4C5B-9408-64EED2D8E2C5}"/>
    <pc:docChg chg="modSld">
      <pc:chgData name="EVELYNSM.YONG" userId="S::evelynsm.yong_gmail.com#ext#@risebcg.onmicrosoft.com::67a27a72-2420-4d38-b745-316a53f4b99a" providerId="AD" clId="Web-{563C5F07-89ED-4C5B-9408-64EED2D8E2C5}" dt="2022-01-11T04:00:48.607" v="2"/>
      <pc:docMkLst>
        <pc:docMk/>
      </pc:docMkLst>
      <pc:sldChg chg="addSp delSp">
        <pc:chgData name="EVELYNSM.YONG" userId="S::evelynsm.yong_gmail.com#ext#@risebcg.onmicrosoft.com::67a27a72-2420-4d38-b745-316a53f4b99a" providerId="AD" clId="Web-{563C5F07-89ED-4C5B-9408-64EED2D8E2C5}" dt="2022-01-11T04:00:14.169" v="1"/>
        <pc:sldMkLst>
          <pc:docMk/>
          <pc:sldMk cId="2256265757" sldId="315"/>
        </pc:sldMkLst>
        <pc:graphicFrameChg chg="del">
          <ac:chgData name="EVELYNSM.YONG" userId="S::evelynsm.yong_gmail.com#ext#@risebcg.onmicrosoft.com::67a27a72-2420-4d38-b745-316a53f4b99a" providerId="AD" clId="Web-{563C5F07-89ED-4C5B-9408-64EED2D8E2C5}" dt="2022-01-11T04:00:10.731" v="0"/>
          <ac:graphicFrameMkLst>
            <pc:docMk/>
            <pc:sldMk cId="2256265757" sldId="315"/>
            <ac:graphicFrameMk id="38" creationId="{2DAB4BA8-57FC-486D-A609-66F3FDCD540C}"/>
          </ac:graphicFrameMkLst>
        </pc:graphicFrameChg>
        <pc:graphicFrameChg chg="add">
          <ac:chgData name="EVELYNSM.YONG" userId="S::evelynsm.yong_gmail.com#ext#@risebcg.onmicrosoft.com::67a27a72-2420-4d38-b745-316a53f4b99a" providerId="AD" clId="Web-{563C5F07-89ED-4C5B-9408-64EED2D8E2C5}" dt="2022-01-11T04:00:14.169" v="1"/>
          <ac:graphicFrameMkLst>
            <pc:docMk/>
            <pc:sldMk cId="2256265757" sldId="315"/>
            <ac:graphicFrameMk id="52" creationId="{C255B91C-8C66-41AC-96CF-25F03474A6A9}"/>
          </ac:graphicFrameMkLst>
        </pc:graphicFrameChg>
      </pc:sldChg>
      <pc:sldChg chg="modSp">
        <pc:chgData name="EVELYNSM.YONG" userId="S::evelynsm.yong_gmail.com#ext#@risebcg.onmicrosoft.com::67a27a72-2420-4d38-b745-316a53f4b99a" providerId="AD" clId="Web-{563C5F07-89ED-4C5B-9408-64EED2D8E2C5}" dt="2022-01-11T04:00:48.607" v="2"/>
        <pc:sldMkLst>
          <pc:docMk/>
          <pc:sldMk cId="2761597836" sldId="317"/>
        </pc:sldMkLst>
        <pc:spChg chg="mod">
          <ac:chgData name="EVELYNSM.YONG" userId="S::evelynsm.yong_gmail.com#ext#@risebcg.onmicrosoft.com::67a27a72-2420-4d38-b745-316a53f4b99a" providerId="AD" clId="Web-{563C5F07-89ED-4C5B-9408-64EED2D8E2C5}" dt="2022-01-11T04:00:48.607" v="2"/>
          <ac:spMkLst>
            <pc:docMk/>
            <pc:sldMk cId="2761597836" sldId="317"/>
            <ac:spMk id="3" creationId="{3AAD55FA-63B7-4DBA-8DC0-293DEF7C309C}"/>
          </ac:spMkLst>
        </pc:spChg>
      </pc:sldChg>
    </pc:docChg>
  </pc:docChgLst>
  <pc:docChgLst>
    <pc:chgData name="wei yuan" userId="S::pwy_92_hotmail.com#ext#@risebcg.onmicrosoft.com::ca38e7f8-9ace-4d94-b37a-86e65e91f2b0" providerId="AD" clId="Web-{828BBC6C-4A81-498B-B039-8F85469C9F22}"/>
    <pc:docChg chg="modSld">
      <pc:chgData name="wei yuan" userId="S::pwy_92_hotmail.com#ext#@risebcg.onmicrosoft.com::ca38e7f8-9ace-4d94-b37a-86e65e91f2b0" providerId="AD" clId="Web-{828BBC6C-4A81-498B-B039-8F85469C9F22}" dt="2022-01-10T04:25:52.845" v="4" actId="1076"/>
      <pc:docMkLst>
        <pc:docMk/>
      </pc:docMkLst>
      <pc:sldChg chg="addSp delSp modSp">
        <pc:chgData name="wei yuan" userId="S::pwy_92_hotmail.com#ext#@risebcg.onmicrosoft.com::ca38e7f8-9ace-4d94-b37a-86e65e91f2b0" providerId="AD" clId="Web-{828BBC6C-4A81-498B-B039-8F85469C9F22}" dt="2022-01-10T04:25:52.845" v="4" actId="1076"/>
        <pc:sldMkLst>
          <pc:docMk/>
          <pc:sldMk cId="1894441827" sldId="358"/>
        </pc:sldMkLst>
        <pc:spChg chg="add del mod">
          <ac:chgData name="wei yuan" userId="S::pwy_92_hotmail.com#ext#@risebcg.onmicrosoft.com::ca38e7f8-9ace-4d94-b37a-86e65e91f2b0" providerId="AD" clId="Web-{828BBC6C-4A81-498B-B039-8F85469C9F22}" dt="2022-01-10T04:25:52.845" v="4" actId="1076"/>
          <ac:spMkLst>
            <pc:docMk/>
            <pc:sldMk cId="1894441827" sldId="358"/>
            <ac:spMk id="13" creationId="{E2455A5F-294A-4EA7-8956-A3DA20378328}"/>
          </ac:spMkLst>
        </pc:spChg>
      </pc:sldChg>
    </pc:docChg>
  </pc:docChgLst>
  <pc:docChgLst>
    <pc:chgData name="WONGYONGLIN91" userId="S::wongyonglin91_gmail.com#ext#@risebcg.onmicrosoft.com::b2d94f93-e580-4f0d-9dda-2138509d25ae" providerId="AD" clId="Web-{0EAB42A7-036F-4A14-8FB0-25A7DE98B9AA}"/>
    <pc:docChg chg="addSld delSld modSld sldOrd">
      <pc:chgData name="WONGYONGLIN91" userId="S::wongyonglin91_gmail.com#ext#@risebcg.onmicrosoft.com::b2d94f93-e580-4f0d-9dda-2138509d25ae" providerId="AD" clId="Web-{0EAB42A7-036F-4A14-8FB0-25A7DE98B9AA}" dt="2022-01-10T09:34:52.844" v="155" actId="20577"/>
      <pc:docMkLst>
        <pc:docMk/>
      </pc:docMkLst>
      <pc:sldChg chg="del">
        <pc:chgData name="WONGYONGLIN91" userId="S::wongyonglin91_gmail.com#ext#@risebcg.onmicrosoft.com::b2d94f93-e580-4f0d-9dda-2138509d25ae" providerId="AD" clId="Web-{0EAB42A7-036F-4A14-8FB0-25A7DE98B9AA}" dt="2022-01-10T08:58:16.890" v="23"/>
        <pc:sldMkLst>
          <pc:docMk/>
          <pc:sldMk cId="3295513976" sldId="262"/>
        </pc:sldMkLst>
      </pc:sldChg>
      <pc:sldChg chg="del">
        <pc:chgData name="WONGYONGLIN91" userId="S::wongyonglin91_gmail.com#ext#@risebcg.onmicrosoft.com::b2d94f93-e580-4f0d-9dda-2138509d25ae" providerId="AD" clId="Web-{0EAB42A7-036F-4A14-8FB0-25A7DE98B9AA}" dt="2022-01-10T08:59:13.641" v="30"/>
        <pc:sldMkLst>
          <pc:docMk/>
          <pc:sldMk cId="2651815169" sldId="283"/>
        </pc:sldMkLst>
      </pc:sldChg>
      <pc:sldChg chg="del">
        <pc:chgData name="WONGYONGLIN91" userId="S::wongyonglin91_gmail.com#ext#@risebcg.onmicrosoft.com::b2d94f93-e580-4f0d-9dda-2138509d25ae" providerId="AD" clId="Web-{0EAB42A7-036F-4A14-8FB0-25A7DE98B9AA}" dt="2022-01-10T08:58:37.968" v="27"/>
        <pc:sldMkLst>
          <pc:docMk/>
          <pc:sldMk cId="539976337" sldId="286"/>
        </pc:sldMkLst>
      </pc:sldChg>
      <pc:sldChg chg="del">
        <pc:chgData name="WONGYONGLIN91" userId="S::wongyonglin91_gmail.com#ext#@risebcg.onmicrosoft.com::b2d94f93-e580-4f0d-9dda-2138509d25ae" providerId="AD" clId="Web-{0EAB42A7-036F-4A14-8FB0-25A7DE98B9AA}" dt="2022-01-10T08:58:18.749" v="24"/>
        <pc:sldMkLst>
          <pc:docMk/>
          <pc:sldMk cId="2422572169" sldId="288"/>
        </pc:sldMkLst>
      </pc:sldChg>
      <pc:sldChg chg="del">
        <pc:chgData name="WONGYONGLIN91" userId="S::wongyonglin91_gmail.com#ext#@risebcg.onmicrosoft.com::b2d94f93-e580-4f0d-9dda-2138509d25ae" providerId="AD" clId="Web-{0EAB42A7-036F-4A14-8FB0-25A7DE98B9AA}" dt="2022-01-10T08:58:13.343" v="21"/>
        <pc:sldMkLst>
          <pc:docMk/>
          <pc:sldMk cId="2840975703" sldId="289"/>
        </pc:sldMkLst>
      </pc:sldChg>
      <pc:sldChg chg="del">
        <pc:chgData name="WONGYONGLIN91" userId="S::wongyonglin91_gmail.com#ext#@risebcg.onmicrosoft.com::b2d94f93-e580-4f0d-9dda-2138509d25ae" providerId="AD" clId="Web-{0EAB42A7-036F-4A14-8FB0-25A7DE98B9AA}" dt="2022-01-10T08:58:32.015" v="26"/>
        <pc:sldMkLst>
          <pc:docMk/>
          <pc:sldMk cId="2555850817" sldId="290"/>
        </pc:sldMkLst>
      </pc:sldChg>
      <pc:sldChg chg="del">
        <pc:chgData name="WONGYONGLIN91" userId="S::wongyonglin91_gmail.com#ext#@risebcg.onmicrosoft.com::b2d94f93-e580-4f0d-9dda-2138509d25ae" providerId="AD" clId="Web-{0EAB42A7-036F-4A14-8FB0-25A7DE98B9AA}" dt="2022-01-10T08:58:14.608" v="22"/>
        <pc:sldMkLst>
          <pc:docMk/>
          <pc:sldMk cId="1509380057" sldId="291"/>
        </pc:sldMkLst>
      </pc:sldChg>
      <pc:sldChg chg="del">
        <pc:chgData name="WONGYONGLIN91" userId="S::wongyonglin91_gmail.com#ext#@risebcg.onmicrosoft.com::b2d94f93-e580-4f0d-9dda-2138509d25ae" providerId="AD" clId="Web-{0EAB42A7-036F-4A14-8FB0-25A7DE98B9AA}" dt="2022-01-10T08:57:29.795" v="19"/>
        <pc:sldMkLst>
          <pc:docMk/>
          <pc:sldMk cId="32296890" sldId="293"/>
        </pc:sldMkLst>
      </pc:sldChg>
      <pc:sldChg chg="del">
        <pc:chgData name="WONGYONGLIN91" userId="S::wongyonglin91_gmail.com#ext#@risebcg.onmicrosoft.com::b2d94f93-e580-4f0d-9dda-2138509d25ae" providerId="AD" clId="Web-{0EAB42A7-036F-4A14-8FB0-25A7DE98B9AA}" dt="2022-01-10T08:57:25.545" v="18"/>
        <pc:sldMkLst>
          <pc:docMk/>
          <pc:sldMk cId="2864801151" sldId="294"/>
        </pc:sldMkLst>
      </pc:sldChg>
      <pc:sldChg chg="del">
        <pc:chgData name="WONGYONGLIN91" userId="S::wongyonglin91_gmail.com#ext#@risebcg.onmicrosoft.com::b2d94f93-e580-4f0d-9dda-2138509d25ae" providerId="AD" clId="Web-{0EAB42A7-036F-4A14-8FB0-25A7DE98B9AA}" dt="2022-01-10T08:58:28.530" v="25"/>
        <pc:sldMkLst>
          <pc:docMk/>
          <pc:sldMk cId="744766544" sldId="295"/>
        </pc:sldMkLst>
      </pc:sldChg>
      <pc:sldChg chg="del">
        <pc:chgData name="WONGYONGLIN91" userId="S::wongyonglin91_gmail.com#ext#@risebcg.onmicrosoft.com::b2d94f93-e580-4f0d-9dda-2138509d25ae" providerId="AD" clId="Web-{0EAB42A7-036F-4A14-8FB0-25A7DE98B9AA}" dt="2022-01-10T08:58:12.577" v="20"/>
        <pc:sldMkLst>
          <pc:docMk/>
          <pc:sldMk cId="1146848289" sldId="296"/>
        </pc:sldMkLst>
      </pc:sldChg>
      <pc:sldChg chg="del">
        <pc:chgData name="WONGYONGLIN91" userId="S::wongyonglin91_gmail.com#ext#@risebcg.onmicrosoft.com::b2d94f93-e580-4f0d-9dda-2138509d25ae" providerId="AD" clId="Web-{0EAB42A7-036F-4A14-8FB0-25A7DE98B9AA}" dt="2022-01-10T08:58:40.796" v="28"/>
        <pc:sldMkLst>
          <pc:docMk/>
          <pc:sldMk cId="1165460783" sldId="299"/>
        </pc:sldMkLst>
      </pc:sldChg>
      <pc:sldChg chg="del">
        <pc:chgData name="WONGYONGLIN91" userId="S::wongyonglin91_gmail.com#ext#@risebcg.onmicrosoft.com::b2d94f93-e580-4f0d-9dda-2138509d25ae" providerId="AD" clId="Web-{0EAB42A7-036F-4A14-8FB0-25A7DE98B9AA}" dt="2022-01-10T08:57:22.857" v="17"/>
        <pc:sldMkLst>
          <pc:docMk/>
          <pc:sldMk cId="2307665363" sldId="309"/>
        </pc:sldMkLst>
      </pc:sldChg>
      <pc:sldChg chg="addSp delSp modSp">
        <pc:chgData name="WONGYONGLIN91" userId="S::wongyonglin91_gmail.com#ext#@risebcg.onmicrosoft.com::b2d94f93-e580-4f0d-9dda-2138509d25ae" providerId="AD" clId="Web-{0EAB42A7-036F-4A14-8FB0-25A7DE98B9AA}" dt="2022-01-10T08:56:20.090" v="16" actId="20577"/>
        <pc:sldMkLst>
          <pc:docMk/>
          <pc:sldMk cId="2761597836" sldId="317"/>
        </pc:sldMkLst>
        <pc:spChg chg="mod">
          <ac:chgData name="WONGYONGLIN91" userId="S::wongyonglin91_gmail.com#ext#@risebcg.onmicrosoft.com::b2d94f93-e580-4f0d-9dda-2138509d25ae" providerId="AD" clId="Web-{0EAB42A7-036F-4A14-8FB0-25A7DE98B9AA}" dt="2022-01-10T08:56:20.090" v="16" actId="20577"/>
          <ac:spMkLst>
            <pc:docMk/>
            <pc:sldMk cId="2761597836" sldId="317"/>
            <ac:spMk id="3" creationId="{3AAD55FA-63B7-4DBA-8DC0-293DEF7C309C}"/>
          </ac:spMkLst>
        </pc:spChg>
        <pc:picChg chg="del">
          <ac:chgData name="WONGYONGLIN91" userId="S::wongyonglin91_gmail.com#ext#@risebcg.onmicrosoft.com::b2d94f93-e580-4f0d-9dda-2138509d25ae" providerId="AD" clId="Web-{0EAB42A7-036F-4A14-8FB0-25A7DE98B9AA}" dt="2022-01-10T08:55:47.761" v="2"/>
          <ac:picMkLst>
            <pc:docMk/>
            <pc:sldMk cId="2761597836" sldId="317"/>
            <ac:picMk id="4" creationId="{B052766A-13D1-4657-87F7-23139C8B3360}"/>
          </ac:picMkLst>
        </pc:picChg>
        <pc:picChg chg="add mod">
          <ac:chgData name="WONGYONGLIN91" userId="S::wongyonglin91_gmail.com#ext#@risebcg.onmicrosoft.com::b2d94f93-e580-4f0d-9dda-2138509d25ae" providerId="AD" clId="Web-{0EAB42A7-036F-4A14-8FB0-25A7DE98B9AA}" dt="2022-01-10T08:55:56.293" v="4" actId="14100"/>
          <ac:picMkLst>
            <pc:docMk/>
            <pc:sldMk cId="2761597836" sldId="317"/>
            <ac:picMk id="5" creationId="{EFAB945F-9334-4743-9C72-A318D57D242D}"/>
          </ac:picMkLst>
        </pc:picChg>
      </pc:sldChg>
      <pc:sldChg chg="del">
        <pc:chgData name="WONGYONGLIN91" userId="S::wongyonglin91_gmail.com#ext#@risebcg.onmicrosoft.com::b2d94f93-e580-4f0d-9dda-2138509d25ae" providerId="AD" clId="Web-{0EAB42A7-036F-4A14-8FB0-25A7DE98B9AA}" dt="2022-01-10T08:59:00" v="29"/>
        <pc:sldMkLst>
          <pc:docMk/>
          <pc:sldMk cId="1791060006" sldId="319"/>
        </pc:sldMkLst>
      </pc:sldChg>
      <pc:sldChg chg="ord">
        <pc:chgData name="WONGYONGLIN91" userId="S::wongyonglin91_gmail.com#ext#@risebcg.onmicrosoft.com::b2d94f93-e580-4f0d-9dda-2138509d25ae" providerId="AD" clId="Web-{0EAB42A7-036F-4A14-8FB0-25A7DE98B9AA}" dt="2022-01-10T09:26:16.629" v="31"/>
        <pc:sldMkLst>
          <pc:docMk/>
          <pc:sldMk cId="3971465157" sldId="345"/>
        </pc:sldMkLst>
      </pc:sldChg>
      <pc:sldChg chg="ord">
        <pc:chgData name="WONGYONGLIN91" userId="S::wongyonglin91_gmail.com#ext#@risebcg.onmicrosoft.com::b2d94f93-e580-4f0d-9dda-2138509d25ae" providerId="AD" clId="Web-{0EAB42A7-036F-4A14-8FB0-25A7DE98B9AA}" dt="2022-01-10T09:26:16.629" v="32"/>
        <pc:sldMkLst>
          <pc:docMk/>
          <pc:sldMk cId="2149037765" sldId="346"/>
        </pc:sldMkLst>
      </pc:sldChg>
      <pc:sldChg chg="modSp new">
        <pc:chgData name="WONGYONGLIN91" userId="S::wongyonglin91_gmail.com#ext#@risebcg.onmicrosoft.com::b2d94f93-e580-4f0d-9dda-2138509d25ae" providerId="AD" clId="Web-{0EAB42A7-036F-4A14-8FB0-25A7DE98B9AA}" dt="2022-01-10T09:34:48.125" v="143" actId="20577"/>
        <pc:sldMkLst>
          <pc:docMk/>
          <pc:sldMk cId="3758978858" sldId="379"/>
        </pc:sldMkLst>
        <pc:spChg chg="mod">
          <ac:chgData name="WONGYONGLIN91" userId="S::wongyonglin91_gmail.com#ext#@risebcg.onmicrosoft.com::b2d94f93-e580-4f0d-9dda-2138509d25ae" providerId="AD" clId="Web-{0EAB42A7-036F-4A14-8FB0-25A7DE98B9AA}" dt="2022-01-10T09:34:48.125" v="143" actId="20577"/>
          <ac:spMkLst>
            <pc:docMk/>
            <pc:sldMk cId="3758978858" sldId="379"/>
            <ac:spMk id="2" creationId="{C8764925-553F-46C0-AD49-7EDC41FA393B}"/>
          </ac:spMkLst>
        </pc:spChg>
      </pc:sldChg>
      <pc:sldChg chg="modSp add replId">
        <pc:chgData name="WONGYONGLIN91" userId="S::wongyonglin91_gmail.com#ext#@risebcg.onmicrosoft.com::b2d94f93-e580-4f0d-9dda-2138509d25ae" providerId="AD" clId="Web-{0EAB42A7-036F-4A14-8FB0-25A7DE98B9AA}" dt="2022-01-10T09:34:52.844" v="155" actId="20577"/>
        <pc:sldMkLst>
          <pc:docMk/>
          <pc:sldMk cId="1926172623" sldId="380"/>
        </pc:sldMkLst>
        <pc:spChg chg="mod">
          <ac:chgData name="WONGYONGLIN91" userId="S::wongyonglin91_gmail.com#ext#@risebcg.onmicrosoft.com::b2d94f93-e580-4f0d-9dda-2138509d25ae" providerId="AD" clId="Web-{0EAB42A7-036F-4A14-8FB0-25A7DE98B9AA}" dt="2022-01-10T09:34:52.844" v="155" actId="20577"/>
          <ac:spMkLst>
            <pc:docMk/>
            <pc:sldMk cId="1926172623" sldId="380"/>
            <ac:spMk id="2" creationId="{C8764925-553F-46C0-AD49-7EDC41FA393B}"/>
          </ac:spMkLst>
        </pc:spChg>
      </pc:sldChg>
    </pc:docChg>
  </pc:docChgLst>
  <pc:docChgLst>
    <pc:chgData name="WONGYONGLIN91" userId="S::wongyonglin91_gmail.com#ext#@risebcg.onmicrosoft.com::b2d94f93-e580-4f0d-9dda-2138509d25ae" providerId="AD" clId="Web-{C2689611-F562-4134-AD43-73D7DCE046D6}"/>
    <pc:docChg chg="addSld modSld sldOrd">
      <pc:chgData name="WONGYONGLIN91" userId="S::wongyonglin91_gmail.com#ext#@risebcg.onmicrosoft.com::b2d94f93-e580-4f0d-9dda-2138509d25ae" providerId="AD" clId="Web-{C2689611-F562-4134-AD43-73D7DCE046D6}" dt="2022-01-10T08:43:10.639" v="75"/>
      <pc:docMkLst>
        <pc:docMk/>
      </pc:docMkLst>
      <pc:sldChg chg="ord">
        <pc:chgData name="WONGYONGLIN91" userId="S::wongyonglin91_gmail.com#ext#@risebcg.onmicrosoft.com::b2d94f93-e580-4f0d-9dda-2138509d25ae" providerId="AD" clId="Web-{C2689611-F562-4134-AD43-73D7DCE046D6}" dt="2022-01-10T05:42:31.593" v="0"/>
        <pc:sldMkLst>
          <pc:docMk/>
          <pc:sldMk cId="165658709" sldId="355"/>
        </pc:sldMkLst>
      </pc:sldChg>
      <pc:sldChg chg="modNotes">
        <pc:chgData name="WONGYONGLIN91" userId="S::wongyonglin91_gmail.com#ext#@risebcg.onmicrosoft.com::b2d94f93-e580-4f0d-9dda-2138509d25ae" providerId="AD" clId="Web-{C2689611-F562-4134-AD43-73D7DCE046D6}" dt="2022-01-10T07:03:38.546" v="57"/>
        <pc:sldMkLst>
          <pc:docMk/>
          <pc:sldMk cId="1894441827" sldId="358"/>
        </pc:sldMkLst>
      </pc:sldChg>
      <pc:sldChg chg="addSp delSp modSp add replId">
        <pc:chgData name="WONGYONGLIN91" userId="S::wongyonglin91_gmail.com#ext#@risebcg.onmicrosoft.com::b2d94f93-e580-4f0d-9dda-2138509d25ae" providerId="AD" clId="Web-{C2689611-F562-4134-AD43-73D7DCE046D6}" dt="2022-01-10T07:07:58.202" v="74" actId="20577"/>
        <pc:sldMkLst>
          <pc:docMk/>
          <pc:sldMk cId="3295041884" sldId="369"/>
        </pc:sldMkLst>
        <pc:spChg chg="mod">
          <ac:chgData name="WONGYONGLIN91" userId="S::wongyonglin91_gmail.com#ext#@risebcg.onmicrosoft.com::b2d94f93-e580-4f0d-9dda-2138509d25ae" providerId="AD" clId="Web-{C2689611-F562-4134-AD43-73D7DCE046D6}" dt="2022-01-10T06:39:37.862" v="12" actId="20577"/>
          <ac:spMkLst>
            <pc:docMk/>
            <pc:sldMk cId="3295041884" sldId="369"/>
            <ac:spMk id="4" creationId="{19708EDC-3A90-4EC0-A789-51301070BDC6}"/>
          </ac:spMkLst>
        </pc:spChg>
        <pc:spChg chg="mod">
          <ac:chgData name="WONGYONGLIN91" userId="S::wongyonglin91_gmail.com#ext#@risebcg.onmicrosoft.com::b2d94f93-e580-4f0d-9dda-2138509d25ae" providerId="AD" clId="Web-{C2689611-F562-4134-AD43-73D7DCE046D6}" dt="2022-01-10T07:07:42.936" v="63" actId="20577"/>
          <ac:spMkLst>
            <pc:docMk/>
            <pc:sldMk cId="3295041884" sldId="369"/>
            <ac:spMk id="7" creationId="{5040411B-0A54-429E-94AB-0F4DA7C1917E}"/>
          </ac:spMkLst>
        </pc:spChg>
        <pc:spChg chg="mod">
          <ac:chgData name="WONGYONGLIN91" userId="S::wongyonglin91_gmail.com#ext#@risebcg.onmicrosoft.com::b2d94f93-e580-4f0d-9dda-2138509d25ae" providerId="AD" clId="Web-{C2689611-F562-4134-AD43-73D7DCE046D6}" dt="2022-01-10T07:07:58.202" v="74" actId="20577"/>
          <ac:spMkLst>
            <pc:docMk/>
            <pc:sldMk cId="3295041884" sldId="369"/>
            <ac:spMk id="12" creationId="{844D08C5-3EE5-4BAC-9392-6CA8001CAD4E}"/>
          </ac:spMkLst>
        </pc:spChg>
        <pc:spChg chg="del">
          <ac:chgData name="WONGYONGLIN91" userId="S::wongyonglin91_gmail.com#ext#@risebcg.onmicrosoft.com::b2d94f93-e580-4f0d-9dda-2138509d25ae" providerId="AD" clId="Web-{C2689611-F562-4134-AD43-73D7DCE046D6}" dt="2022-01-10T06:39:42.331" v="14"/>
          <ac:spMkLst>
            <pc:docMk/>
            <pc:sldMk cId="3295041884" sldId="369"/>
            <ac:spMk id="13" creationId="{003E35E4-DB87-4D35-8663-60FF12DD7B69}"/>
          </ac:spMkLst>
        </pc:spChg>
        <pc:spChg chg="mod">
          <ac:chgData name="WONGYONGLIN91" userId="S::wongyonglin91_gmail.com#ext#@risebcg.onmicrosoft.com::b2d94f93-e580-4f0d-9dda-2138509d25ae" providerId="AD" clId="Web-{C2689611-F562-4134-AD43-73D7DCE046D6}" dt="2022-01-10T06:39:45.409" v="16" actId="20577"/>
          <ac:spMkLst>
            <pc:docMk/>
            <pc:sldMk cId="3295041884" sldId="369"/>
            <ac:spMk id="14" creationId="{CD92118D-BCDA-4C90-B9D2-09972FA65EE3}"/>
          </ac:spMkLst>
        </pc:spChg>
        <pc:spChg chg="del">
          <ac:chgData name="WONGYONGLIN91" userId="S::wongyonglin91_gmail.com#ext#@risebcg.onmicrosoft.com::b2d94f93-e580-4f0d-9dda-2138509d25ae" providerId="AD" clId="Web-{C2689611-F562-4134-AD43-73D7DCE046D6}" dt="2022-01-10T06:39:58.910" v="21"/>
          <ac:spMkLst>
            <pc:docMk/>
            <pc:sldMk cId="3295041884" sldId="369"/>
            <ac:spMk id="21" creationId="{46156451-ECB4-4520-895C-009D1F9E8343}"/>
          </ac:spMkLst>
        </pc:spChg>
        <pc:spChg chg="del">
          <ac:chgData name="WONGYONGLIN91" userId="S::wongyonglin91_gmail.com#ext#@risebcg.onmicrosoft.com::b2d94f93-e580-4f0d-9dda-2138509d25ae" providerId="AD" clId="Web-{C2689611-F562-4134-AD43-73D7DCE046D6}" dt="2022-01-10T06:39:56.535" v="20"/>
          <ac:spMkLst>
            <pc:docMk/>
            <pc:sldMk cId="3295041884" sldId="369"/>
            <ac:spMk id="23" creationId="{437837FB-28C6-4D49-A0CB-199C96E6B187}"/>
          </ac:spMkLst>
        </pc:spChg>
        <pc:spChg chg="mod">
          <ac:chgData name="WONGYONGLIN91" userId="S::wongyonglin91_gmail.com#ext#@risebcg.onmicrosoft.com::b2d94f93-e580-4f0d-9dda-2138509d25ae" providerId="AD" clId="Web-{C2689611-F562-4134-AD43-73D7DCE046D6}" dt="2022-01-10T07:07:15.715" v="58" actId="20577"/>
          <ac:spMkLst>
            <pc:docMk/>
            <pc:sldMk cId="3295041884" sldId="369"/>
            <ac:spMk id="25" creationId="{A72C66DB-3DFA-4DD0-BB16-94A4A31F5E94}"/>
          </ac:spMkLst>
        </pc:spChg>
        <pc:spChg chg="del">
          <ac:chgData name="WONGYONGLIN91" userId="S::wongyonglin91_gmail.com#ext#@risebcg.onmicrosoft.com::b2d94f93-e580-4f0d-9dda-2138509d25ae" providerId="AD" clId="Web-{C2689611-F562-4134-AD43-73D7DCE046D6}" dt="2022-01-10T06:39:40.752" v="13"/>
          <ac:spMkLst>
            <pc:docMk/>
            <pc:sldMk cId="3295041884" sldId="369"/>
            <ac:spMk id="26" creationId="{22DD1760-D9EC-405F-9AAD-63EC690DC033}"/>
          </ac:spMkLst>
        </pc:spChg>
        <pc:spChg chg="del mod">
          <ac:chgData name="WONGYONGLIN91" userId="S::wongyonglin91_gmail.com#ext#@risebcg.onmicrosoft.com::b2d94f93-e580-4f0d-9dda-2138509d25ae" providerId="AD" clId="Web-{C2689611-F562-4134-AD43-73D7DCE046D6}" dt="2022-01-10T06:39:53.488" v="19"/>
          <ac:spMkLst>
            <pc:docMk/>
            <pc:sldMk cId="3295041884" sldId="369"/>
            <ac:spMk id="27" creationId="{B2BF4484-08EE-483A-BA89-BC8EDC410538}"/>
          </ac:spMkLst>
        </pc:spChg>
        <pc:picChg chg="del">
          <ac:chgData name="WONGYONGLIN91" userId="S::wongyonglin91_gmail.com#ext#@risebcg.onmicrosoft.com::b2d94f93-e580-4f0d-9dda-2138509d25ae" providerId="AD" clId="Web-{C2689611-F562-4134-AD43-73D7DCE046D6}" dt="2022-01-10T06:39:15.595" v="2"/>
          <ac:picMkLst>
            <pc:docMk/>
            <pc:sldMk cId="3295041884" sldId="369"/>
            <ac:picMk id="2" creationId="{BD070F67-C046-4FA4-BC49-57AF06A15A77}"/>
          </ac:picMkLst>
        </pc:picChg>
        <pc:picChg chg="add mod">
          <ac:chgData name="WONGYONGLIN91" userId="S::wongyonglin91_gmail.com#ext#@risebcg.onmicrosoft.com::b2d94f93-e580-4f0d-9dda-2138509d25ae" providerId="AD" clId="Web-{C2689611-F562-4134-AD43-73D7DCE046D6}" dt="2022-01-10T07:07:29.654" v="61" actId="14100"/>
          <ac:picMkLst>
            <pc:docMk/>
            <pc:sldMk cId="3295041884" sldId="369"/>
            <ac:picMk id="3" creationId="{5DEAADBB-8BEB-4916-8B81-E680A113BDAC}"/>
          </ac:picMkLst>
        </pc:picChg>
        <pc:picChg chg="del">
          <ac:chgData name="WONGYONGLIN91" userId="S::wongyonglin91_gmail.com#ext#@risebcg.onmicrosoft.com::b2d94f93-e580-4f0d-9dda-2138509d25ae" providerId="AD" clId="Web-{C2689611-F562-4134-AD43-73D7DCE046D6}" dt="2022-01-10T06:39:26.892" v="3"/>
          <ac:picMkLst>
            <pc:docMk/>
            <pc:sldMk cId="3295041884" sldId="369"/>
            <ac:picMk id="11" creationId="{CD86A313-65D2-4D12-B76F-922156737525}"/>
          </ac:picMkLst>
        </pc:picChg>
        <pc:picChg chg="del">
          <ac:chgData name="WONGYONGLIN91" userId="S::wongyonglin91_gmail.com#ext#@risebcg.onmicrosoft.com::b2d94f93-e580-4f0d-9dda-2138509d25ae" providerId="AD" clId="Web-{C2689611-F562-4134-AD43-73D7DCE046D6}" dt="2022-01-10T06:39:28.377" v="4"/>
          <ac:picMkLst>
            <pc:docMk/>
            <pc:sldMk cId="3295041884" sldId="369"/>
            <ac:picMk id="15" creationId="{5D59DB1C-172C-47ED-95FD-1E3F001466CE}"/>
          </ac:picMkLst>
        </pc:picChg>
      </pc:sldChg>
      <pc:sldChg chg="new">
        <pc:chgData name="WONGYONGLIN91" userId="S::wongyonglin91_gmail.com#ext#@risebcg.onmicrosoft.com::b2d94f93-e580-4f0d-9dda-2138509d25ae" providerId="AD" clId="Web-{C2689611-F562-4134-AD43-73D7DCE046D6}" dt="2022-01-10T08:43:10.639" v="75"/>
        <pc:sldMkLst>
          <pc:docMk/>
          <pc:sldMk cId="3904895489" sldId="373"/>
        </pc:sldMkLst>
      </pc:sldChg>
    </pc:docChg>
  </pc:docChgLst>
  <pc:docChgLst>
    <pc:chgData name="WESLEY.TBW" userId="S::wesley.tbw_gmail.com#ext#@risebcg.onmicrosoft.com::1034df62-ee6d-4b2f-8a56-03c4406a0a8a" providerId="AD" clId="Web-{5F7935B9-78CB-4A7B-8139-79A142C00EBF}"/>
    <pc:docChg chg="modSld">
      <pc:chgData name="WESLEY.TBW" userId="S::wesley.tbw_gmail.com#ext#@risebcg.onmicrosoft.com::1034df62-ee6d-4b2f-8a56-03c4406a0a8a" providerId="AD" clId="Web-{5F7935B9-78CB-4A7B-8139-79A142C00EBF}" dt="2022-01-09T15:56:37.966" v="2248"/>
      <pc:docMkLst>
        <pc:docMk/>
      </pc:docMkLst>
      <pc:sldChg chg="modNotes">
        <pc:chgData name="WESLEY.TBW" userId="S::wesley.tbw_gmail.com#ext#@risebcg.onmicrosoft.com::1034df62-ee6d-4b2f-8a56-03c4406a0a8a" providerId="AD" clId="Web-{5F7935B9-78CB-4A7B-8139-79A142C00EBF}" dt="2022-01-09T14:17:42.437" v="209"/>
        <pc:sldMkLst>
          <pc:docMk/>
          <pc:sldMk cId="2256265757" sldId="315"/>
        </pc:sldMkLst>
      </pc:sldChg>
      <pc:sldChg chg="modNotes">
        <pc:chgData name="WESLEY.TBW" userId="S::wesley.tbw_gmail.com#ext#@risebcg.onmicrosoft.com::1034df62-ee6d-4b2f-8a56-03c4406a0a8a" providerId="AD" clId="Web-{5F7935B9-78CB-4A7B-8139-79A142C00EBF}" dt="2022-01-09T14:11:09.020" v="205"/>
        <pc:sldMkLst>
          <pc:docMk/>
          <pc:sldMk cId="4084366951" sldId="318"/>
        </pc:sldMkLst>
      </pc:sldChg>
      <pc:sldChg chg="modNotes">
        <pc:chgData name="WESLEY.TBW" userId="S::wesley.tbw_gmail.com#ext#@risebcg.onmicrosoft.com::1034df62-ee6d-4b2f-8a56-03c4406a0a8a" providerId="AD" clId="Web-{5F7935B9-78CB-4A7B-8139-79A142C00EBF}" dt="2022-01-09T14:46:42.393" v="483"/>
        <pc:sldMkLst>
          <pc:docMk/>
          <pc:sldMk cId="1249418479" sldId="334"/>
        </pc:sldMkLst>
      </pc:sldChg>
      <pc:sldChg chg="addSp delSp modSp modTransition addAnim delAnim modAnim modNotes">
        <pc:chgData name="WESLEY.TBW" userId="S::wesley.tbw_gmail.com#ext#@risebcg.onmicrosoft.com::1034df62-ee6d-4b2f-8a56-03c4406a0a8a" providerId="AD" clId="Web-{5F7935B9-78CB-4A7B-8139-79A142C00EBF}" dt="2022-01-09T15:56:37.966" v="2248"/>
        <pc:sldMkLst>
          <pc:docMk/>
          <pc:sldMk cId="4159389698" sldId="342"/>
        </pc:sldMkLst>
        <pc:spChg chg="mod">
          <ac:chgData name="WESLEY.TBW" userId="S::wesley.tbw_gmail.com#ext#@risebcg.onmicrosoft.com::1034df62-ee6d-4b2f-8a56-03c4406a0a8a" providerId="AD" clId="Web-{5F7935B9-78CB-4A7B-8139-79A142C00EBF}" dt="2022-01-09T15:24:35.583" v="1197" actId="1076"/>
          <ac:spMkLst>
            <pc:docMk/>
            <pc:sldMk cId="4159389698" sldId="342"/>
            <ac:spMk id="2" creationId="{080435EA-AD4F-4934-83BC-D5D53AFD93E9}"/>
          </ac:spMkLst>
        </pc:spChg>
        <pc:spChg chg="add del mod">
          <ac:chgData name="WESLEY.TBW" userId="S::wesley.tbw_gmail.com#ext#@risebcg.onmicrosoft.com::1034df62-ee6d-4b2f-8a56-03c4406a0a8a" providerId="AD" clId="Web-{5F7935B9-78CB-4A7B-8139-79A142C00EBF}" dt="2022-01-09T14:26:41.734" v="234"/>
          <ac:spMkLst>
            <pc:docMk/>
            <pc:sldMk cId="4159389698" sldId="342"/>
            <ac:spMk id="3" creationId="{4C8457A8-B691-407D-BC43-B19F0CE0FA1A}"/>
          </ac:spMkLst>
        </pc:spChg>
        <pc:spChg chg="add del">
          <ac:chgData name="WESLEY.TBW" userId="S::wesley.tbw_gmail.com#ext#@risebcg.onmicrosoft.com::1034df62-ee6d-4b2f-8a56-03c4406a0a8a" providerId="AD" clId="Web-{5F7935B9-78CB-4A7B-8139-79A142C00EBF}" dt="2022-01-09T14:56:03.690" v="653"/>
          <ac:spMkLst>
            <pc:docMk/>
            <pc:sldMk cId="4159389698" sldId="342"/>
            <ac:spMk id="7" creationId="{45BDF008-A42D-489B-BC6B-3CD104825912}"/>
          </ac:spMkLst>
        </pc:spChg>
        <pc:spChg chg="add del">
          <ac:chgData name="WESLEY.TBW" userId="S::wesley.tbw_gmail.com#ext#@risebcg.onmicrosoft.com::1034df62-ee6d-4b2f-8a56-03c4406a0a8a" providerId="AD" clId="Web-{5F7935B9-78CB-4A7B-8139-79A142C00EBF}" dt="2022-01-09T14:56:07.893" v="655"/>
          <ac:spMkLst>
            <pc:docMk/>
            <pc:sldMk cId="4159389698" sldId="342"/>
            <ac:spMk id="8" creationId="{95D54CAB-95DB-4E15-A77B-4244F535CC05}"/>
          </ac:spMkLst>
        </pc:spChg>
        <pc:spChg chg="mod">
          <ac:chgData name="WESLEY.TBW" userId="S::wesley.tbw_gmail.com#ext#@risebcg.onmicrosoft.com::1034df62-ee6d-4b2f-8a56-03c4406a0a8a" providerId="AD" clId="Web-{5F7935B9-78CB-4A7B-8139-79A142C00EBF}" dt="2022-01-09T15:08:27.836" v="887" actId="1076"/>
          <ac:spMkLst>
            <pc:docMk/>
            <pc:sldMk cId="4159389698" sldId="342"/>
            <ac:spMk id="9" creationId="{E953D56B-E197-4EF3-86AC-EB83FF562830}"/>
          </ac:spMkLst>
        </pc:spChg>
        <pc:spChg chg="mod">
          <ac:chgData name="WESLEY.TBW" userId="S::wesley.tbw_gmail.com#ext#@risebcg.onmicrosoft.com::1034df62-ee6d-4b2f-8a56-03c4406a0a8a" providerId="AD" clId="Web-{5F7935B9-78CB-4A7B-8139-79A142C00EBF}" dt="2022-01-09T15:08:23.883" v="885" actId="1076"/>
          <ac:spMkLst>
            <pc:docMk/>
            <pc:sldMk cId="4159389698" sldId="342"/>
            <ac:spMk id="10" creationId="{A949E116-7148-4CA9-A41F-83DB47255D80}"/>
          </ac:spMkLst>
        </pc:spChg>
        <pc:spChg chg="mod">
          <ac:chgData name="WESLEY.TBW" userId="S::wesley.tbw_gmail.com#ext#@risebcg.onmicrosoft.com::1034df62-ee6d-4b2f-8a56-03c4406a0a8a" providerId="AD" clId="Web-{5F7935B9-78CB-4A7B-8139-79A142C00EBF}" dt="2022-01-09T15:03:35.359" v="786" actId="14100"/>
          <ac:spMkLst>
            <pc:docMk/>
            <pc:sldMk cId="4159389698" sldId="342"/>
            <ac:spMk id="12" creationId="{AAEC2426-37C0-4083-9090-89DDF94F295F}"/>
          </ac:spMkLst>
        </pc:spChg>
        <pc:spChg chg="add mod topLvl">
          <ac:chgData name="WESLEY.TBW" userId="S::wesley.tbw_gmail.com#ext#@risebcg.onmicrosoft.com::1034df62-ee6d-4b2f-8a56-03c4406a0a8a" providerId="AD" clId="Web-{5F7935B9-78CB-4A7B-8139-79A142C00EBF}" dt="2022-01-09T15:18:26.291" v="1033"/>
          <ac:spMkLst>
            <pc:docMk/>
            <pc:sldMk cId="4159389698" sldId="342"/>
            <ac:spMk id="17" creationId="{6FDF350C-C97C-400B-B87D-6901DDEB82E0}"/>
          </ac:spMkLst>
        </pc:spChg>
        <pc:spChg chg="add mod topLvl">
          <ac:chgData name="WESLEY.TBW" userId="S::wesley.tbw_gmail.com#ext#@risebcg.onmicrosoft.com::1034df62-ee6d-4b2f-8a56-03c4406a0a8a" providerId="AD" clId="Web-{5F7935B9-78CB-4A7B-8139-79A142C00EBF}" dt="2022-01-09T15:18:26.291" v="1033"/>
          <ac:spMkLst>
            <pc:docMk/>
            <pc:sldMk cId="4159389698" sldId="342"/>
            <ac:spMk id="18" creationId="{3C4A1E42-C144-4D19-AD56-DC9E3BC28DA6}"/>
          </ac:spMkLst>
        </pc:spChg>
        <pc:spChg chg="add mod">
          <ac:chgData name="WESLEY.TBW" userId="S::wesley.tbw_gmail.com#ext#@risebcg.onmicrosoft.com::1034df62-ee6d-4b2f-8a56-03c4406a0a8a" providerId="AD" clId="Web-{5F7935B9-78CB-4A7B-8139-79A142C00EBF}" dt="2022-01-09T15:04:58.565" v="809" actId="1076"/>
          <ac:spMkLst>
            <pc:docMk/>
            <pc:sldMk cId="4159389698" sldId="342"/>
            <ac:spMk id="19" creationId="{3AD73E51-E951-474F-9A5D-F6D82A01A37E}"/>
          </ac:spMkLst>
        </pc:spChg>
        <pc:spChg chg="add mod">
          <ac:chgData name="WESLEY.TBW" userId="S::wesley.tbw_gmail.com#ext#@risebcg.onmicrosoft.com::1034df62-ee6d-4b2f-8a56-03c4406a0a8a" providerId="AD" clId="Web-{5F7935B9-78CB-4A7B-8139-79A142C00EBF}" dt="2022-01-09T15:04:44.236" v="804"/>
          <ac:spMkLst>
            <pc:docMk/>
            <pc:sldMk cId="4159389698" sldId="342"/>
            <ac:spMk id="20" creationId="{15B8A76D-FA13-4296-BC22-4279F19678FE}"/>
          </ac:spMkLst>
        </pc:spChg>
        <pc:spChg chg="add mod">
          <ac:chgData name="WESLEY.TBW" userId="S::wesley.tbw_gmail.com#ext#@risebcg.onmicrosoft.com::1034df62-ee6d-4b2f-8a56-03c4406a0a8a" providerId="AD" clId="Web-{5F7935B9-78CB-4A7B-8139-79A142C00EBF}" dt="2022-01-09T15:08:25.243" v="886" actId="1076"/>
          <ac:spMkLst>
            <pc:docMk/>
            <pc:sldMk cId="4159389698" sldId="342"/>
            <ac:spMk id="21" creationId="{0F3AB545-8B7B-4F3B-BCAB-1B2065C8A613}"/>
          </ac:spMkLst>
        </pc:spChg>
        <pc:spChg chg="add mod">
          <ac:chgData name="WESLEY.TBW" userId="S::wesley.tbw_gmail.com#ext#@risebcg.onmicrosoft.com::1034df62-ee6d-4b2f-8a56-03c4406a0a8a" providerId="AD" clId="Web-{5F7935B9-78CB-4A7B-8139-79A142C00EBF}" dt="2022-01-09T15:08:31.977" v="888" actId="1076"/>
          <ac:spMkLst>
            <pc:docMk/>
            <pc:sldMk cId="4159389698" sldId="342"/>
            <ac:spMk id="22" creationId="{F5EDEB65-A697-4CE2-A547-919E61D07AEA}"/>
          </ac:spMkLst>
        </pc:spChg>
        <pc:spChg chg="add mod topLvl">
          <ac:chgData name="WESLEY.TBW" userId="S::wesley.tbw_gmail.com#ext#@risebcg.onmicrosoft.com::1034df62-ee6d-4b2f-8a56-03c4406a0a8a" providerId="AD" clId="Web-{5F7935B9-78CB-4A7B-8139-79A142C00EBF}" dt="2022-01-09T15:18:26.291" v="1033"/>
          <ac:spMkLst>
            <pc:docMk/>
            <pc:sldMk cId="4159389698" sldId="342"/>
            <ac:spMk id="23" creationId="{41AFB02C-DB44-4F3C-812B-7D52A88090A6}"/>
          </ac:spMkLst>
        </pc:spChg>
        <pc:spChg chg="add mod topLvl">
          <ac:chgData name="WESLEY.TBW" userId="S::wesley.tbw_gmail.com#ext#@risebcg.onmicrosoft.com::1034df62-ee6d-4b2f-8a56-03c4406a0a8a" providerId="AD" clId="Web-{5F7935B9-78CB-4A7B-8139-79A142C00EBF}" dt="2022-01-09T15:18:26.291" v="1033"/>
          <ac:spMkLst>
            <pc:docMk/>
            <pc:sldMk cId="4159389698" sldId="342"/>
            <ac:spMk id="24" creationId="{C02F7E63-1F01-4B53-821F-57BEDFD3D2A7}"/>
          </ac:spMkLst>
        </pc:spChg>
        <pc:spChg chg="add mod topLvl">
          <ac:chgData name="WESLEY.TBW" userId="S::wesley.tbw_gmail.com#ext#@risebcg.onmicrosoft.com::1034df62-ee6d-4b2f-8a56-03c4406a0a8a" providerId="AD" clId="Web-{5F7935B9-78CB-4A7B-8139-79A142C00EBF}" dt="2022-01-09T15:24:45.521" v="1198" actId="1076"/>
          <ac:spMkLst>
            <pc:docMk/>
            <pc:sldMk cId="4159389698" sldId="342"/>
            <ac:spMk id="27" creationId="{DCFD4D3C-02DB-4109-AE1E-9B21315DB83D}"/>
          </ac:spMkLst>
        </pc:spChg>
        <pc:spChg chg="add del mod">
          <ac:chgData name="WESLEY.TBW" userId="S::wesley.tbw_gmail.com#ext#@risebcg.onmicrosoft.com::1034df62-ee6d-4b2f-8a56-03c4406a0a8a" providerId="AD" clId="Web-{5F7935B9-78CB-4A7B-8139-79A142C00EBF}" dt="2022-01-09T15:17:05.367" v="1025"/>
          <ac:spMkLst>
            <pc:docMk/>
            <pc:sldMk cId="4159389698" sldId="342"/>
            <ac:spMk id="29" creationId="{A9A73B93-2295-40B6-A9FA-F3F72847F81F}"/>
          </ac:spMkLst>
        </pc:spChg>
        <pc:spChg chg="add del">
          <ac:chgData name="WESLEY.TBW" userId="S::wesley.tbw_gmail.com#ext#@risebcg.onmicrosoft.com::1034df62-ee6d-4b2f-8a56-03c4406a0a8a" providerId="AD" clId="Web-{5F7935B9-78CB-4A7B-8139-79A142C00EBF}" dt="2022-01-09T15:19:00.464" v="1038"/>
          <ac:spMkLst>
            <pc:docMk/>
            <pc:sldMk cId="4159389698" sldId="342"/>
            <ac:spMk id="30" creationId="{AF02D8EE-2AA1-4E5B-A1FA-A1DEF9AA6F9A}"/>
          </ac:spMkLst>
        </pc:spChg>
        <pc:grpChg chg="add del mod">
          <ac:chgData name="WESLEY.TBW" userId="S::wesley.tbw_gmail.com#ext#@risebcg.onmicrosoft.com::1034df62-ee6d-4b2f-8a56-03c4406a0a8a" providerId="AD" clId="Web-{5F7935B9-78CB-4A7B-8139-79A142C00EBF}" dt="2022-01-09T14:56:23.456" v="656"/>
          <ac:grpSpMkLst>
            <pc:docMk/>
            <pc:sldMk cId="4159389698" sldId="342"/>
            <ac:grpSpMk id="6" creationId="{02EBDF71-5CC6-45A6-83A3-FB904C2A91D8}"/>
          </ac:grpSpMkLst>
        </pc:grpChg>
        <pc:grpChg chg="add del mod topLvl">
          <ac:chgData name="WESLEY.TBW" userId="S::wesley.tbw_gmail.com#ext#@risebcg.onmicrosoft.com::1034df62-ee6d-4b2f-8a56-03c4406a0a8a" providerId="AD" clId="Web-{5F7935B9-78CB-4A7B-8139-79A142C00EBF}" dt="2022-01-09T15:18:44.010" v="1035"/>
          <ac:grpSpMkLst>
            <pc:docMk/>
            <pc:sldMk cId="4159389698" sldId="342"/>
            <ac:grpSpMk id="16" creationId="{B47A0804-E6A0-42B4-85E9-4ED25C5FE0C5}"/>
          </ac:grpSpMkLst>
        </pc:grpChg>
        <pc:grpChg chg="add del mod">
          <ac:chgData name="WESLEY.TBW" userId="S::wesley.tbw_gmail.com#ext#@risebcg.onmicrosoft.com::1034df62-ee6d-4b2f-8a56-03c4406a0a8a" providerId="AD" clId="Web-{5F7935B9-78CB-4A7B-8139-79A142C00EBF}" dt="2022-01-09T15:18:26.291" v="1033"/>
          <ac:grpSpMkLst>
            <pc:docMk/>
            <pc:sldMk cId="4159389698" sldId="342"/>
            <ac:grpSpMk id="28" creationId="{0753DEED-4DB1-47D9-917A-CFBD8B8C39A8}"/>
          </ac:grpSpMkLst>
        </pc:grpChg>
        <pc:grpChg chg="add">
          <ac:chgData name="WESLEY.TBW" userId="S::wesley.tbw_gmail.com#ext#@risebcg.onmicrosoft.com::1034df62-ee6d-4b2f-8a56-03c4406a0a8a" providerId="AD" clId="Web-{5F7935B9-78CB-4A7B-8139-79A142C00EBF}" dt="2022-01-09T15:21:18.327" v="1051"/>
          <ac:grpSpMkLst>
            <pc:docMk/>
            <pc:sldMk cId="4159389698" sldId="342"/>
            <ac:grpSpMk id="31" creationId="{76E18740-F22D-4963-BCB7-3EF1ECF50B99}"/>
          </ac:grpSpMkLst>
        </pc:grpChg>
        <pc:picChg chg="mod">
          <ac:chgData name="WESLEY.TBW" userId="S::wesley.tbw_gmail.com#ext#@risebcg.onmicrosoft.com::1034df62-ee6d-4b2f-8a56-03c4406a0a8a" providerId="AD" clId="Web-{5F7935B9-78CB-4A7B-8139-79A142C00EBF}" dt="2022-01-09T15:20:03.341" v="1049" actId="1076"/>
          <ac:picMkLst>
            <pc:docMk/>
            <pc:sldMk cId="4159389698" sldId="342"/>
            <ac:picMk id="4" creationId="{A250FD57-6309-4718-A617-85A0EA99B27E}"/>
          </ac:picMkLst>
        </pc:picChg>
        <pc:cxnChg chg="add mod ord topLvl">
          <ac:chgData name="WESLEY.TBW" userId="S::wesley.tbw_gmail.com#ext#@risebcg.onmicrosoft.com::1034df62-ee6d-4b2f-8a56-03c4406a0a8a" providerId="AD" clId="Web-{5F7935B9-78CB-4A7B-8139-79A142C00EBF}" dt="2022-01-09T15:19:57.044" v="1048"/>
          <ac:cxnSpMkLst>
            <pc:docMk/>
            <pc:sldMk cId="4159389698" sldId="342"/>
            <ac:cxnSpMk id="5" creationId="{42CC447C-FCA3-4440-AFAC-074CA9387369}"/>
          </ac:cxnSpMkLst>
        </pc:cxnChg>
        <pc:cxnChg chg="add mod topLvl">
          <ac:chgData name="WESLEY.TBW" userId="S::wesley.tbw_gmail.com#ext#@risebcg.onmicrosoft.com::1034df62-ee6d-4b2f-8a56-03c4406a0a8a" providerId="AD" clId="Web-{5F7935B9-78CB-4A7B-8139-79A142C00EBF}" dt="2022-01-09T15:18:52.729" v="1036" actId="14100"/>
          <ac:cxnSpMkLst>
            <pc:docMk/>
            <pc:sldMk cId="4159389698" sldId="342"/>
            <ac:cxnSpMk id="11" creationId="{B100C871-1F8E-44FA-9A22-E49497F4DD19}"/>
          </ac:cxnSpMkLst>
        </pc:cxnChg>
        <pc:cxnChg chg="add mod topLvl">
          <ac:chgData name="WESLEY.TBW" userId="S::wesley.tbw_gmail.com#ext#@risebcg.onmicrosoft.com::1034df62-ee6d-4b2f-8a56-03c4406a0a8a" providerId="AD" clId="Web-{5F7935B9-78CB-4A7B-8139-79A142C00EBF}" dt="2022-01-09T15:19:41.168" v="1045" actId="14100"/>
          <ac:cxnSpMkLst>
            <pc:docMk/>
            <pc:sldMk cId="4159389698" sldId="342"/>
            <ac:cxnSpMk id="13" creationId="{CFBA535F-E821-437D-8FB9-B7C83F0FE8CA}"/>
          </ac:cxnSpMkLst>
        </pc:cxnChg>
        <pc:cxnChg chg="add mod topLvl">
          <ac:chgData name="WESLEY.TBW" userId="S::wesley.tbw_gmail.com#ext#@risebcg.onmicrosoft.com::1034df62-ee6d-4b2f-8a56-03c4406a0a8a" providerId="AD" clId="Web-{5F7935B9-78CB-4A7B-8139-79A142C00EBF}" dt="2022-01-09T15:19:47.606" v="1046" actId="14100"/>
          <ac:cxnSpMkLst>
            <pc:docMk/>
            <pc:sldMk cId="4159389698" sldId="342"/>
            <ac:cxnSpMk id="14" creationId="{93D321C6-8EC7-46E9-B13D-F842EC617678}"/>
          </ac:cxnSpMkLst>
        </pc:cxnChg>
        <pc:cxnChg chg="add mod topLvl">
          <ac:chgData name="WESLEY.TBW" userId="S::wesley.tbw_gmail.com#ext#@risebcg.onmicrosoft.com::1034df62-ee6d-4b2f-8a56-03c4406a0a8a" providerId="AD" clId="Web-{5F7935B9-78CB-4A7B-8139-79A142C00EBF}" dt="2022-01-09T15:19:24.152" v="1042" actId="14100"/>
          <ac:cxnSpMkLst>
            <pc:docMk/>
            <pc:sldMk cId="4159389698" sldId="342"/>
            <ac:cxnSpMk id="15" creationId="{0F061DD2-0F3A-4495-B4F4-9E94EF93F1CE}"/>
          </ac:cxnSpMkLst>
        </pc:cxnChg>
        <pc:cxnChg chg="add mod topLvl">
          <ac:chgData name="WESLEY.TBW" userId="S::wesley.tbw_gmail.com#ext#@risebcg.onmicrosoft.com::1034df62-ee6d-4b2f-8a56-03c4406a0a8a" providerId="AD" clId="Web-{5F7935B9-78CB-4A7B-8139-79A142C00EBF}" dt="2022-01-09T15:18:26.291" v="1033"/>
          <ac:cxnSpMkLst>
            <pc:docMk/>
            <pc:sldMk cId="4159389698" sldId="342"/>
            <ac:cxnSpMk id="25" creationId="{86C75B88-0208-4015-B9DF-BF70E495BB7A}"/>
          </ac:cxnSpMkLst>
        </pc:cxnChg>
        <pc:cxnChg chg="add mod topLvl">
          <ac:chgData name="WESLEY.TBW" userId="S::wesley.tbw_gmail.com#ext#@risebcg.onmicrosoft.com::1034df62-ee6d-4b2f-8a56-03c4406a0a8a" providerId="AD" clId="Web-{5F7935B9-78CB-4A7B-8139-79A142C00EBF}" dt="2022-01-09T15:20:19.060" v="1050" actId="14100"/>
          <ac:cxnSpMkLst>
            <pc:docMk/>
            <pc:sldMk cId="4159389698" sldId="342"/>
            <ac:cxnSpMk id="26" creationId="{4264CA08-D5C3-4CB2-AD5C-F07158DF5983}"/>
          </ac:cxnSpMkLst>
        </pc:cxnChg>
      </pc:sldChg>
    </pc:docChg>
  </pc:docChgLst>
  <pc:docChgLst>
    <pc:chgData name="WONGYONGLIN91" userId="S::wongyonglin91_gmail.com#ext#@risebcg.onmicrosoft.com::b2d94f93-e580-4f0d-9dda-2138509d25ae" providerId="AD" clId="Web-{819DFFEC-4326-43C8-95FF-064276E98504}"/>
    <pc:docChg chg="addSld delSld modSld sldOrd">
      <pc:chgData name="WONGYONGLIN91" userId="S::wongyonglin91_gmail.com#ext#@risebcg.onmicrosoft.com::b2d94f93-e580-4f0d-9dda-2138509d25ae" providerId="AD" clId="Web-{819DFFEC-4326-43C8-95FF-064276E98504}" dt="2022-01-07T21:32:37.885" v="317" actId="14100"/>
      <pc:docMkLst>
        <pc:docMk/>
      </pc:docMkLst>
      <pc:sldChg chg="del">
        <pc:chgData name="WONGYONGLIN91" userId="S::wongyonglin91_gmail.com#ext#@risebcg.onmicrosoft.com::b2d94f93-e580-4f0d-9dda-2138509d25ae" providerId="AD" clId="Web-{819DFFEC-4326-43C8-95FF-064276E98504}" dt="2022-01-07T15:24:42.470" v="29"/>
        <pc:sldMkLst>
          <pc:docMk/>
          <pc:sldMk cId="4276505800" sldId="329"/>
        </pc:sldMkLst>
      </pc:sldChg>
      <pc:sldChg chg="modSp del">
        <pc:chgData name="WONGYONGLIN91" userId="S::wongyonglin91_gmail.com#ext#@risebcg.onmicrosoft.com::b2d94f93-e580-4f0d-9dda-2138509d25ae" providerId="AD" clId="Web-{819DFFEC-4326-43C8-95FF-064276E98504}" dt="2022-01-07T15:25:44.534" v="36"/>
        <pc:sldMkLst>
          <pc:docMk/>
          <pc:sldMk cId="2728944561" sldId="333"/>
        </pc:sldMkLst>
        <pc:spChg chg="mod">
          <ac:chgData name="WONGYONGLIN91" userId="S::wongyonglin91_gmail.com#ext#@risebcg.onmicrosoft.com::b2d94f93-e580-4f0d-9dda-2138509d25ae" providerId="AD" clId="Web-{819DFFEC-4326-43C8-95FF-064276E98504}" dt="2022-01-07T15:20:14.338" v="9" actId="20577"/>
          <ac:spMkLst>
            <pc:docMk/>
            <pc:sldMk cId="2728944561" sldId="333"/>
            <ac:spMk id="3" creationId="{9C545F2D-9E52-4C81-8BAE-363F523739FD}"/>
          </ac:spMkLst>
        </pc:spChg>
        <pc:picChg chg="mod">
          <ac:chgData name="WONGYONGLIN91" userId="S::wongyonglin91_gmail.com#ext#@risebcg.onmicrosoft.com::b2d94f93-e580-4f0d-9dda-2138509d25ae" providerId="AD" clId="Web-{819DFFEC-4326-43C8-95FF-064276E98504}" dt="2022-01-07T15:22:25.045" v="20" actId="14100"/>
          <ac:picMkLst>
            <pc:docMk/>
            <pc:sldMk cId="2728944561" sldId="333"/>
            <ac:picMk id="6" creationId="{5C7BC333-AC07-4C92-9439-0C248DD469B7}"/>
          </ac:picMkLst>
        </pc:picChg>
        <pc:picChg chg="mod">
          <ac:chgData name="WONGYONGLIN91" userId="S::wongyonglin91_gmail.com#ext#@risebcg.onmicrosoft.com::b2d94f93-e580-4f0d-9dda-2138509d25ae" providerId="AD" clId="Web-{819DFFEC-4326-43C8-95FF-064276E98504}" dt="2022-01-07T15:22:17.247" v="18" actId="14100"/>
          <ac:picMkLst>
            <pc:docMk/>
            <pc:sldMk cId="2728944561" sldId="333"/>
            <ac:picMk id="7" creationId="{5DBECBC5-E506-4844-9DFC-8CEEA581E35F}"/>
          </ac:picMkLst>
        </pc:picChg>
      </pc:sldChg>
      <pc:sldChg chg="addSp delSp modSp add replId">
        <pc:chgData name="WONGYONGLIN91" userId="S::wongyonglin91_gmail.com#ext#@risebcg.onmicrosoft.com::b2d94f93-e580-4f0d-9dda-2138509d25ae" providerId="AD" clId="Web-{819DFFEC-4326-43C8-95FF-064276E98504}" dt="2022-01-07T21:29:42.802" v="304" actId="14100"/>
        <pc:sldMkLst>
          <pc:docMk/>
          <pc:sldMk cId="3266031372" sldId="340"/>
        </pc:sldMkLst>
        <pc:spChg chg="mod">
          <ac:chgData name="WONGYONGLIN91" userId="S::wongyonglin91_gmail.com#ext#@risebcg.onmicrosoft.com::b2d94f93-e580-4f0d-9dda-2138509d25ae" providerId="AD" clId="Web-{819DFFEC-4326-43C8-95FF-064276E98504}" dt="2022-01-07T15:23:37.156" v="24" actId="20577"/>
          <ac:spMkLst>
            <pc:docMk/>
            <pc:sldMk cId="3266031372" sldId="340"/>
            <ac:spMk id="2" creationId="{ED14AA63-35D8-4136-8B2F-DE1837A583A2}"/>
          </ac:spMkLst>
        </pc:spChg>
        <pc:spChg chg="del mod">
          <ac:chgData name="WONGYONGLIN91" userId="S::wongyonglin91_gmail.com#ext#@risebcg.onmicrosoft.com::b2d94f93-e580-4f0d-9dda-2138509d25ae" providerId="AD" clId="Web-{819DFFEC-4326-43C8-95FF-064276E98504}" dt="2022-01-07T15:23:52.078" v="27"/>
          <ac:spMkLst>
            <pc:docMk/>
            <pc:sldMk cId="3266031372" sldId="340"/>
            <ac:spMk id="3" creationId="{2A938E9D-39F3-463F-BEAD-B91F6168A34D}"/>
          </ac:spMkLst>
        </pc:spChg>
        <pc:spChg chg="del">
          <ac:chgData name="WONGYONGLIN91" userId="S::wongyonglin91_gmail.com#ext#@risebcg.onmicrosoft.com::b2d94f93-e580-4f0d-9dda-2138509d25ae" providerId="AD" clId="Web-{819DFFEC-4326-43C8-95FF-064276E98504}" dt="2022-01-07T15:23:40.375" v="25"/>
          <ac:spMkLst>
            <pc:docMk/>
            <pc:sldMk cId="3266031372" sldId="340"/>
            <ac:spMk id="15" creationId="{AAF3EE67-387A-430E-A8DA-4FF50FD506BC}"/>
          </ac:spMkLst>
        </pc:spChg>
        <pc:picChg chg="add mod">
          <ac:chgData name="WONGYONGLIN91" userId="S::wongyonglin91_gmail.com#ext#@risebcg.onmicrosoft.com::b2d94f93-e580-4f0d-9dda-2138509d25ae" providerId="AD" clId="Web-{819DFFEC-4326-43C8-95FF-064276E98504}" dt="2022-01-07T21:18:14.447" v="273" actId="14100"/>
          <ac:picMkLst>
            <pc:docMk/>
            <pc:sldMk cId="3266031372" sldId="340"/>
            <ac:picMk id="3" creationId="{461DA40E-97F6-445B-B8F4-50294D61B847}"/>
          </ac:picMkLst>
        </pc:picChg>
        <pc:picChg chg="add mod">
          <ac:chgData name="WONGYONGLIN91" userId="S::wongyonglin91_gmail.com#ext#@risebcg.onmicrosoft.com::b2d94f93-e580-4f0d-9dda-2138509d25ae" providerId="AD" clId="Web-{819DFFEC-4326-43C8-95FF-064276E98504}" dt="2022-01-07T21:19:30.418" v="280" actId="14100"/>
          <ac:picMkLst>
            <pc:docMk/>
            <pc:sldMk cId="3266031372" sldId="340"/>
            <ac:picMk id="5" creationId="{037BEBE0-D6CC-43A0-8E28-C42D326CE726}"/>
          </ac:picMkLst>
        </pc:picChg>
        <pc:picChg chg="add del mod">
          <ac:chgData name="WONGYONGLIN91" userId="S::wongyonglin91_gmail.com#ext#@risebcg.onmicrosoft.com::b2d94f93-e580-4f0d-9dda-2138509d25ae" providerId="AD" clId="Web-{819DFFEC-4326-43C8-95FF-064276E98504}" dt="2022-01-07T15:35:25.207" v="134"/>
          <ac:picMkLst>
            <pc:docMk/>
            <pc:sldMk cId="3266031372" sldId="340"/>
            <ac:picMk id="5" creationId="{CFAA75FE-4DB7-4740-A206-5FB12363D930}"/>
          </ac:picMkLst>
        </pc:picChg>
        <pc:picChg chg="add mod">
          <ac:chgData name="WONGYONGLIN91" userId="S::wongyonglin91_gmail.com#ext#@risebcg.onmicrosoft.com::b2d94f93-e580-4f0d-9dda-2138509d25ae" providerId="AD" clId="Web-{819DFFEC-4326-43C8-95FF-064276E98504}" dt="2022-01-07T21:29:42.802" v="304" actId="14100"/>
          <ac:picMkLst>
            <pc:docMk/>
            <pc:sldMk cId="3266031372" sldId="340"/>
            <ac:picMk id="6" creationId="{81A150AC-B222-471E-A118-CD198FBC5BA7}"/>
          </ac:picMkLst>
        </pc:picChg>
        <pc:picChg chg="add del mod">
          <ac:chgData name="WONGYONGLIN91" userId="S::wongyonglin91_gmail.com#ext#@risebcg.onmicrosoft.com::b2d94f93-e580-4f0d-9dda-2138509d25ae" providerId="AD" clId="Web-{819DFFEC-4326-43C8-95FF-064276E98504}" dt="2022-01-07T15:35:37.270" v="141"/>
          <ac:picMkLst>
            <pc:docMk/>
            <pc:sldMk cId="3266031372" sldId="340"/>
            <ac:picMk id="6" creationId="{F448AC28-191F-43F5-8166-388DCB83D6EE}"/>
          </ac:picMkLst>
        </pc:picChg>
        <pc:picChg chg="add del mod">
          <ac:chgData name="WONGYONGLIN91" userId="S::wongyonglin91_gmail.com#ext#@risebcg.onmicrosoft.com::b2d94f93-e580-4f0d-9dda-2138509d25ae" providerId="AD" clId="Web-{819DFFEC-4326-43C8-95FF-064276E98504}" dt="2022-01-07T15:35:31.582" v="139"/>
          <ac:picMkLst>
            <pc:docMk/>
            <pc:sldMk cId="3266031372" sldId="340"/>
            <ac:picMk id="7" creationId="{8B1DA149-833C-40D7-9F00-BA4B16317DAF}"/>
          </ac:picMkLst>
        </pc:picChg>
        <pc:picChg chg="add mod">
          <ac:chgData name="WONGYONGLIN91" userId="S::wongyonglin91_gmail.com#ext#@risebcg.onmicrosoft.com::b2d94f93-e580-4f0d-9dda-2138509d25ae" providerId="AD" clId="Web-{819DFFEC-4326-43C8-95FF-064276E98504}" dt="2022-01-07T21:29:33.443" v="303" actId="14100"/>
          <ac:picMkLst>
            <pc:docMk/>
            <pc:sldMk cId="3266031372" sldId="340"/>
            <ac:picMk id="7" creationId="{C197F6B9-4CBB-4B39-8C04-6C1CE7632C8C}"/>
          </ac:picMkLst>
        </pc:picChg>
        <pc:picChg chg="add del mod">
          <ac:chgData name="WONGYONGLIN91" userId="S::wongyonglin91_gmail.com#ext#@risebcg.onmicrosoft.com::b2d94f93-e580-4f0d-9dda-2138509d25ae" providerId="AD" clId="Web-{819DFFEC-4326-43C8-95FF-064276E98504}" dt="2022-01-07T15:35:31.582" v="138"/>
          <ac:picMkLst>
            <pc:docMk/>
            <pc:sldMk cId="3266031372" sldId="340"/>
            <ac:picMk id="8" creationId="{17E09966-BADB-4BDA-9C22-19001B053817}"/>
          </ac:picMkLst>
        </pc:picChg>
        <pc:picChg chg="add del mod">
          <ac:chgData name="WONGYONGLIN91" userId="S::wongyonglin91_gmail.com#ext#@risebcg.onmicrosoft.com::b2d94f93-e580-4f0d-9dda-2138509d25ae" providerId="AD" clId="Web-{819DFFEC-4326-43C8-95FF-064276E98504}" dt="2022-01-07T15:36:09.646" v="144"/>
          <ac:picMkLst>
            <pc:docMk/>
            <pc:sldMk cId="3266031372" sldId="340"/>
            <ac:picMk id="9" creationId="{57A4BC46-D2E3-4D93-9A1A-9FB7E14E1B53}"/>
          </ac:picMkLst>
        </pc:picChg>
        <pc:picChg chg="add del mod">
          <ac:chgData name="WONGYONGLIN91" userId="S::wongyonglin91_gmail.com#ext#@risebcg.onmicrosoft.com::b2d94f93-e580-4f0d-9dda-2138509d25ae" providerId="AD" clId="Web-{819DFFEC-4326-43C8-95FF-064276E98504}" dt="2022-01-07T21:28:08.769" v="292"/>
          <ac:picMkLst>
            <pc:docMk/>
            <pc:sldMk cId="3266031372" sldId="340"/>
            <ac:picMk id="10" creationId="{F3AB1250-20FB-493D-93FC-5B329EE240CD}"/>
          </ac:picMkLst>
        </pc:picChg>
        <pc:picChg chg="add del mod">
          <ac:chgData name="WONGYONGLIN91" userId="S::wongyonglin91_gmail.com#ext#@risebcg.onmicrosoft.com::b2d94f93-e580-4f0d-9dda-2138509d25ae" providerId="AD" clId="Web-{819DFFEC-4326-43C8-95FF-064276E98504}" dt="2022-01-07T21:28:11.519" v="293"/>
          <ac:picMkLst>
            <pc:docMk/>
            <pc:sldMk cId="3266031372" sldId="340"/>
            <ac:picMk id="11" creationId="{3FF94910-E085-4232-A0C5-6B4A45798560}"/>
          </ac:picMkLst>
        </pc:picChg>
      </pc:sldChg>
      <pc:sldChg chg="addSp delSp modSp add ord replId">
        <pc:chgData name="WONGYONGLIN91" userId="S::wongyonglin91_gmail.com#ext#@risebcg.onmicrosoft.com::b2d94f93-e580-4f0d-9dda-2138509d25ae" providerId="AD" clId="Web-{819DFFEC-4326-43C8-95FF-064276E98504}" dt="2022-01-07T21:32:37.885" v="317" actId="14100"/>
        <pc:sldMkLst>
          <pc:docMk/>
          <pc:sldMk cId="2497075168" sldId="341"/>
        </pc:sldMkLst>
        <pc:spChg chg="mod">
          <ac:chgData name="WONGYONGLIN91" userId="S::wongyonglin91_gmail.com#ext#@risebcg.onmicrosoft.com::b2d94f93-e580-4f0d-9dda-2138509d25ae" providerId="AD" clId="Web-{819DFFEC-4326-43C8-95FF-064276E98504}" dt="2022-01-07T15:24:56.096" v="33" actId="20577"/>
          <ac:spMkLst>
            <pc:docMk/>
            <pc:sldMk cId="2497075168" sldId="341"/>
            <ac:spMk id="2" creationId="{ED14AA63-35D8-4136-8B2F-DE1837A583A2}"/>
          </ac:spMkLst>
        </pc:spChg>
        <pc:spChg chg="mod">
          <ac:chgData name="WONGYONGLIN91" userId="S::wongyonglin91_gmail.com#ext#@risebcg.onmicrosoft.com::b2d94f93-e580-4f0d-9dda-2138509d25ae" providerId="AD" clId="Web-{819DFFEC-4326-43C8-95FF-064276E98504}" dt="2022-01-07T21:17:02.258" v="270" actId="20577"/>
          <ac:spMkLst>
            <pc:docMk/>
            <pc:sldMk cId="2497075168" sldId="341"/>
            <ac:spMk id="4" creationId="{215644EC-E1A2-4B5F-BA53-79EB189605EC}"/>
          </ac:spMkLst>
        </pc:spChg>
        <pc:picChg chg="add del mod">
          <ac:chgData name="WONGYONGLIN91" userId="S::wongyonglin91_gmail.com#ext#@risebcg.onmicrosoft.com::b2d94f93-e580-4f0d-9dda-2138509d25ae" providerId="AD" clId="Web-{819DFFEC-4326-43C8-95FF-064276E98504}" dt="2022-01-07T21:31:08.633" v="306"/>
          <ac:picMkLst>
            <pc:docMk/>
            <pc:sldMk cId="2497075168" sldId="341"/>
            <ac:picMk id="3" creationId="{AB70BD17-A739-4311-B5FF-430BDCC3A91C}"/>
          </ac:picMkLst>
        </pc:picChg>
        <pc:picChg chg="add del mod">
          <ac:chgData name="WONGYONGLIN91" userId="S::wongyonglin91_gmail.com#ext#@risebcg.onmicrosoft.com::b2d94f93-e580-4f0d-9dda-2138509d25ae" providerId="AD" clId="Web-{819DFFEC-4326-43C8-95FF-064276E98504}" dt="2022-01-07T21:31:05.851" v="305"/>
          <ac:picMkLst>
            <pc:docMk/>
            <pc:sldMk cId="2497075168" sldId="341"/>
            <ac:picMk id="5" creationId="{2CC643E4-FEE3-429B-A6F3-6AAD3C24EF78}"/>
          </ac:picMkLst>
        </pc:picChg>
        <pc:picChg chg="add del mod">
          <ac:chgData name="WONGYONGLIN91" userId="S::wongyonglin91_gmail.com#ext#@risebcg.onmicrosoft.com::b2d94f93-e580-4f0d-9dda-2138509d25ae" providerId="AD" clId="Web-{819DFFEC-4326-43C8-95FF-064276E98504}" dt="2022-01-07T21:21:01.438" v="281"/>
          <ac:picMkLst>
            <pc:docMk/>
            <pc:sldMk cId="2497075168" sldId="341"/>
            <ac:picMk id="6" creationId="{5589EBA5-EDF9-4738-9CC3-C48A9A67DBA9}"/>
          </ac:picMkLst>
        </pc:picChg>
        <pc:picChg chg="add del mod">
          <ac:chgData name="WONGYONGLIN91" userId="S::wongyonglin91_gmail.com#ext#@risebcg.onmicrosoft.com::b2d94f93-e580-4f0d-9dda-2138509d25ae" providerId="AD" clId="Web-{819DFFEC-4326-43C8-95FF-064276E98504}" dt="2022-01-07T21:21:03.954" v="282"/>
          <ac:picMkLst>
            <pc:docMk/>
            <pc:sldMk cId="2497075168" sldId="341"/>
            <ac:picMk id="7" creationId="{6E622914-CD8C-4CC2-87E5-6C5308AE102A}"/>
          </ac:picMkLst>
        </pc:picChg>
        <pc:picChg chg="add del mod">
          <ac:chgData name="WONGYONGLIN91" userId="S::wongyonglin91_gmail.com#ext#@risebcg.onmicrosoft.com::b2d94f93-e580-4f0d-9dda-2138509d25ae" providerId="AD" clId="Web-{819DFFEC-4326-43C8-95FF-064276E98504}" dt="2022-01-07T15:35:22.691" v="133"/>
          <ac:picMkLst>
            <pc:docMk/>
            <pc:sldMk cId="2497075168" sldId="341"/>
            <ac:picMk id="7" creationId="{BB6C21D1-9499-4CAA-B7C2-7B2F2D19C7FB}"/>
          </ac:picMkLst>
        </pc:picChg>
        <pc:picChg chg="add mod">
          <ac:chgData name="WONGYONGLIN91" userId="S::wongyonglin91_gmail.com#ext#@risebcg.onmicrosoft.com::b2d94f93-e580-4f0d-9dda-2138509d25ae" providerId="AD" clId="Web-{819DFFEC-4326-43C8-95FF-064276E98504}" dt="2022-01-07T21:32:02.494" v="313" actId="14100"/>
          <ac:picMkLst>
            <pc:docMk/>
            <pc:sldMk cId="2497075168" sldId="341"/>
            <ac:picMk id="8" creationId="{43C821D0-E8DD-4E0C-918F-E8AFE57FBD79}"/>
          </ac:picMkLst>
        </pc:picChg>
        <pc:picChg chg="add mod">
          <ac:chgData name="WONGYONGLIN91" userId="S::wongyonglin91_gmail.com#ext#@risebcg.onmicrosoft.com::b2d94f93-e580-4f0d-9dda-2138509d25ae" providerId="AD" clId="Web-{819DFFEC-4326-43C8-95FF-064276E98504}" dt="2022-01-07T21:31:14.914" v="307" actId="14100"/>
          <ac:picMkLst>
            <pc:docMk/>
            <pc:sldMk cId="2497075168" sldId="341"/>
            <ac:picMk id="9" creationId="{7E7137EB-EB04-47D4-ADDE-3138CAD2FE22}"/>
          </ac:picMkLst>
        </pc:picChg>
        <pc:picChg chg="add del mod">
          <ac:chgData name="WONGYONGLIN91" userId="S::wongyonglin91_gmail.com#ext#@risebcg.onmicrosoft.com::b2d94f93-e580-4f0d-9dda-2138509d25ae" providerId="AD" clId="Web-{819DFFEC-4326-43C8-95FF-064276E98504}" dt="2022-01-07T15:35:22.691" v="132"/>
          <ac:picMkLst>
            <pc:docMk/>
            <pc:sldMk cId="2497075168" sldId="341"/>
            <ac:picMk id="9" creationId="{A8D3C84B-EF0A-4F3E-B5A5-D88E37323E19}"/>
          </ac:picMkLst>
        </pc:picChg>
        <pc:picChg chg="add mod">
          <ac:chgData name="WONGYONGLIN91" userId="S::wongyonglin91_gmail.com#ext#@risebcg.onmicrosoft.com::b2d94f93-e580-4f0d-9dda-2138509d25ae" providerId="AD" clId="Web-{819DFFEC-4326-43C8-95FF-064276E98504}" dt="2022-01-07T21:31:53.790" v="312" actId="14100"/>
          <ac:picMkLst>
            <pc:docMk/>
            <pc:sldMk cId="2497075168" sldId="341"/>
            <ac:picMk id="10" creationId="{5C5BFFE9-19E0-4AAC-BCA1-0A74C6D93C5F}"/>
          </ac:picMkLst>
        </pc:picChg>
        <pc:picChg chg="add del mod">
          <ac:chgData name="WONGYONGLIN91" userId="S::wongyonglin91_gmail.com#ext#@risebcg.onmicrosoft.com::b2d94f93-e580-4f0d-9dda-2138509d25ae" providerId="AD" clId="Web-{819DFFEC-4326-43C8-95FF-064276E98504}" dt="2022-01-07T15:36:49.194" v="149"/>
          <ac:picMkLst>
            <pc:docMk/>
            <pc:sldMk cId="2497075168" sldId="341"/>
            <ac:picMk id="11" creationId="{867EBD1E-93AC-4D5A-84C4-8C004632D8A2}"/>
          </ac:picMkLst>
        </pc:picChg>
        <pc:picChg chg="add mod">
          <ac:chgData name="WONGYONGLIN91" userId="S::wongyonglin91_gmail.com#ext#@risebcg.onmicrosoft.com::b2d94f93-e580-4f0d-9dda-2138509d25ae" providerId="AD" clId="Web-{819DFFEC-4326-43C8-95FF-064276E98504}" dt="2022-01-07T21:32:37.885" v="317" actId="14100"/>
          <ac:picMkLst>
            <pc:docMk/>
            <pc:sldMk cId="2497075168" sldId="341"/>
            <ac:picMk id="11" creationId="{A57CFE02-5F8C-4E5D-85E3-23A246851199}"/>
          </ac:picMkLst>
        </pc:picChg>
        <pc:picChg chg="add del mod">
          <ac:chgData name="WONGYONGLIN91" userId="S::wongyonglin91_gmail.com#ext#@risebcg.onmicrosoft.com::b2d94f93-e580-4f0d-9dda-2138509d25ae" providerId="AD" clId="Web-{819DFFEC-4326-43C8-95FF-064276E98504}" dt="2022-01-07T15:39:30.979" v="173"/>
          <ac:picMkLst>
            <pc:docMk/>
            <pc:sldMk cId="2497075168" sldId="341"/>
            <ac:picMk id="13" creationId="{5FA4B6B0-C151-4256-AD7B-269E3760DD6F}"/>
          </ac:picMkLst>
        </pc:picChg>
        <pc:picChg chg="add del mod">
          <ac:chgData name="WONGYONGLIN91" userId="S::wongyonglin91_gmail.com#ext#@risebcg.onmicrosoft.com::b2d94f93-e580-4f0d-9dda-2138509d25ae" providerId="AD" clId="Web-{819DFFEC-4326-43C8-95FF-064276E98504}" dt="2022-01-07T15:39:30.979" v="172"/>
          <ac:picMkLst>
            <pc:docMk/>
            <pc:sldMk cId="2497075168" sldId="341"/>
            <ac:picMk id="14" creationId="{FFF4152E-A2B7-45D5-86BB-136BF8186565}"/>
          </ac:picMkLst>
        </pc:picChg>
      </pc:sldChg>
    </pc:docChg>
  </pc:docChgLst>
  <pc:docChgLst>
    <pc:chgData name="WONGYONGLIN91" userId="S::wongyonglin91_gmail.com#ext#@risebcg.onmicrosoft.com::b2d94f93-e580-4f0d-9dda-2138509d25ae" providerId="AD" clId="Web-{116AD1FC-2C16-4F94-8C8D-181AC04248D0}"/>
    <pc:docChg chg="modSld">
      <pc:chgData name="WONGYONGLIN91" userId="S::wongyonglin91_gmail.com#ext#@risebcg.onmicrosoft.com::b2d94f93-e580-4f0d-9dda-2138509d25ae" providerId="AD" clId="Web-{116AD1FC-2C16-4F94-8C8D-181AC04248D0}" dt="2022-01-11T04:00:03.570" v="25" actId="1076"/>
      <pc:docMkLst>
        <pc:docMk/>
      </pc:docMkLst>
      <pc:sldChg chg="modSp">
        <pc:chgData name="WONGYONGLIN91" userId="S::wongyonglin91_gmail.com#ext#@risebcg.onmicrosoft.com::b2d94f93-e580-4f0d-9dda-2138509d25ae" providerId="AD" clId="Web-{116AD1FC-2C16-4F94-8C8D-181AC04248D0}" dt="2022-01-11T03:43:21.207" v="20" actId="1076"/>
        <pc:sldMkLst>
          <pc:docMk/>
          <pc:sldMk cId="2256265757" sldId="315"/>
        </pc:sldMkLst>
        <pc:graphicFrameChg chg="mod">
          <ac:chgData name="WONGYONGLIN91" userId="S::wongyonglin91_gmail.com#ext#@risebcg.onmicrosoft.com::b2d94f93-e580-4f0d-9dda-2138509d25ae" providerId="AD" clId="Web-{116AD1FC-2C16-4F94-8C8D-181AC04248D0}" dt="2022-01-11T03:43:21.207" v="20" actId="1076"/>
          <ac:graphicFrameMkLst>
            <pc:docMk/>
            <pc:sldMk cId="2256265757" sldId="315"/>
            <ac:graphicFrameMk id="38" creationId="{2DAB4BA8-57FC-486D-A609-66F3FDCD540C}"/>
          </ac:graphicFrameMkLst>
        </pc:graphicFrameChg>
      </pc:sldChg>
      <pc:sldChg chg="addSp delSp modSp">
        <pc:chgData name="WONGYONGLIN91" userId="S::wongyonglin91_gmail.com#ext#@risebcg.onmicrosoft.com::b2d94f93-e580-4f0d-9dda-2138509d25ae" providerId="AD" clId="Web-{116AD1FC-2C16-4F94-8C8D-181AC04248D0}" dt="2022-01-11T03:23:20.715" v="19" actId="14100"/>
        <pc:sldMkLst>
          <pc:docMk/>
          <pc:sldMk cId="3971465157" sldId="345"/>
        </pc:sldMkLst>
        <pc:picChg chg="add mod">
          <ac:chgData name="WONGYONGLIN91" userId="S::wongyonglin91_gmail.com#ext#@risebcg.onmicrosoft.com::b2d94f93-e580-4f0d-9dda-2138509d25ae" providerId="AD" clId="Web-{116AD1FC-2C16-4F94-8C8D-181AC04248D0}" dt="2022-01-11T03:22:58.683" v="15" actId="14100"/>
          <ac:picMkLst>
            <pc:docMk/>
            <pc:sldMk cId="3971465157" sldId="345"/>
            <ac:picMk id="6" creationId="{AC523019-759A-4F10-81C2-E17F7288D0AA}"/>
          </ac:picMkLst>
        </pc:picChg>
        <pc:picChg chg="add mod">
          <ac:chgData name="WONGYONGLIN91" userId="S::wongyonglin91_gmail.com#ext#@risebcg.onmicrosoft.com::b2d94f93-e580-4f0d-9dda-2138509d25ae" providerId="AD" clId="Web-{116AD1FC-2C16-4F94-8C8D-181AC04248D0}" dt="2022-01-11T03:23:20.715" v="19" actId="14100"/>
          <ac:picMkLst>
            <pc:docMk/>
            <pc:sldMk cId="3971465157" sldId="345"/>
            <ac:picMk id="7" creationId="{D7C5CD80-1D44-4746-B711-81F43E2686E9}"/>
          </ac:picMkLst>
        </pc:picChg>
        <pc:picChg chg="del">
          <ac:chgData name="WONGYONGLIN91" userId="S::wongyonglin91_gmail.com#ext#@risebcg.onmicrosoft.com::b2d94f93-e580-4f0d-9dda-2138509d25ae" providerId="AD" clId="Web-{116AD1FC-2C16-4F94-8C8D-181AC04248D0}" dt="2022-01-11T03:23:13.215" v="16"/>
          <ac:picMkLst>
            <pc:docMk/>
            <pc:sldMk cId="3971465157" sldId="345"/>
            <ac:picMk id="8" creationId="{1C37FA25-553F-4164-8C97-7E76EEDF8003}"/>
          </ac:picMkLst>
        </pc:picChg>
        <pc:picChg chg="del">
          <ac:chgData name="WONGYONGLIN91" userId="S::wongyonglin91_gmail.com#ext#@risebcg.onmicrosoft.com::b2d94f93-e580-4f0d-9dda-2138509d25ae" providerId="AD" clId="Web-{116AD1FC-2C16-4F94-8C8D-181AC04248D0}" dt="2022-01-11T03:22:49.667" v="12"/>
          <ac:picMkLst>
            <pc:docMk/>
            <pc:sldMk cId="3971465157" sldId="345"/>
            <ac:picMk id="9" creationId="{97A95AB9-26F3-4FFA-B40B-A3BFD1A87A7B}"/>
          </ac:picMkLst>
        </pc:picChg>
      </pc:sldChg>
      <pc:sldChg chg="addSp delSp modSp">
        <pc:chgData name="WONGYONGLIN91" userId="S::wongyonglin91_gmail.com#ext#@risebcg.onmicrosoft.com::b2d94f93-e580-4f0d-9dda-2138509d25ae" providerId="AD" clId="Web-{116AD1FC-2C16-4F94-8C8D-181AC04248D0}" dt="2022-01-11T04:00:03.570" v="25" actId="1076"/>
        <pc:sldMkLst>
          <pc:docMk/>
          <pc:sldMk cId="3758978858" sldId="379"/>
        </pc:sldMkLst>
        <pc:picChg chg="add mod">
          <ac:chgData name="WONGYONGLIN91" userId="S::wongyonglin91_gmail.com#ext#@risebcg.onmicrosoft.com::b2d94f93-e580-4f0d-9dda-2138509d25ae" providerId="AD" clId="Web-{116AD1FC-2C16-4F94-8C8D-181AC04248D0}" dt="2022-01-11T03:59:56.335" v="23" actId="1076"/>
          <ac:picMkLst>
            <pc:docMk/>
            <pc:sldMk cId="3758978858" sldId="379"/>
            <ac:picMk id="5" creationId="{83C6785E-446C-4CAD-9151-798BFDC1A6C0}"/>
          </ac:picMkLst>
        </pc:picChg>
        <pc:picChg chg="add mod">
          <ac:chgData name="WONGYONGLIN91" userId="S::wongyonglin91_gmail.com#ext#@risebcg.onmicrosoft.com::b2d94f93-e580-4f0d-9dda-2138509d25ae" providerId="AD" clId="Web-{116AD1FC-2C16-4F94-8C8D-181AC04248D0}" dt="2022-01-11T03:18:54.694" v="7" actId="14100"/>
          <ac:picMkLst>
            <pc:docMk/>
            <pc:sldMk cId="3758978858" sldId="379"/>
            <ac:picMk id="6" creationId="{1882E93D-494F-4BA8-9098-F878337761DC}"/>
          </ac:picMkLst>
        </pc:picChg>
        <pc:picChg chg="del">
          <ac:chgData name="WONGYONGLIN91" userId="S::wongyonglin91_gmail.com#ext#@risebcg.onmicrosoft.com::b2d94f93-e580-4f0d-9dda-2138509d25ae" providerId="AD" clId="Web-{116AD1FC-2C16-4F94-8C8D-181AC04248D0}" dt="2022-01-11T03:18:46.538" v="4"/>
          <ac:picMkLst>
            <pc:docMk/>
            <pc:sldMk cId="3758978858" sldId="379"/>
            <ac:picMk id="7" creationId="{7172E854-F91B-4034-914C-283C25FD691D}"/>
          </ac:picMkLst>
        </pc:picChg>
        <pc:picChg chg="add mod">
          <ac:chgData name="WONGYONGLIN91" userId="S::wongyonglin91_gmail.com#ext#@risebcg.onmicrosoft.com::b2d94f93-e580-4f0d-9dda-2138509d25ae" providerId="AD" clId="Web-{116AD1FC-2C16-4F94-8C8D-181AC04248D0}" dt="2022-01-11T04:00:03.570" v="25" actId="1076"/>
          <ac:picMkLst>
            <pc:docMk/>
            <pc:sldMk cId="3758978858" sldId="379"/>
            <ac:picMk id="8" creationId="{750CED42-2432-46DD-B274-1632B83D2A96}"/>
          </ac:picMkLst>
        </pc:picChg>
        <pc:picChg chg="del mod">
          <ac:chgData name="WONGYONGLIN91" userId="S::wongyonglin91_gmail.com#ext#@risebcg.onmicrosoft.com::b2d94f93-e580-4f0d-9dda-2138509d25ae" providerId="AD" clId="Web-{116AD1FC-2C16-4F94-8C8D-181AC04248D0}" dt="2022-01-11T03:19:24.335" v="8"/>
          <ac:picMkLst>
            <pc:docMk/>
            <pc:sldMk cId="3758978858" sldId="379"/>
            <ac:picMk id="9" creationId="{D15396CB-C56C-4A94-B451-A160648373B0}"/>
          </ac:picMkLst>
        </pc:picChg>
      </pc:sldChg>
    </pc:docChg>
  </pc:docChgLst>
  <pc:docChgLst>
    <pc:chgData name="EVELYNSM.YONG" userId="S::evelynsm.yong_gmail.com#ext#@risebcg.onmicrosoft.com::67a27a72-2420-4d38-b745-316a53f4b99a" providerId="AD" clId="Web-{D9D9CDA3-6727-4953-8803-8E71B7B07B33}"/>
    <pc:docChg chg="addSld delSld modSld sldOrd">
      <pc:chgData name="EVELYNSM.YONG" userId="S::evelynsm.yong_gmail.com#ext#@risebcg.onmicrosoft.com::67a27a72-2420-4d38-b745-316a53f4b99a" providerId="AD" clId="Web-{D9D9CDA3-6727-4953-8803-8E71B7B07B33}" dt="2022-01-07T13:56:36.878" v="982" actId="20577"/>
      <pc:docMkLst>
        <pc:docMk/>
      </pc:docMkLst>
      <pc:sldChg chg="addSp delSp modSp ord">
        <pc:chgData name="EVELYNSM.YONG" userId="S::evelynsm.yong_gmail.com#ext#@risebcg.onmicrosoft.com::67a27a72-2420-4d38-b745-316a53f4b99a" providerId="AD" clId="Web-{D9D9CDA3-6727-4953-8803-8E71B7B07B33}" dt="2022-01-07T13:43:32.971" v="835" actId="1076"/>
        <pc:sldMkLst>
          <pc:docMk/>
          <pc:sldMk cId="2651815169" sldId="283"/>
        </pc:sldMkLst>
        <pc:spChg chg="add mod">
          <ac:chgData name="EVELYNSM.YONG" userId="S::evelynsm.yong_gmail.com#ext#@risebcg.onmicrosoft.com::67a27a72-2420-4d38-b745-316a53f4b99a" providerId="AD" clId="Web-{D9D9CDA3-6727-4953-8803-8E71B7B07B33}" dt="2022-01-07T13:39:35.223" v="834" actId="20577"/>
          <ac:spMkLst>
            <pc:docMk/>
            <pc:sldMk cId="2651815169" sldId="283"/>
            <ac:spMk id="2" creationId="{47297F00-E37C-4720-8E11-7D7D4CBEF7C0}"/>
          </ac:spMkLst>
        </pc:spChg>
        <pc:spChg chg="del mod">
          <ac:chgData name="EVELYNSM.YONG" userId="S::evelynsm.yong_gmail.com#ext#@risebcg.onmicrosoft.com::67a27a72-2420-4d38-b745-316a53f4b99a" providerId="AD" clId="Web-{D9D9CDA3-6727-4953-8803-8E71B7B07B33}" dt="2022-01-07T13:38:46.235" v="814"/>
          <ac:spMkLst>
            <pc:docMk/>
            <pc:sldMk cId="2651815169" sldId="283"/>
            <ac:spMk id="3" creationId="{D7658774-7C5D-470E-9611-D078B29F1C08}"/>
          </ac:spMkLst>
        </pc:spChg>
        <pc:spChg chg="mod">
          <ac:chgData name="EVELYNSM.YONG" userId="S::evelynsm.yong_gmail.com#ext#@risebcg.onmicrosoft.com::67a27a72-2420-4d38-b745-316a53f4b99a" providerId="AD" clId="Web-{D9D9CDA3-6727-4953-8803-8E71B7B07B33}" dt="2022-01-07T13:43:32.971" v="835" actId="1076"/>
          <ac:spMkLst>
            <pc:docMk/>
            <pc:sldMk cId="2651815169" sldId="283"/>
            <ac:spMk id="5" creationId="{860E882A-0BA4-44D6-AAB6-065F26C5A510}"/>
          </ac:spMkLst>
        </pc:spChg>
      </pc:sldChg>
      <pc:sldChg chg="addSp delSp modSp del ord modNotes">
        <pc:chgData name="EVELYNSM.YONG" userId="S::evelynsm.yong_gmail.com#ext#@risebcg.onmicrosoft.com::67a27a72-2420-4d38-b745-316a53f4b99a" providerId="AD" clId="Web-{D9D9CDA3-6727-4953-8803-8E71B7B07B33}" dt="2022-01-07T13:48:00.019" v="887"/>
        <pc:sldMkLst>
          <pc:docMk/>
          <pc:sldMk cId="2242905629" sldId="284"/>
        </pc:sldMkLst>
        <pc:spChg chg="del mod">
          <ac:chgData name="EVELYNSM.YONG" userId="S::evelynsm.yong_gmail.com#ext#@risebcg.onmicrosoft.com::67a27a72-2420-4d38-b745-316a53f4b99a" providerId="AD" clId="Web-{D9D9CDA3-6727-4953-8803-8E71B7B07B33}" dt="2022-01-07T13:27:13.694" v="676"/>
          <ac:spMkLst>
            <pc:docMk/>
            <pc:sldMk cId="2242905629" sldId="284"/>
            <ac:spMk id="2" creationId="{7A418B35-B1B1-4178-B33E-45DE9A785089}"/>
          </ac:spMkLst>
        </pc:spChg>
        <pc:spChg chg="del mod">
          <ac:chgData name="EVELYNSM.YONG" userId="S::evelynsm.yong_gmail.com#ext#@risebcg.onmicrosoft.com::67a27a72-2420-4d38-b745-316a53f4b99a" providerId="AD" clId="Web-{D9D9CDA3-6727-4953-8803-8E71B7B07B33}" dt="2022-01-07T13:32:25.712" v="786"/>
          <ac:spMkLst>
            <pc:docMk/>
            <pc:sldMk cId="2242905629" sldId="284"/>
            <ac:spMk id="8" creationId="{26ECF983-0664-4D23-88F0-C6200BDD3A45}"/>
          </ac:spMkLst>
        </pc:spChg>
        <pc:spChg chg="del mod">
          <ac:chgData name="EVELYNSM.YONG" userId="S::evelynsm.yong_gmail.com#ext#@risebcg.onmicrosoft.com::67a27a72-2420-4d38-b745-316a53f4b99a" providerId="AD" clId="Web-{D9D9CDA3-6727-4953-8803-8E71B7B07B33}" dt="2022-01-07T13:32:28.197" v="788"/>
          <ac:spMkLst>
            <pc:docMk/>
            <pc:sldMk cId="2242905629" sldId="284"/>
            <ac:spMk id="9" creationId="{983C5545-27E6-411E-837D-1A1AD02AAAAE}"/>
          </ac:spMkLst>
        </pc:spChg>
        <pc:spChg chg="del mod">
          <ac:chgData name="EVELYNSM.YONG" userId="S::evelynsm.yong_gmail.com#ext#@risebcg.onmicrosoft.com::67a27a72-2420-4d38-b745-316a53f4b99a" providerId="AD" clId="Web-{D9D9CDA3-6727-4953-8803-8E71B7B07B33}" dt="2022-01-07T13:32:48.886" v="796"/>
          <ac:spMkLst>
            <pc:docMk/>
            <pc:sldMk cId="2242905629" sldId="284"/>
            <ac:spMk id="10" creationId="{EF472C38-9AC1-437F-A731-5D0C67816315}"/>
          </ac:spMkLst>
        </pc:spChg>
        <pc:spChg chg="del mod">
          <ac:chgData name="EVELYNSM.YONG" userId="S::evelynsm.yong_gmail.com#ext#@risebcg.onmicrosoft.com::67a27a72-2420-4d38-b745-316a53f4b99a" providerId="AD" clId="Web-{D9D9CDA3-6727-4953-8803-8E71B7B07B33}" dt="2022-01-07T13:32:26.963" v="787"/>
          <ac:spMkLst>
            <pc:docMk/>
            <pc:sldMk cId="2242905629" sldId="284"/>
            <ac:spMk id="11" creationId="{950066AA-AD2F-4FE6-A21A-017A30F6DC6B}"/>
          </ac:spMkLst>
        </pc:spChg>
        <pc:spChg chg="del mod">
          <ac:chgData name="EVELYNSM.YONG" userId="S::evelynsm.yong_gmail.com#ext#@risebcg.onmicrosoft.com::67a27a72-2420-4d38-b745-316a53f4b99a" providerId="AD" clId="Web-{D9D9CDA3-6727-4953-8803-8E71B7B07B33}" dt="2022-01-07T13:31:33.756" v="770"/>
          <ac:spMkLst>
            <pc:docMk/>
            <pc:sldMk cId="2242905629" sldId="284"/>
            <ac:spMk id="12" creationId="{CD71BA09-C371-41DB-B31E-0517C8E6B02A}"/>
          </ac:spMkLst>
        </pc:spChg>
        <pc:spChg chg="mod">
          <ac:chgData name="EVELYNSM.YONG" userId="S::evelynsm.yong_gmail.com#ext#@risebcg.onmicrosoft.com::67a27a72-2420-4d38-b745-316a53f4b99a" providerId="AD" clId="Web-{D9D9CDA3-6727-4953-8803-8E71B7B07B33}" dt="2022-01-07T13:47:22.626" v="873" actId="1076"/>
          <ac:spMkLst>
            <pc:docMk/>
            <pc:sldMk cId="2242905629" sldId="284"/>
            <ac:spMk id="13" creationId="{91715464-7B02-4BC2-B8C3-B0971CB5F2E3}"/>
          </ac:spMkLst>
        </pc:spChg>
        <pc:spChg chg="add mod">
          <ac:chgData name="EVELYNSM.YONG" userId="S::evelynsm.yong_gmail.com#ext#@risebcg.onmicrosoft.com::67a27a72-2420-4d38-b745-316a53f4b99a" providerId="AD" clId="Web-{D9D9CDA3-6727-4953-8803-8E71B7B07B33}" dt="2022-01-07T13:47:22.626" v="872" actId="1076"/>
          <ac:spMkLst>
            <pc:docMk/>
            <pc:sldMk cId="2242905629" sldId="284"/>
            <ac:spMk id="81" creationId="{C4C7ACA8-A329-472F-98B7-667C6D450A36}"/>
          </ac:spMkLst>
        </pc:spChg>
        <pc:spChg chg="add del mod">
          <ac:chgData name="EVELYNSM.YONG" userId="S::evelynsm.yong_gmail.com#ext#@risebcg.onmicrosoft.com::67a27a72-2420-4d38-b745-316a53f4b99a" providerId="AD" clId="Web-{D9D9CDA3-6727-4953-8803-8E71B7B07B33}" dt="2022-01-07T13:27:31.007" v="679"/>
          <ac:spMkLst>
            <pc:docMk/>
            <pc:sldMk cId="2242905629" sldId="284"/>
            <ac:spMk id="3253" creationId="{4ADA512D-7D91-4294-9F00-CA90CF9DF5EC}"/>
          </ac:spMkLst>
        </pc:spChg>
        <pc:grpChg chg="del">
          <ac:chgData name="EVELYNSM.YONG" userId="S::evelynsm.yong_gmail.com#ext#@risebcg.onmicrosoft.com::67a27a72-2420-4d38-b745-316a53f4b99a" providerId="AD" clId="Web-{D9D9CDA3-6727-4953-8803-8E71B7B07B33}" dt="2022-01-07T13:32:39.885" v="792"/>
          <ac:grpSpMkLst>
            <pc:docMk/>
            <pc:sldMk cId="2242905629" sldId="284"/>
            <ac:grpSpMk id="27" creationId="{648B6F6E-4330-45D2-94C3-A69F291847C9}"/>
          </ac:grpSpMkLst>
        </pc:grpChg>
        <pc:graphicFrameChg chg="add mod ord modGraphic">
          <ac:chgData name="EVELYNSM.YONG" userId="S::evelynsm.yong_gmail.com#ext#@risebcg.onmicrosoft.com::67a27a72-2420-4d38-b745-316a53f4b99a" providerId="AD" clId="Web-{D9D9CDA3-6727-4953-8803-8E71B7B07B33}" dt="2022-01-07T13:47:22.626" v="874" actId="1076"/>
          <ac:graphicFrameMkLst>
            <pc:docMk/>
            <pc:sldMk cId="2242905629" sldId="284"/>
            <ac:graphicFrameMk id="3" creationId="{280DE572-D646-437F-9187-A27A725C3F0B}"/>
          </ac:graphicFrameMkLst>
        </pc:graphicFrameChg>
        <pc:cxnChg chg="del mod">
          <ac:chgData name="EVELYNSM.YONG" userId="S::evelynsm.yong_gmail.com#ext#@risebcg.onmicrosoft.com::67a27a72-2420-4d38-b745-316a53f4b99a" providerId="AD" clId="Web-{D9D9CDA3-6727-4953-8803-8E71B7B07B33}" dt="2022-01-07T13:32:34.057" v="789"/>
          <ac:cxnSpMkLst>
            <pc:docMk/>
            <pc:sldMk cId="2242905629" sldId="284"/>
            <ac:cxnSpMk id="14" creationId="{A9DBFB20-18CD-464B-8677-6CA7B98CC5F1}"/>
          </ac:cxnSpMkLst>
        </pc:cxnChg>
      </pc:sldChg>
      <pc:sldChg chg="ord">
        <pc:chgData name="EVELYNSM.YONG" userId="S::evelynsm.yong_gmail.com#ext#@risebcg.onmicrosoft.com::67a27a72-2420-4d38-b745-316a53f4b99a" providerId="AD" clId="Web-{D9D9CDA3-6727-4953-8803-8E71B7B07B33}" dt="2022-01-07T13:38:39.391" v="813"/>
        <pc:sldMkLst>
          <pc:docMk/>
          <pc:sldMk cId="2307665363" sldId="309"/>
        </pc:sldMkLst>
      </pc:sldChg>
      <pc:sldChg chg="addSp delSp modSp modNotes">
        <pc:chgData name="EVELYNSM.YONG" userId="S::evelynsm.yong_gmail.com#ext#@risebcg.onmicrosoft.com::67a27a72-2420-4d38-b745-316a53f4b99a" providerId="AD" clId="Web-{D9D9CDA3-6727-4953-8803-8E71B7B07B33}" dt="2022-01-07T13:34:59.206" v="805" actId="1076"/>
        <pc:sldMkLst>
          <pc:docMk/>
          <pc:sldMk cId="2256265757" sldId="315"/>
        </pc:sldMkLst>
        <pc:spChg chg="del mod">
          <ac:chgData name="EVELYNSM.YONG" userId="S::evelynsm.yong_gmail.com#ext#@risebcg.onmicrosoft.com::67a27a72-2420-4d38-b745-316a53f4b99a" providerId="AD" clId="Web-{D9D9CDA3-6727-4953-8803-8E71B7B07B33}" dt="2022-01-07T13:05:03.814" v="280"/>
          <ac:spMkLst>
            <pc:docMk/>
            <pc:sldMk cId="2256265757" sldId="315"/>
            <ac:spMk id="3" creationId="{3AAD55FA-63B7-4DBA-8DC0-293DEF7C309C}"/>
          </ac:spMkLst>
        </pc:spChg>
        <pc:spChg chg="mod">
          <ac:chgData name="EVELYNSM.YONG" userId="S::evelynsm.yong_gmail.com#ext#@risebcg.onmicrosoft.com::67a27a72-2420-4d38-b745-316a53f4b99a" providerId="AD" clId="Web-{D9D9CDA3-6727-4953-8803-8E71B7B07B33}" dt="2022-01-07T12:57:50.647" v="0" actId="14100"/>
          <ac:spMkLst>
            <pc:docMk/>
            <pc:sldMk cId="2256265757" sldId="315"/>
            <ac:spMk id="15" creationId="{16793C5A-1FE2-4545-A578-A16C2B6C45C4}"/>
          </ac:spMkLst>
        </pc:spChg>
        <pc:spChg chg="add del mod">
          <ac:chgData name="EVELYNSM.YONG" userId="S::evelynsm.yong_gmail.com#ext#@risebcg.onmicrosoft.com::67a27a72-2420-4d38-b745-316a53f4b99a" providerId="AD" clId="Web-{D9D9CDA3-6727-4953-8803-8E71B7B07B33}" dt="2022-01-07T13:05:08.111" v="281"/>
          <ac:spMkLst>
            <pc:docMk/>
            <pc:sldMk cId="2256265757" sldId="315"/>
            <ac:spMk id="4482" creationId="{B0377FEA-83EB-4E71-9DD5-2D6EF64F9F8F}"/>
          </ac:spMkLst>
        </pc:spChg>
        <pc:graphicFrameChg chg="mod modGraphic">
          <ac:chgData name="EVELYNSM.YONG" userId="S::evelynsm.yong_gmail.com#ext#@risebcg.onmicrosoft.com::67a27a72-2420-4d38-b745-316a53f4b99a" providerId="AD" clId="Web-{D9D9CDA3-6727-4953-8803-8E71B7B07B33}" dt="2022-01-07T13:34:59.206" v="805" actId="1076"/>
          <ac:graphicFrameMkLst>
            <pc:docMk/>
            <pc:sldMk cId="2256265757" sldId="315"/>
            <ac:graphicFrameMk id="18" creationId="{2289CFB1-4EE4-43EC-A8B5-4E5FC402B3C5}"/>
          </ac:graphicFrameMkLst>
        </pc:graphicFrameChg>
        <pc:picChg chg="mod">
          <ac:chgData name="EVELYNSM.YONG" userId="S::evelynsm.yong_gmail.com#ext#@risebcg.onmicrosoft.com::67a27a72-2420-4d38-b745-316a53f4b99a" providerId="AD" clId="Web-{D9D9CDA3-6727-4953-8803-8E71B7B07B33}" dt="2022-01-07T13:09:11.238" v="371" actId="1076"/>
          <ac:picMkLst>
            <pc:docMk/>
            <pc:sldMk cId="2256265757" sldId="315"/>
            <ac:picMk id="60" creationId="{30AA7644-B695-49AF-A4E1-C86E1691F805}"/>
          </ac:picMkLst>
        </pc:picChg>
      </pc:sldChg>
      <pc:sldChg chg="addSp delSp modSp">
        <pc:chgData name="EVELYNSM.YONG" userId="S::evelynsm.yong_gmail.com#ext#@risebcg.onmicrosoft.com::67a27a72-2420-4d38-b745-316a53f4b99a" providerId="AD" clId="Web-{D9D9CDA3-6727-4953-8803-8E71B7B07B33}" dt="2022-01-07T13:11:02.760" v="394" actId="1076"/>
        <pc:sldMkLst>
          <pc:docMk/>
          <pc:sldMk cId="4084366951" sldId="318"/>
        </pc:sldMkLst>
        <pc:spChg chg="mod">
          <ac:chgData name="EVELYNSM.YONG" userId="S::evelynsm.yong_gmail.com#ext#@risebcg.onmicrosoft.com::67a27a72-2420-4d38-b745-316a53f4b99a" providerId="AD" clId="Web-{D9D9CDA3-6727-4953-8803-8E71B7B07B33}" dt="2022-01-07T13:10:29.430" v="384" actId="20577"/>
          <ac:spMkLst>
            <pc:docMk/>
            <pc:sldMk cId="4084366951" sldId="318"/>
            <ac:spMk id="2" creationId="{1CAEE4F4-60D4-46CA-A79F-1CD22235EEA0}"/>
          </ac:spMkLst>
        </pc:spChg>
        <pc:spChg chg="del mod">
          <ac:chgData name="EVELYNSM.YONG" userId="S::evelynsm.yong_gmail.com#ext#@risebcg.onmicrosoft.com::67a27a72-2420-4d38-b745-316a53f4b99a" providerId="AD" clId="Web-{D9D9CDA3-6727-4953-8803-8E71B7B07B33}" dt="2022-01-07T13:10:48.025" v="388"/>
          <ac:spMkLst>
            <pc:docMk/>
            <pc:sldMk cId="4084366951" sldId="318"/>
            <ac:spMk id="3" creationId="{3AAD55FA-63B7-4DBA-8DC0-293DEF7C309C}"/>
          </ac:spMkLst>
        </pc:spChg>
        <pc:spChg chg="add mod">
          <ac:chgData name="EVELYNSM.YONG" userId="S::evelynsm.yong_gmail.com#ext#@risebcg.onmicrosoft.com::67a27a72-2420-4d38-b745-316a53f4b99a" providerId="AD" clId="Web-{D9D9CDA3-6727-4953-8803-8E71B7B07B33}" dt="2022-01-07T13:10:59.682" v="393" actId="1076"/>
          <ac:spMkLst>
            <pc:docMk/>
            <pc:sldMk cId="4084366951" sldId="318"/>
            <ac:spMk id="5" creationId="{78DD61BE-D1D7-401B-B576-C4CC8A01AA78}"/>
          </ac:spMkLst>
        </pc:spChg>
        <pc:picChg chg="mod">
          <ac:chgData name="EVELYNSM.YONG" userId="S::evelynsm.yong_gmail.com#ext#@risebcg.onmicrosoft.com::67a27a72-2420-4d38-b745-316a53f4b99a" providerId="AD" clId="Web-{D9D9CDA3-6727-4953-8803-8E71B7B07B33}" dt="2022-01-07T13:11:02.760" v="394" actId="1076"/>
          <ac:picMkLst>
            <pc:docMk/>
            <pc:sldMk cId="4084366951" sldId="318"/>
            <ac:picMk id="4" creationId="{E637BE80-4027-4B69-9D4B-56D59ADC9A3A}"/>
          </ac:picMkLst>
        </pc:picChg>
      </pc:sldChg>
      <pc:sldChg chg="modSp">
        <pc:chgData name="EVELYNSM.YONG" userId="S::evelynsm.yong_gmail.com#ext#@risebcg.onmicrosoft.com::67a27a72-2420-4d38-b745-316a53f4b99a" providerId="AD" clId="Web-{D9D9CDA3-6727-4953-8803-8E71B7B07B33}" dt="2022-01-07T13:45:14.477" v="854" actId="14100"/>
        <pc:sldMkLst>
          <pc:docMk/>
          <pc:sldMk cId="3666302761" sldId="324"/>
        </pc:sldMkLst>
        <pc:spChg chg="mod">
          <ac:chgData name="EVELYNSM.YONG" userId="S::evelynsm.yong_gmail.com#ext#@risebcg.onmicrosoft.com::67a27a72-2420-4d38-b745-316a53f4b99a" providerId="AD" clId="Web-{D9D9CDA3-6727-4953-8803-8E71B7B07B33}" dt="2022-01-07T13:45:14.477" v="854" actId="14100"/>
          <ac:spMkLst>
            <pc:docMk/>
            <pc:sldMk cId="3666302761" sldId="324"/>
            <ac:spMk id="25" creationId="{A72C66DB-3DFA-4DD0-BB16-94A4A31F5E94}"/>
          </ac:spMkLst>
        </pc:spChg>
      </pc:sldChg>
      <pc:sldChg chg="modSp">
        <pc:chgData name="EVELYNSM.YONG" userId="S::evelynsm.yong_gmail.com#ext#@risebcg.onmicrosoft.com::67a27a72-2420-4d38-b745-316a53f4b99a" providerId="AD" clId="Web-{D9D9CDA3-6727-4953-8803-8E71B7B07B33}" dt="2022-01-07T13:44:41.257" v="852"/>
        <pc:sldMkLst>
          <pc:docMk/>
          <pc:sldMk cId="2316358039" sldId="325"/>
        </pc:sldMkLst>
        <pc:spChg chg="mod">
          <ac:chgData name="EVELYNSM.YONG" userId="S::evelynsm.yong_gmail.com#ext#@risebcg.onmicrosoft.com::67a27a72-2420-4d38-b745-316a53f4b99a" providerId="AD" clId="Web-{D9D9CDA3-6727-4953-8803-8E71B7B07B33}" dt="2022-01-07T13:44:41.257" v="852"/>
          <ac:spMkLst>
            <pc:docMk/>
            <pc:sldMk cId="2316358039" sldId="325"/>
            <ac:spMk id="14" creationId="{3C1C8EDA-91F1-403C-A371-164289F5FB16}"/>
          </ac:spMkLst>
        </pc:spChg>
      </pc:sldChg>
      <pc:sldChg chg="modSp">
        <pc:chgData name="EVELYNSM.YONG" userId="S::evelynsm.yong_gmail.com#ext#@risebcg.onmicrosoft.com::67a27a72-2420-4d38-b745-316a53f4b99a" providerId="AD" clId="Web-{D9D9CDA3-6727-4953-8803-8E71B7B07B33}" dt="2022-01-07T13:44:34.319" v="849"/>
        <pc:sldMkLst>
          <pc:docMk/>
          <pc:sldMk cId="2160415509" sldId="326"/>
        </pc:sldMkLst>
        <pc:spChg chg="mod">
          <ac:chgData name="EVELYNSM.YONG" userId="S::evelynsm.yong_gmail.com#ext#@risebcg.onmicrosoft.com::67a27a72-2420-4d38-b745-316a53f4b99a" providerId="AD" clId="Web-{D9D9CDA3-6727-4953-8803-8E71B7B07B33}" dt="2022-01-07T13:44:34.319" v="849"/>
          <ac:spMkLst>
            <pc:docMk/>
            <pc:sldMk cId="2160415509" sldId="326"/>
            <ac:spMk id="4" creationId="{215644EC-E1A2-4B5F-BA53-79EB189605EC}"/>
          </ac:spMkLst>
        </pc:spChg>
      </pc:sldChg>
      <pc:sldChg chg="modSp">
        <pc:chgData name="EVELYNSM.YONG" userId="S::evelynsm.yong_gmail.com#ext#@risebcg.onmicrosoft.com::67a27a72-2420-4d38-b745-316a53f4b99a" providerId="AD" clId="Web-{D9D9CDA3-6727-4953-8803-8E71B7B07B33}" dt="2022-01-07T13:44:30.725" v="848"/>
        <pc:sldMkLst>
          <pc:docMk/>
          <pc:sldMk cId="4276505800" sldId="329"/>
        </pc:sldMkLst>
        <pc:spChg chg="mod">
          <ac:chgData name="EVELYNSM.YONG" userId="S::evelynsm.yong_gmail.com#ext#@risebcg.onmicrosoft.com::67a27a72-2420-4d38-b745-316a53f4b99a" providerId="AD" clId="Web-{D9D9CDA3-6727-4953-8803-8E71B7B07B33}" dt="2022-01-07T13:44:30.725" v="848"/>
          <ac:spMkLst>
            <pc:docMk/>
            <pc:sldMk cId="4276505800" sldId="329"/>
            <ac:spMk id="3" creationId="{FA363FAE-9C13-49DF-A86A-6D93D63F5439}"/>
          </ac:spMkLst>
        </pc:spChg>
      </pc:sldChg>
      <pc:sldChg chg="modSp">
        <pc:chgData name="EVELYNSM.YONG" userId="S::evelynsm.yong_gmail.com#ext#@risebcg.onmicrosoft.com::67a27a72-2420-4d38-b745-316a53f4b99a" providerId="AD" clId="Web-{D9D9CDA3-6727-4953-8803-8E71B7B07B33}" dt="2022-01-07T13:44:27.631" v="847"/>
        <pc:sldMkLst>
          <pc:docMk/>
          <pc:sldMk cId="2728944561" sldId="333"/>
        </pc:sldMkLst>
        <pc:spChg chg="mod">
          <ac:chgData name="EVELYNSM.YONG" userId="S::evelynsm.yong_gmail.com#ext#@risebcg.onmicrosoft.com::67a27a72-2420-4d38-b745-316a53f4b99a" providerId="AD" clId="Web-{D9D9CDA3-6727-4953-8803-8E71B7B07B33}" dt="2022-01-07T13:44:27.631" v="847"/>
          <ac:spMkLst>
            <pc:docMk/>
            <pc:sldMk cId="2728944561" sldId="333"/>
            <ac:spMk id="3" creationId="{9C545F2D-9E52-4C81-8BAE-363F523739FD}"/>
          </ac:spMkLst>
        </pc:spChg>
      </pc:sldChg>
      <pc:sldChg chg="addSp delSp modSp">
        <pc:chgData name="EVELYNSM.YONG" userId="S::evelynsm.yong_gmail.com#ext#@risebcg.onmicrosoft.com::67a27a72-2420-4d38-b745-316a53f4b99a" providerId="AD" clId="Web-{D9D9CDA3-6727-4953-8803-8E71B7B07B33}" dt="2022-01-07T13:44:14.771" v="846"/>
        <pc:sldMkLst>
          <pc:docMk/>
          <pc:sldMk cId="1249418479" sldId="334"/>
        </pc:sldMkLst>
        <pc:spChg chg="del mod">
          <ac:chgData name="EVELYNSM.YONG" userId="S::evelynsm.yong_gmail.com#ext#@risebcg.onmicrosoft.com::67a27a72-2420-4d38-b745-316a53f4b99a" providerId="AD" clId="Web-{D9D9CDA3-6727-4953-8803-8E71B7B07B33}" dt="2022-01-07T13:21:01.609" v="534"/>
          <ac:spMkLst>
            <pc:docMk/>
            <pc:sldMk cId="1249418479" sldId="334"/>
            <ac:spMk id="3" creationId="{3AAD55FA-63B7-4DBA-8DC0-293DEF7C309C}"/>
          </ac:spMkLst>
        </pc:spChg>
        <pc:spChg chg="add mod">
          <ac:chgData name="EVELYNSM.YONG" userId="S::evelynsm.yong_gmail.com#ext#@risebcg.onmicrosoft.com::67a27a72-2420-4d38-b745-316a53f4b99a" providerId="AD" clId="Web-{D9D9CDA3-6727-4953-8803-8E71B7B07B33}" dt="2022-01-07T13:44:14.771" v="846"/>
          <ac:spMkLst>
            <pc:docMk/>
            <pc:sldMk cId="1249418479" sldId="334"/>
            <ac:spMk id="4" creationId="{E46E2F92-A159-4912-84AA-DB46BFE3D9EB}"/>
          </ac:spMkLst>
        </pc:spChg>
        <pc:spChg chg="add mod">
          <ac:chgData name="EVELYNSM.YONG" userId="S::evelynsm.yong_gmail.com#ext#@risebcg.onmicrosoft.com::67a27a72-2420-4d38-b745-316a53f4b99a" providerId="AD" clId="Web-{D9D9CDA3-6727-4953-8803-8E71B7B07B33}" dt="2022-01-07T13:21:31.470" v="542" actId="1076"/>
          <ac:spMkLst>
            <pc:docMk/>
            <pc:sldMk cId="1249418479" sldId="334"/>
            <ac:spMk id="11" creationId="{662CF00E-7074-47A1-AC23-D8720DE006B4}"/>
          </ac:spMkLst>
        </pc:spChg>
        <pc:spChg chg="add del">
          <ac:chgData name="EVELYNSM.YONG" userId="S::evelynsm.yong_gmail.com#ext#@risebcg.onmicrosoft.com::67a27a72-2420-4d38-b745-316a53f4b99a" providerId="AD" clId="Web-{D9D9CDA3-6727-4953-8803-8E71B7B07B33}" dt="2022-01-07T13:21:06.875" v="537"/>
          <ac:spMkLst>
            <pc:docMk/>
            <pc:sldMk cId="1249418479" sldId="334"/>
            <ac:spMk id="12" creationId="{A0006FE5-B92C-4A88-AC54-09474B81293C}"/>
          </ac:spMkLst>
        </pc:spChg>
      </pc:sldChg>
      <pc:sldChg chg="addSp modSp">
        <pc:chgData name="EVELYNSM.YONG" userId="S::evelynsm.yong_gmail.com#ext#@risebcg.onmicrosoft.com::67a27a72-2420-4d38-b745-316a53f4b99a" providerId="AD" clId="Web-{D9D9CDA3-6727-4953-8803-8E71B7B07B33}" dt="2022-01-07T13:45:52.917" v="858" actId="1076"/>
        <pc:sldMkLst>
          <pc:docMk/>
          <pc:sldMk cId="2652119032" sldId="335"/>
        </pc:sldMkLst>
        <pc:spChg chg="mod">
          <ac:chgData name="EVELYNSM.YONG" userId="S::evelynsm.yong_gmail.com#ext#@risebcg.onmicrosoft.com::67a27a72-2420-4d38-b745-316a53f4b99a" providerId="AD" clId="Web-{D9D9CDA3-6727-4953-8803-8E71B7B07B33}" dt="2022-01-07T13:45:49.183" v="857" actId="14100"/>
          <ac:spMkLst>
            <pc:docMk/>
            <pc:sldMk cId="2652119032" sldId="335"/>
            <ac:spMk id="3" creationId="{CB7BAFB0-445F-4F96-BCE3-50C0E2AB21AD}"/>
          </ac:spMkLst>
        </pc:spChg>
        <pc:spChg chg="add mod">
          <ac:chgData name="EVELYNSM.YONG" userId="S::evelynsm.yong_gmail.com#ext#@risebcg.onmicrosoft.com::67a27a72-2420-4d38-b745-316a53f4b99a" providerId="AD" clId="Web-{D9D9CDA3-6727-4953-8803-8E71B7B07B33}" dt="2022-01-07T13:45:52.917" v="858" actId="1076"/>
          <ac:spMkLst>
            <pc:docMk/>
            <pc:sldMk cId="2652119032" sldId="335"/>
            <ac:spMk id="4" creationId="{7BCAFA08-4D06-4459-BDE0-CAB790C8CB40}"/>
          </ac:spMkLst>
        </pc:spChg>
      </pc:sldChg>
      <pc:sldChg chg="add replId">
        <pc:chgData name="EVELYNSM.YONG" userId="S::evelynsm.yong_gmail.com#ext#@risebcg.onmicrosoft.com::67a27a72-2420-4d38-b745-316a53f4b99a" providerId="AD" clId="Web-{D9D9CDA3-6727-4953-8803-8E71B7B07B33}" dt="2022-01-07T13:11:46.825" v="397"/>
        <pc:sldMkLst>
          <pc:docMk/>
          <pc:sldMk cId="1003929508" sldId="338"/>
        </pc:sldMkLst>
      </pc:sldChg>
      <pc:sldChg chg="addSp delSp modSp new modNotes">
        <pc:chgData name="EVELYNSM.YONG" userId="S::evelynsm.yong_gmail.com#ext#@risebcg.onmicrosoft.com::67a27a72-2420-4d38-b745-316a53f4b99a" providerId="AD" clId="Web-{D9D9CDA3-6727-4953-8803-8E71B7B07B33}" dt="2022-01-07T13:56:36.878" v="982" actId="20577"/>
        <pc:sldMkLst>
          <pc:docMk/>
          <pc:sldMk cId="3391215681" sldId="339"/>
        </pc:sldMkLst>
        <pc:spChg chg="del">
          <ac:chgData name="EVELYNSM.YONG" userId="S::evelynsm.yong_gmail.com#ext#@risebcg.onmicrosoft.com::67a27a72-2420-4d38-b745-316a53f4b99a" providerId="AD" clId="Web-{D9D9CDA3-6727-4953-8803-8E71B7B07B33}" dt="2022-01-07T13:47:30.064" v="876"/>
          <ac:spMkLst>
            <pc:docMk/>
            <pc:sldMk cId="3391215681" sldId="339"/>
            <ac:spMk id="2" creationId="{8FA8A080-8BEB-4C17-A95C-C26A1212E6BA}"/>
          </ac:spMkLst>
        </pc:spChg>
        <pc:spChg chg="del">
          <ac:chgData name="EVELYNSM.YONG" userId="S::evelynsm.yong_gmail.com#ext#@risebcg.onmicrosoft.com::67a27a72-2420-4d38-b745-316a53f4b99a" providerId="AD" clId="Web-{D9D9CDA3-6727-4953-8803-8E71B7B07B33}" dt="2022-01-07T13:47:27.829" v="875"/>
          <ac:spMkLst>
            <pc:docMk/>
            <pc:sldMk cId="3391215681" sldId="339"/>
            <ac:spMk id="3" creationId="{E8355BAF-6EEC-4CB4-A36F-ECA441BF3252}"/>
          </ac:spMkLst>
        </pc:spChg>
        <pc:spChg chg="add del">
          <ac:chgData name="EVELYNSM.YONG" userId="S::evelynsm.yong_gmail.com#ext#@risebcg.onmicrosoft.com::67a27a72-2420-4d38-b745-316a53f4b99a" providerId="AD" clId="Web-{D9D9CDA3-6727-4953-8803-8E71B7B07B33}" dt="2022-01-07T13:47:20.032" v="870"/>
          <ac:spMkLst>
            <pc:docMk/>
            <pc:sldMk cId="3391215681" sldId="339"/>
            <ac:spMk id="24" creationId="{5E84F708-96F1-4412-A2CE-E9DE4316C1E9}"/>
          </ac:spMkLst>
        </pc:spChg>
        <pc:spChg chg="add del">
          <ac:chgData name="EVELYNSM.YONG" userId="S::evelynsm.yong_gmail.com#ext#@risebcg.onmicrosoft.com::67a27a72-2420-4d38-b745-316a53f4b99a" providerId="AD" clId="Web-{D9D9CDA3-6727-4953-8803-8E71B7B07B33}" dt="2022-01-07T13:47:20.032" v="869"/>
          <ac:spMkLst>
            <pc:docMk/>
            <pc:sldMk cId="3391215681" sldId="339"/>
            <ac:spMk id="26" creationId="{7EE037DB-4A3B-4476-814C-26D3C4F8F1F1}"/>
          </ac:spMkLst>
        </pc:spChg>
        <pc:spChg chg="add mod">
          <ac:chgData name="EVELYNSM.YONG" userId="S::evelynsm.yong_gmail.com#ext#@risebcg.onmicrosoft.com::67a27a72-2420-4d38-b745-316a53f4b99a" providerId="AD" clId="Web-{D9D9CDA3-6727-4953-8803-8E71B7B07B33}" dt="2022-01-07T13:51:27.594" v="958" actId="14100"/>
          <ac:spMkLst>
            <pc:docMk/>
            <pc:sldMk cId="3391215681" sldId="339"/>
            <ac:spMk id="47" creationId="{B72F6C48-B470-4163-9AC9-2982A10656DA}"/>
          </ac:spMkLst>
        </pc:spChg>
        <pc:spChg chg="add">
          <ac:chgData name="EVELYNSM.YONG" userId="S::evelynsm.yong_gmail.com#ext#@risebcg.onmicrosoft.com::67a27a72-2420-4d38-b745-316a53f4b99a" providerId="AD" clId="Web-{D9D9CDA3-6727-4953-8803-8E71B7B07B33}" dt="2022-01-07T13:47:30.595" v="879"/>
          <ac:spMkLst>
            <pc:docMk/>
            <pc:sldMk cId="3391215681" sldId="339"/>
            <ac:spMk id="49" creationId="{1A40ECD8-EC71-4C0D-A629-C5042C9FBE1B}"/>
          </ac:spMkLst>
        </pc:spChg>
        <pc:graphicFrameChg chg="add del">
          <ac:chgData name="EVELYNSM.YONG" userId="S::evelynsm.yong_gmail.com#ext#@risebcg.onmicrosoft.com::67a27a72-2420-4d38-b745-316a53f4b99a" providerId="AD" clId="Web-{D9D9CDA3-6727-4953-8803-8E71B7B07B33}" dt="2022-01-07T13:47:20.032" v="871"/>
          <ac:graphicFrameMkLst>
            <pc:docMk/>
            <pc:sldMk cId="3391215681" sldId="339"/>
            <ac:graphicFrameMk id="5" creationId="{673A58DC-0EF2-40AD-BAC4-FD017B965EBC}"/>
          </ac:graphicFrameMkLst>
        </pc:graphicFrameChg>
        <pc:graphicFrameChg chg="add modGraphic">
          <ac:chgData name="EVELYNSM.YONG" userId="S::evelynsm.yong_gmail.com#ext#@risebcg.onmicrosoft.com::67a27a72-2420-4d38-b745-316a53f4b99a" providerId="AD" clId="Web-{D9D9CDA3-6727-4953-8803-8E71B7B07B33}" dt="2022-01-07T13:56:36.878" v="982" actId="20577"/>
          <ac:graphicFrameMkLst>
            <pc:docMk/>
            <pc:sldMk cId="3391215681" sldId="339"/>
            <ac:graphicFrameMk id="28" creationId="{9D58B7B4-DE29-4DDF-BB8A-729D2B705659}"/>
          </ac:graphicFrameMkLst>
        </pc:graphicFrameChg>
      </pc:sldChg>
    </pc:docChg>
  </pc:docChgLst>
  <pc:docChgLst>
    <pc:chgData name="EVELYNSM.YONG" userId="S::evelynsm.yong_gmail.com#ext#@risebcg.onmicrosoft.com::67a27a72-2420-4d38-b745-316a53f4b99a" providerId="AD" clId="Web-{42D81030-C5C2-460C-A637-800465825350}"/>
    <pc:docChg chg="modSld">
      <pc:chgData name="EVELYNSM.YONG" userId="S::evelynsm.yong_gmail.com#ext#@risebcg.onmicrosoft.com::67a27a72-2420-4d38-b745-316a53f4b99a" providerId="AD" clId="Web-{42D81030-C5C2-460C-A637-800465825350}" dt="2022-01-07T16:02:55.108" v="305" actId="1076"/>
      <pc:docMkLst>
        <pc:docMk/>
      </pc:docMkLst>
      <pc:sldChg chg="addSp modSp">
        <pc:chgData name="EVELYNSM.YONG" userId="S::evelynsm.yong_gmail.com#ext#@risebcg.onmicrosoft.com::67a27a72-2420-4d38-b745-316a53f4b99a" providerId="AD" clId="Web-{42D81030-C5C2-460C-A637-800465825350}" dt="2022-01-07T16:02:55.108" v="305" actId="1076"/>
        <pc:sldMkLst>
          <pc:docMk/>
          <pc:sldMk cId="2651815169" sldId="283"/>
        </pc:sldMkLst>
        <pc:spChg chg="mod">
          <ac:chgData name="EVELYNSM.YONG" userId="S::evelynsm.yong_gmail.com#ext#@risebcg.onmicrosoft.com::67a27a72-2420-4d38-b745-316a53f4b99a" providerId="AD" clId="Web-{42D81030-C5C2-460C-A637-800465825350}" dt="2022-01-07T16:02:45.499" v="302" actId="20577"/>
          <ac:spMkLst>
            <pc:docMk/>
            <pc:sldMk cId="2651815169" sldId="283"/>
            <ac:spMk id="4" creationId="{C3F6C5B1-254F-4FE6-BDCC-5FB9103008E3}"/>
          </ac:spMkLst>
        </pc:spChg>
        <pc:spChg chg="mod">
          <ac:chgData name="EVELYNSM.YONG" userId="S::evelynsm.yong_gmail.com#ext#@risebcg.onmicrosoft.com::67a27a72-2420-4d38-b745-316a53f4b99a" providerId="AD" clId="Web-{42D81030-C5C2-460C-A637-800465825350}" dt="2022-01-07T15:59:54.073" v="149" actId="20577"/>
          <ac:spMkLst>
            <pc:docMk/>
            <pc:sldMk cId="2651815169" sldId="283"/>
            <ac:spMk id="7" creationId="{E61FCFC1-D89A-45B3-AC51-C90F2B6D8A09}"/>
          </ac:spMkLst>
        </pc:spChg>
        <pc:picChg chg="add mod">
          <ac:chgData name="EVELYNSM.YONG" userId="S::evelynsm.yong_gmail.com#ext#@risebcg.onmicrosoft.com::67a27a72-2420-4d38-b745-316a53f4b99a" providerId="AD" clId="Web-{42D81030-C5C2-460C-A637-800465825350}" dt="2022-01-07T16:02:55.108" v="305" actId="1076"/>
          <ac:picMkLst>
            <pc:docMk/>
            <pc:sldMk cId="2651815169" sldId="283"/>
            <ac:picMk id="3" creationId="{08FA628E-AD39-4DCF-A5CF-78CFA592FB2B}"/>
          </ac:picMkLst>
        </pc:picChg>
      </pc:sldChg>
      <pc:sldChg chg="addSp delSp modSp">
        <pc:chgData name="EVELYNSM.YONG" userId="S::evelynsm.yong_gmail.com#ext#@risebcg.onmicrosoft.com::67a27a72-2420-4d38-b745-316a53f4b99a" providerId="AD" clId="Web-{42D81030-C5C2-460C-A637-800465825350}" dt="2022-01-07T15:59:44.745" v="147"/>
        <pc:sldMkLst>
          <pc:docMk/>
          <pc:sldMk cId="2652119032" sldId="335"/>
        </pc:sldMkLst>
        <pc:spChg chg="mod">
          <ac:chgData name="EVELYNSM.YONG" userId="S::evelynsm.yong_gmail.com#ext#@risebcg.onmicrosoft.com::67a27a72-2420-4d38-b745-316a53f4b99a" providerId="AD" clId="Web-{42D81030-C5C2-460C-A637-800465825350}" dt="2022-01-07T15:59:25.885" v="142" actId="20577"/>
          <ac:spMkLst>
            <pc:docMk/>
            <pc:sldMk cId="2652119032" sldId="335"/>
            <ac:spMk id="9" creationId="{7E2F8E19-F56B-4CB8-9CA2-A1277727EBFD}"/>
          </ac:spMkLst>
        </pc:spChg>
        <pc:picChg chg="add del mod">
          <ac:chgData name="EVELYNSM.YONG" userId="S::evelynsm.yong_gmail.com#ext#@risebcg.onmicrosoft.com::67a27a72-2420-4d38-b745-316a53f4b99a" providerId="AD" clId="Web-{42D81030-C5C2-460C-A637-800465825350}" dt="2022-01-07T15:59:44.745" v="147"/>
          <ac:picMkLst>
            <pc:docMk/>
            <pc:sldMk cId="2652119032" sldId="335"/>
            <ac:picMk id="11" creationId="{21FEB314-45CB-4638-830C-4B44E32C1484}"/>
          </ac:picMkLst>
        </pc:picChg>
      </pc:sldChg>
    </pc:docChg>
  </pc:docChgLst>
  <pc:docChgLst>
    <pc:chgData name="wei yuan" userId="S::pwy_92_hotmail.com#ext#@risebcg.onmicrosoft.com::ca38e7f8-9ace-4d94-b37a-86e65e91f2b0" providerId="AD" clId="Web-{7463F86D-6C44-401E-8A00-13B6FBFAE0BB}"/>
    <pc:docChg chg="modSld">
      <pc:chgData name="wei yuan" userId="S::pwy_92_hotmail.com#ext#@risebcg.onmicrosoft.com::ca38e7f8-9ace-4d94-b37a-86e65e91f2b0" providerId="AD" clId="Web-{7463F86D-6C44-401E-8A00-13B6FBFAE0BB}" dt="2022-01-10T07:37:02.071" v="233"/>
      <pc:docMkLst>
        <pc:docMk/>
      </pc:docMkLst>
      <pc:sldChg chg="delSp modNotes">
        <pc:chgData name="wei yuan" userId="S::pwy_92_hotmail.com#ext#@risebcg.onmicrosoft.com::ca38e7f8-9ace-4d94-b37a-86e65e91f2b0" providerId="AD" clId="Web-{7463F86D-6C44-401E-8A00-13B6FBFAE0BB}" dt="2022-01-10T07:37:02.071" v="233"/>
        <pc:sldMkLst>
          <pc:docMk/>
          <pc:sldMk cId="1894441827" sldId="358"/>
        </pc:sldMkLst>
        <pc:spChg chg="del">
          <ac:chgData name="wei yuan" userId="S::pwy_92_hotmail.com#ext#@risebcg.onmicrosoft.com::ca38e7f8-9ace-4d94-b37a-86e65e91f2b0" providerId="AD" clId="Web-{7463F86D-6C44-401E-8A00-13B6FBFAE0BB}" dt="2022-01-10T05:43:08.519" v="61"/>
          <ac:spMkLst>
            <pc:docMk/>
            <pc:sldMk cId="1894441827" sldId="358"/>
            <ac:spMk id="13" creationId="{E2455A5F-294A-4EA7-8956-A3DA20378328}"/>
          </ac:spMkLst>
        </pc:spChg>
      </pc:sldChg>
    </pc:docChg>
  </pc:docChgLst>
  <pc:docChgLst>
    <pc:chgData name="COSMOSFREN" userId="S::cosmosfren_yahoo.com#ext#@risebcg.onmicrosoft.com::5462f5f4-f618-47aa-abd8-fd504e002570" providerId="AD" clId="Web-{66309B90-B0C0-4F8C-8157-2D5E7497EB64}"/>
    <pc:docChg chg="modSld">
      <pc:chgData name="COSMOSFREN" userId="S::cosmosfren_yahoo.com#ext#@risebcg.onmicrosoft.com::5462f5f4-f618-47aa-abd8-fd504e002570" providerId="AD" clId="Web-{66309B90-B0C0-4F8C-8157-2D5E7497EB64}" dt="2022-01-11T05:28:47.309" v="43" actId="20577"/>
      <pc:docMkLst>
        <pc:docMk/>
      </pc:docMkLst>
      <pc:sldChg chg="modNotes">
        <pc:chgData name="COSMOSFREN" userId="S::cosmosfren_yahoo.com#ext#@risebcg.onmicrosoft.com::5462f5f4-f618-47aa-abd8-fd504e002570" providerId="AD" clId="Web-{66309B90-B0C0-4F8C-8157-2D5E7497EB64}" dt="2022-01-11T05:28:10.276" v="41"/>
        <pc:sldMkLst>
          <pc:docMk/>
          <pc:sldMk cId="2256265757" sldId="315"/>
        </pc:sldMkLst>
      </pc:sldChg>
      <pc:sldChg chg="modNotes">
        <pc:chgData name="COSMOSFREN" userId="S::cosmosfren_yahoo.com#ext#@risebcg.onmicrosoft.com::5462f5f4-f618-47aa-abd8-fd504e002570" providerId="AD" clId="Web-{66309B90-B0C0-4F8C-8157-2D5E7497EB64}" dt="2022-01-11T05:27:35.307" v="35"/>
        <pc:sldMkLst>
          <pc:docMk/>
          <pc:sldMk cId="2316358039" sldId="325"/>
        </pc:sldMkLst>
      </pc:sldChg>
      <pc:sldChg chg="modNotes">
        <pc:chgData name="COSMOSFREN" userId="S::cosmosfren_yahoo.com#ext#@risebcg.onmicrosoft.com::5462f5f4-f618-47aa-abd8-fd504e002570" providerId="AD" clId="Web-{66309B90-B0C0-4F8C-8157-2D5E7497EB64}" dt="2022-01-11T05:27:59.905" v="38"/>
        <pc:sldMkLst>
          <pc:docMk/>
          <pc:sldMk cId="1894441827" sldId="358"/>
        </pc:sldMkLst>
      </pc:sldChg>
      <pc:sldChg chg="modNotes">
        <pc:chgData name="COSMOSFREN" userId="S::cosmosfren_yahoo.com#ext#@risebcg.onmicrosoft.com::5462f5f4-f618-47aa-abd8-fd504e002570" providerId="AD" clId="Web-{66309B90-B0C0-4F8C-8157-2D5E7497EB64}" dt="2022-01-11T05:27:08.572" v="31"/>
        <pc:sldMkLst>
          <pc:docMk/>
          <pc:sldMk cId="531825606" sldId="383"/>
        </pc:sldMkLst>
      </pc:sldChg>
      <pc:sldChg chg="modSp">
        <pc:chgData name="COSMOSFREN" userId="S::cosmosfren_yahoo.com#ext#@risebcg.onmicrosoft.com::5462f5f4-f618-47aa-abd8-fd504e002570" providerId="AD" clId="Web-{66309B90-B0C0-4F8C-8157-2D5E7497EB64}" dt="2022-01-11T05:28:47.309" v="43" actId="20577"/>
        <pc:sldMkLst>
          <pc:docMk/>
          <pc:sldMk cId="3911111002" sldId="389"/>
        </pc:sldMkLst>
        <pc:spChg chg="mod">
          <ac:chgData name="COSMOSFREN" userId="S::cosmosfren_yahoo.com#ext#@risebcg.onmicrosoft.com::5462f5f4-f618-47aa-abd8-fd504e002570" providerId="AD" clId="Web-{66309B90-B0C0-4F8C-8157-2D5E7497EB64}" dt="2022-01-11T05:28:47.309" v="43" actId="20577"/>
          <ac:spMkLst>
            <pc:docMk/>
            <pc:sldMk cId="3911111002" sldId="389"/>
            <ac:spMk id="4" creationId="{B5093534-E4E0-4265-83EB-A4FA8D3A8C7C}"/>
          </ac:spMkLst>
        </pc:spChg>
      </pc:sldChg>
    </pc:docChg>
  </pc:docChgLst>
  <pc:docChgLst>
    <pc:chgData name="wei yuan" userId="S::pwy_92_hotmail.com#ext#@risebcg.onmicrosoft.com::ca38e7f8-9ace-4d94-b37a-86e65e91f2b0" providerId="AD" clId="Web-{5CD08495-A19E-4CF7-BFBD-9B49CA003DCB}"/>
    <pc:docChg chg="modSld">
      <pc:chgData name="wei yuan" userId="S::pwy_92_hotmail.com#ext#@risebcg.onmicrosoft.com::ca38e7f8-9ace-4d94-b37a-86e65e91f2b0" providerId="AD" clId="Web-{5CD08495-A19E-4CF7-BFBD-9B49CA003DCB}" dt="2022-01-11T00:33:43.917" v="4" actId="1076"/>
      <pc:docMkLst>
        <pc:docMk/>
      </pc:docMkLst>
      <pc:sldChg chg="addSp modSp">
        <pc:chgData name="wei yuan" userId="S::pwy_92_hotmail.com#ext#@risebcg.onmicrosoft.com::ca38e7f8-9ace-4d94-b37a-86e65e91f2b0" providerId="AD" clId="Web-{5CD08495-A19E-4CF7-BFBD-9B49CA003DCB}" dt="2022-01-11T00:33:43.917" v="4" actId="1076"/>
        <pc:sldMkLst>
          <pc:docMk/>
          <pc:sldMk cId="2160415509" sldId="326"/>
        </pc:sldMkLst>
        <pc:picChg chg="add mod">
          <ac:chgData name="wei yuan" userId="S::pwy_92_hotmail.com#ext#@risebcg.onmicrosoft.com::ca38e7f8-9ace-4d94-b37a-86e65e91f2b0" providerId="AD" clId="Web-{5CD08495-A19E-4CF7-BFBD-9B49CA003DCB}" dt="2022-01-11T00:33:43.917" v="4" actId="1076"/>
          <ac:picMkLst>
            <pc:docMk/>
            <pc:sldMk cId="2160415509" sldId="326"/>
            <ac:picMk id="6" creationId="{7B905E0D-985A-447D-B4B6-DCCB0FA62F2A}"/>
          </ac:picMkLst>
        </pc:picChg>
      </pc:sldChg>
    </pc:docChg>
  </pc:docChgLst>
  <pc:docChgLst>
    <pc:chgData name="EVELYNSM.YONG" userId="S::evelynsm.yong_gmail.com#ext#@risebcg.onmicrosoft.com::67a27a72-2420-4d38-b745-316a53f4b99a" providerId="AD" clId="Web-{CD67B01C-8D2C-4219-AAFF-DFC5DB634769}"/>
    <pc:docChg chg="modSld">
      <pc:chgData name="EVELYNSM.YONG" userId="S::evelynsm.yong_gmail.com#ext#@risebcg.onmicrosoft.com::67a27a72-2420-4d38-b745-316a53f4b99a" providerId="AD" clId="Web-{CD67B01C-8D2C-4219-AAFF-DFC5DB634769}" dt="2022-01-10T01:59:24.333" v="102" actId="14100"/>
      <pc:docMkLst>
        <pc:docMk/>
      </pc:docMkLst>
      <pc:sldChg chg="addSp delSp modSp">
        <pc:chgData name="EVELYNSM.YONG" userId="S::evelynsm.yong_gmail.com#ext#@risebcg.onmicrosoft.com::67a27a72-2420-4d38-b745-316a53f4b99a" providerId="AD" clId="Web-{CD67B01C-8D2C-4219-AAFF-DFC5DB634769}" dt="2022-01-10T01:41:41.892" v="22"/>
        <pc:sldMkLst>
          <pc:docMk/>
          <pc:sldMk cId="2652119032" sldId="335"/>
        </pc:sldMkLst>
        <pc:picChg chg="add mod">
          <ac:chgData name="EVELYNSM.YONG" userId="S::evelynsm.yong_gmail.com#ext#@risebcg.onmicrosoft.com::67a27a72-2420-4d38-b745-316a53f4b99a" providerId="AD" clId="Web-{CD67B01C-8D2C-4219-AAFF-DFC5DB634769}" dt="2022-01-10T01:41:41.892" v="22"/>
          <ac:picMkLst>
            <pc:docMk/>
            <pc:sldMk cId="2652119032" sldId="335"/>
            <ac:picMk id="2" creationId="{6BBE8389-1D25-4379-BF1C-7067429B2BEC}"/>
          </ac:picMkLst>
        </pc:picChg>
        <pc:picChg chg="del mod">
          <ac:chgData name="EVELYNSM.YONG" userId="S::evelynsm.yong_gmail.com#ext#@risebcg.onmicrosoft.com::67a27a72-2420-4d38-b745-316a53f4b99a" providerId="AD" clId="Web-{CD67B01C-8D2C-4219-AAFF-DFC5DB634769}" dt="2022-01-10T01:41:34.876" v="20"/>
          <ac:picMkLst>
            <pc:docMk/>
            <pc:sldMk cId="2652119032" sldId="335"/>
            <ac:picMk id="45" creationId="{722C9DF0-4B53-408A-BC39-B206E4C3860C}"/>
          </ac:picMkLst>
        </pc:picChg>
      </pc:sldChg>
      <pc:sldChg chg="modSp">
        <pc:chgData name="EVELYNSM.YONG" userId="S::evelynsm.yong_gmail.com#ext#@risebcg.onmicrosoft.com::67a27a72-2420-4d38-b745-316a53f4b99a" providerId="AD" clId="Web-{CD67B01C-8D2C-4219-AAFF-DFC5DB634769}" dt="2022-01-10T01:44:11.144" v="44"/>
        <pc:sldMkLst>
          <pc:docMk/>
          <pc:sldMk cId="4159389698" sldId="342"/>
        </pc:sldMkLst>
        <pc:spChg chg="mod">
          <ac:chgData name="EVELYNSM.YONG" userId="S::evelynsm.yong_gmail.com#ext#@risebcg.onmicrosoft.com::67a27a72-2420-4d38-b745-316a53f4b99a" providerId="AD" clId="Web-{CD67B01C-8D2C-4219-AAFF-DFC5DB634769}" dt="2022-01-10T01:41:00.469" v="12" actId="1076"/>
          <ac:spMkLst>
            <pc:docMk/>
            <pc:sldMk cId="4159389698" sldId="342"/>
            <ac:spMk id="2" creationId="{080435EA-AD4F-4934-83BC-D5D53AFD93E9}"/>
          </ac:spMkLst>
        </pc:spChg>
        <pc:spChg chg="mod">
          <ac:chgData name="EVELYNSM.YONG" userId="S::evelynsm.yong_gmail.com#ext#@risebcg.onmicrosoft.com::67a27a72-2420-4d38-b745-316a53f4b99a" providerId="AD" clId="Web-{CD67B01C-8D2C-4219-AAFF-DFC5DB634769}" dt="2022-01-10T01:42:53.190" v="28" actId="20577"/>
          <ac:spMkLst>
            <pc:docMk/>
            <pc:sldMk cId="4159389698" sldId="342"/>
            <ac:spMk id="27" creationId="{DCFD4D3C-02DB-4109-AE1E-9B21315DB83D}"/>
          </ac:spMkLst>
        </pc:spChg>
        <pc:grpChg chg="mod">
          <ac:chgData name="EVELYNSM.YONG" userId="S::evelynsm.yong_gmail.com#ext#@risebcg.onmicrosoft.com::67a27a72-2420-4d38-b745-316a53f4b99a" providerId="AD" clId="Web-{CD67B01C-8D2C-4219-AAFF-DFC5DB634769}" dt="2022-01-10T01:41:59.220" v="24" actId="1076"/>
          <ac:grpSpMkLst>
            <pc:docMk/>
            <pc:sldMk cId="4159389698" sldId="342"/>
            <ac:grpSpMk id="31" creationId="{76E18740-F22D-4963-BCB7-3EF1ECF50B99}"/>
          </ac:grpSpMkLst>
        </pc:grpChg>
        <pc:cxnChg chg="mod">
          <ac:chgData name="EVELYNSM.YONG" userId="S::evelynsm.yong_gmail.com#ext#@risebcg.onmicrosoft.com::67a27a72-2420-4d38-b745-316a53f4b99a" providerId="AD" clId="Web-{CD67B01C-8D2C-4219-AAFF-DFC5DB634769}" dt="2022-01-10T01:44:11.144" v="44"/>
          <ac:cxnSpMkLst>
            <pc:docMk/>
            <pc:sldMk cId="4159389698" sldId="342"/>
            <ac:cxnSpMk id="5" creationId="{42CC447C-FCA3-4440-AFAC-074CA9387369}"/>
          </ac:cxnSpMkLst>
        </pc:cxnChg>
        <pc:cxnChg chg="mod">
          <ac:chgData name="EVELYNSM.YONG" userId="S::evelynsm.yong_gmail.com#ext#@risebcg.onmicrosoft.com::67a27a72-2420-4d38-b745-316a53f4b99a" providerId="AD" clId="Web-{CD67B01C-8D2C-4219-AAFF-DFC5DB634769}" dt="2022-01-10T01:44:10.957" v="40"/>
          <ac:cxnSpMkLst>
            <pc:docMk/>
            <pc:sldMk cId="4159389698" sldId="342"/>
            <ac:cxnSpMk id="11" creationId="{B100C871-1F8E-44FA-9A22-E49497F4DD19}"/>
          </ac:cxnSpMkLst>
        </pc:cxnChg>
        <pc:cxnChg chg="mod">
          <ac:chgData name="EVELYNSM.YONG" userId="S::evelynsm.yong_gmail.com#ext#@risebcg.onmicrosoft.com::67a27a72-2420-4d38-b745-316a53f4b99a" providerId="AD" clId="Web-{CD67B01C-8D2C-4219-AAFF-DFC5DB634769}" dt="2022-01-10T01:44:11.004" v="41"/>
          <ac:cxnSpMkLst>
            <pc:docMk/>
            <pc:sldMk cId="4159389698" sldId="342"/>
            <ac:cxnSpMk id="13" creationId="{CFBA535F-E821-437D-8FB9-B7C83F0FE8CA}"/>
          </ac:cxnSpMkLst>
        </pc:cxnChg>
        <pc:cxnChg chg="mod">
          <ac:chgData name="EVELYNSM.YONG" userId="S::evelynsm.yong_gmail.com#ext#@risebcg.onmicrosoft.com::67a27a72-2420-4d38-b745-316a53f4b99a" providerId="AD" clId="Web-{CD67B01C-8D2C-4219-AAFF-DFC5DB634769}" dt="2022-01-10T01:44:11.051" v="42"/>
          <ac:cxnSpMkLst>
            <pc:docMk/>
            <pc:sldMk cId="4159389698" sldId="342"/>
            <ac:cxnSpMk id="14" creationId="{93D321C6-8EC7-46E9-B13D-F842EC617678}"/>
          </ac:cxnSpMkLst>
        </pc:cxnChg>
        <pc:cxnChg chg="mod">
          <ac:chgData name="EVELYNSM.YONG" userId="S::evelynsm.yong_gmail.com#ext#@risebcg.onmicrosoft.com::67a27a72-2420-4d38-b745-316a53f4b99a" providerId="AD" clId="Web-{CD67B01C-8D2C-4219-AAFF-DFC5DB634769}" dt="2022-01-10T01:44:11.097" v="43"/>
          <ac:cxnSpMkLst>
            <pc:docMk/>
            <pc:sldMk cId="4159389698" sldId="342"/>
            <ac:cxnSpMk id="15" creationId="{0F061DD2-0F3A-4495-B4F4-9E94EF93F1CE}"/>
          </ac:cxnSpMkLst>
        </pc:cxnChg>
      </pc:sldChg>
      <pc:sldChg chg="addSp delSp modSp">
        <pc:chgData name="EVELYNSM.YONG" userId="S::evelynsm.yong_gmail.com#ext#@risebcg.onmicrosoft.com::67a27a72-2420-4d38-b745-316a53f4b99a" providerId="AD" clId="Web-{CD67B01C-8D2C-4219-AAFF-DFC5DB634769}" dt="2022-01-10T01:59:24.333" v="102" actId="14100"/>
        <pc:sldMkLst>
          <pc:docMk/>
          <pc:sldMk cId="3531645893" sldId="360"/>
        </pc:sldMkLst>
        <pc:spChg chg="mod">
          <ac:chgData name="EVELYNSM.YONG" userId="S::evelynsm.yong_gmail.com#ext#@risebcg.onmicrosoft.com::67a27a72-2420-4d38-b745-316a53f4b99a" providerId="AD" clId="Web-{CD67B01C-8D2C-4219-AAFF-DFC5DB634769}" dt="2022-01-10T01:40:47.078" v="11" actId="20577"/>
          <ac:spMkLst>
            <pc:docMk/>
            <pc:sldMk cId="3531645893" sldId="360"/>
            <ac:spMk id="9" creationId="{E3C0B427-9E9D-47EC-AFD8-3D8F22D59FE9}"/>
          </ac:spMkLst>
        </pc:spChg>
        <pc:picChg chg="del">
          <ac:chgData name="EVELYNSM.YONG" userId="S::evelynsm.yong_gmail.com#ext#@risebcg.onmicrosoft.com::67a27a72-2420-4d38-b745-316a53f4b99a" providerId="AD" clId="Web-{CD67B01C-8D2C-4219-AAFF-DFC5DB634769}" dt="2022-01-10T01:38:59.576" v="0"/>
          <ac:picMkLst>
            <pc:docMk/>
            <pc:sldMk cId="3531645893" sldId="360"/>
            <ac:picMk id="2" creationId="{AEC58EF5-F1D5-4E20-B8B5-7FD65E79DF0C}"/>
          </ac:picMkLst>
        </pc:picChg>
        <pc:picChg chg="add del mod ord">
          <ac:chgData name="EVELYNSM.YONG" userId="S::evelynsm.yong_gmail.com#ext#@risebcg.onmicrosoft.com::67a27a72-2420-4d38-b745-316a53f4b99a" providerId="AD" clId="Web-{CD67B01C-8D2C-4219-AAFF-DFC5DB634769}" dt="2022-01-10T01:39:17.905" v="7"/>
          <ac:picMkLst>
            <pc:docMk/>
            <pc:sldMk cId="3531645893" sldId="360"/>
            <ac:picMk id="3" creationId="{C9B6382F-9981-41A4-ADBA-6DB4B2E8CE5F}"/>
          </ac:picMkLst>
        </pc:picChg>
        <pc:picChg chg="add del mod">
          <ac:chgData name="EVELYNSM.YONG" userId="S::evelynsm.yong_gmail.com#ext#@risebcg.onmicrosoft.com::67a27a72-2420-4d38-b745-316a53f4b99a" providerId="AD" clId="Web-{CD67B01C-8D2C-4219-AAFF-DFC5DB634769}" dt="2022-01-10T01:51:18.511" v="49"/>
          <ac:picMkLst>
            <pc:docMk/>
            <pc:sldMk cId="3531645893" sldId="360"/>
            <ac:picMk id="4" creationId="{C118BA7A-CD84-4BFA-BF40-48DA9456E0E6}"/>
          </ac:picMkLst>
        </pc:picChg>
        <pc:picChg chg="add del mod modCrop">
          <ac:chgData name="EVELYNSM.YONG" userId="S::evelynsm.yong_gmail.com#ext#@risebcg.onmicrosoft.com::67a27a72-2420-4d38-b745-316a53f4b99a" providerId="AD" clId="Web-{CD67B01C-8D2C-4219-AAFF-DFC5DB634769}" dt="2022-01-10T01:52:25.872" v="58"/>
          <ac:picMkLst>
            <pc:docMk/>
            <pc:sldMk cId="3531645893" sldId="360"/>
            <ac:picMk id="5" creationId="{C7359AEB-2C19-4BF7-A2E0-1B1EF982D81E}"/>
          </ac:picMkLst>
        </pc:picChg>
        <pc:picChg chg="add del mod">
          <ac:chgData name="EVELYNSM.YONG" userId="S::evelynsm.yong_gmail.com#ext#@risebcg.onmicrosoft.com::67a27a72-2420-4d38-b745-316a53f4b99a" providerId="AD" clId="Web-{CD67B01C-8D2C-4219-AAFF-DFC5DB634769}" dt="2022-01-10T01:52:56.591" v="69"/>
          <ac:picMkLst>
            <pc:docMk/>
            <pc:sldMk cId="3531645893" sldId="360"/>
            <ac:picMk id="6" creationId="{83F13080-FA81-41E9-90D8-EE15394B4238}"/>
          </ac:picMkLst>
        </pc:picChg>
        <pc:picChg chg="add del mod">
          <ac:chgData name="EVELYNSM.YONG" userId="S::evelynsm.yong_gmail.com#ext#@risebcg.onmicrosoft.com::67a27a72-2420-4d38-b745-316a53f4b99a" providerId="AD" clId="Web-{CD67B01C-8D2C-4219-AAFF-DFC5DB634769}" dt="2022-01-10T01:56:29.642" v="87"/>
          <ac:picMkLst>
            <pc:docMk/>
            <pc:sldMk cId="3531645893" sldId="360"/>
            <ac:picMk id="7" creationId="{265B72BD-C1FF-435B-A15D-FA32C120612E}"/>
          </ac:picMkLst>
        </pc:picChg>
        <pc:picChg chg="add del mod">
          <ac:chgData name="EVELYNSM.YONG" userId="S::evelynsm.yong_gmail.com#ext#@risebcg.onmicrosoft.com::67a27a72-2420-4d38-b745-316a53f4b99a" providerId="AD" clId="Web-{CD67B01C-8D2C-4219-AAFF-DFC5DB634769}" dt="2022-01-10T01:56:26.798" v="85"/>
          <ac:picMkLst>
            <pc:docMk/>
            <pc:sldMk cId="3531645893" sldId="360"/>
            <ac:picMk id="8" creationId="{27E7EF02-03F9-4F75-8FEF-61FDF5754593}"/>
          </ac:picMkLst>
        </pc:picChg>
        <pc:picChg chg="add mod">
          <ac:chgData name="EVELYNSM.YONG" userId="S::evelynsm.yong_gmail.com#ext#@risebcg.onmicrosoft.com::67a27a72-2420-4d38-b745-316a53f4b99a" providerId="AD" clId="Web-{CD67B01C-8D2C-4219-AAFF-DFC5DB634769}" dt="2022-01-10T01:57:53.097" v="91" actId="14100"/>
          <ac:picMkLst>
            <pc:docMk/>
            <pc:sldMk cId="3531645893" sldId="360"/>
            <ac:picMk id="10" creationId="{584F5D47-ED1E-4045-A0B2-EF545696BD41}"/>
          </ac:picMkLst>
        </pc:picChg>
        <pc:picChg chg="add mod modCrop">
          <ac:chgData name="EVELYNSM.YONG" userId="S::evelynsm.yong_gmail.com#ext#@risebcg.onmicrosoft.com::67a27a72-2420-4d38-b745-316a53f4b99a" providerId="AD" clId="Web-{CD67B01C-8D2C-4219-AAFF-DFC5DB634769}" dt="2022-01-10T01:59:24.333" v="102" actId="14100"/>
          <ac:picMkLst>
            <pc:docMk/>
            <pc:sldMk cId="3531645893" sldId="360"/>
            <ac:picMk id="11" creationId="{6CC5917A-A4A9-45C7-865C-75F5E21300B8}"/>
          </ac:picMkLst>
        </pc:picChg>
        <pc:picChg chg="del">
          <ac:chgData name="EVELYNSM.YONG" userId="S::evelynsm.yong_gmail.com#ext#@risebcg.onmicrosoft.com::67a27a72-2420-4d38-b745-316a53f4b99a" providerId="AD" clId="Web-{CD67B01C-8D2C-4219-AAFF-DFC5DB634769}" dt="2022-01-10T01:39:02.561" v="1"/>
          <ac:picMkLst>
            <pc:docMk/>
            <pc:sldMk cId="3531645893" sldId="360"/>
            <ac:picMk id="17" creationId="{B8401525-B70B-4EFA-8C14-01EE9116C492}"/>
          </ac:picMkLst>
        </pc:picChg>
      </pc:sldChg>
    </pc:docChg>
  </pc:docChgLst>
  <pc:docChgLst>
    <pc:chgData name="wei yuan" userId="S::pwy_92_hotmail.com#ext#@risebcg.onmicrosoft.com::ca38e7f8-9ace-4d94-b37a-86e65e91f2b0" providerId="AD" clId="Web-{9D3249DC-2FF3-4A4F-BA09-258EFA95E181}"/>
    <pc:docChg chg="modSld">
      <pc:chgData name="wei yuan" userId="S::pwy_92_hotmail.com#ext#@risebcg.onmicrosoft.com::ca38e7f8-9ace-4d94-b37a-86e65e91f2b0" providerId="AD" clId="Web-{9D3249DC-2FF3-4A4F-BA09-258EFA95E181}" dt="2022-01-10T09:58:09.444" v="22" actId="1076"/>
      <pc:docMkLst>
        <pc:docMk/>
      </pc:docMkLst>
      <pc:sldChg chg="addSp modSp">
        <pc:chgData name="wei yuan" userId="S::pwy_92_hotmail.com#ext#@risebcg.onmicrosoft.com::ca38e7f8-9ace-4d94-b37a-86e65e91f2b0" providerId="AD" clId="Web-{9D3249DC-2FF3-4A4F-BA09-258EFA95E181}" dt="2022-01-10T09:58:09.444" v="22" actId="1076"/>
        <pc:sldMkLst>
          <pc:docMk/>
          <pc:sldMk cId="2160415509" sldId="326"/>
        </pc:sldMkLst>
        <pc:spChg chg="mod">
          <ac:chgData name="wei yuan" userId="S::pwy_92_hotmail.com#ext#@risebcg.onmicrosoft.com::ca38e7f8-9ace-4d94-b37a-86e65e91f2b0" providerId="AD" clId="Web-{9D3249DC-2FF3-4A4F-BA09-258EFA95E181}" dt="2022-01-10T09:56:27.911" v="16" actId="14100"/>
          <ac:spMkLst>
            <pc:docMk/>
            <pc:sldMk cId="2160415509" sldId="326"/>
            <ac:spMk id="3" creationId="{A06E2C6C-AA2D-4DBA-B448-457815C4CAD3}"/>
          </ac:spMkLst>
        </pc:spChg>
        <pc:spChg chg="mod">
          <ac:chgData name="wei yuan" userId="S::pwy_92_hotmail.com#ext#@risebcg.onmicrosoft.com::ca38e7f8-9ace-4d94-b37a-86e65e91f2b0" providerId="AD" clId="Web-{9D3249DC-2FF3-4A4F-BA09-258EFA95E181}" dt="2022-01-10T09:56:27.911" v="18" actId="14100"/>
          <ac:spMkLst>
            <pc:docMk/>
            <pc:sldMk cId="2160415509" sldId="326"/>
            <ac:spMk id="7" creationId="{EE72E06D-8EAE-4242-B1FE-DB5A60BCC68C}"/>
          </ac:spMkLst>
        </pc:spChg>
        <pc:spChg chg="mod">
          <ac:chgData name="wei yuan" userId="S::pwy_92_hotmail.com#ext#@risebcg.onmicrosoft.com::ca38e7f8-9ace-4d94-b37a-86e65e91f2b0" providerId="AD" clId="Web-{9D3249DC-2FF3-4A4F-BA09-258EFA95E181}" dt="2022-01-10T09:56:27.911" v="15" actId="14100"/>
          <ac:spMkLst>
            <pc:docMk/>
            <pc:sldMk cId="2160415509" sldId="326"/>
            <ac:spMk id="10" creationId="{F403E5AA-CAF9-429E-AF8A-D6CAE94AE104}"/>
          </ac:spMkLst>
        </pc:spChg>
        <pc:spChg chg="mod">
          <ac:chgData name="wei yuan" userId="S::pwy_92_hotmail.com#ext#@risebcg.onmicrosoft.com::ca38e7f8-9ace-4d94-b37a-86e65e91f2b0" providerId="AD" clId="Web-{9D3249DC-2FF3-4A4F-BA09-258EFA95E181}" dt="2022-01-10T09:56:27.911" v="17" actId="14100"/>
          <ac:spMkLst>
            <pc:docMk/>
            <pc:sldMk cId="2160415509" sldId="326"/>
            <ac:spMk id="11" creationId="{7A860165-0B15-49E4-A7ED-826D9540D919}"/>
          </ac:spMkLst>
        </pc:spChg>
        <pc:spChg chg="mod">
          <ac:chgData name="wei yuan" userId="S::pwy_92_hotmail.com#ext#@risebcg.onmicrosoft.com::ca38e7f8-9ace-4d94-b37a-86e65e91f2b0" providerId="AD" clId="Web-{9D3249DC-2FF3-4A4F-BA09-258EFA95E181}" dt="2022-01-10T09:56:27.911" v="14" actId="14100"/>
          <ac:spMkLst>
            <pc:docMk/>
            <pc:sldMk cId="2160415509" sldId="326"/>
            <ac:spMk id="12" creationId="{E8C9A459-A11F-4DB3-BC61-E14A0DC903CB}"/>
          </ac:spMkLst>
        </pc:spChg>
        <pc:picChg chg="add mod">
          <ac:chgData name="wei yuan" userId="S::pwy_92_hotmail.com#ext#@risebcg.onmicrosoft.com::ca38e7f8-9ace-4d94-b37a-86e65e91f2b0" providerId="AD" clId="Web-{9D3249DC-2FF3-4A4F-BA09-258EFA95E181}" dt="2022-01-10T09:58:09.444" v="22" actId="1076"/>
          <ac:picMkLst>
            <pc:docMk/>
            <pc:sldMk cId="2160415509" sldId="326"/>
            <ac:picMk id="5" creationId="{BA926763-DA3C-411B-BEF9-DCF545D5494A}"/>
          </ac:picMkLst>
        </pc:picChg>
        <pc:picChg chg="mod">
          <ac:chgData name="wei yuan" userId="S::pwy_92_hotmail.com#ext#@risebcg.onmicrosoft.com::ca38e7f8-9ace-4d94-b37a-86e65e91f2b0" providerId="AD" clId="Web-{9D3249DC-2FF3-4A4F-BA09-258EFA95E181}" dt="2022-01-10T09:56:27.911" v="19" actId="14100"/>
          <ac:picMkLst>
            <pc:docMk/>
            <pc:sldMk cId="2160415509" sldId="326"/>
            <ac:picMk id="6" creationId="{BFC712DB-8FC7-4ACB-AF6D-D3D38470A4A2}"/>
          </ac:picMkLst>
        </pc:picChg>
      </pc:sldChg>
    </pc:docChg>
  </pc:docChgLst>
  <pc:docChgLst>
    <pc:chgData name="EVELYNSM.YONG" userId="S::evelynsm.yong_gmail.com#ext#@risebcg.onmicrosoft.com::67a27a72-2420-4d38-b745-316a53f4b99a" providerId="AD" clId="Web-{EBBE918A-CD43-47AE-9637-5ACE8C97E877}"/>
    <pc:docChg chg="addSld delSld modSld sldOrd">
      <pc:chgData name="EVELYNSM.YONG" userId="S::evelynsm.yong_gmail.com#ext#@risebcg.onmicrosoft.com::67a27a72-2420-4d38-b745-316a53f4b99a" providerId="AD" clId="Web-{EBBE918A-CD43-47AE-9637-5ACE8C97E877}" dt="2022-01-07T12:56:47.011" v="368" actId="14100"/>
      <pc:docMkLst>
        <pc:docMk/>
      </pc:docMkLst>
      <pc:sldChg chg="addSp modSp">
        <pc:chgData name="EVELYNSM.YONG" userId="S::evelynsm.yong_gmail.com#ext#@risebcg.onmicrosoft.com::67a27a72-2420-4d38-b745-316a53f4b99a" providerId="AD" clId="Web-{EBBE918A-CD43-47AE-9637-5ACE8C97E877}" dt="2022-01-07T12:29:39.295" v="82" actId="1076"/>
        <pc:sldMkLst>
          <pc:docMk/>
          <pc:sldMk cId="873372039" sldId="275"/>
        </pc:sldMkLst>
        <pc:picChg chg="add mod">
          <ac:chgData name="EVELYNSM.YONG" userId="S::evelynsm.yong_gmail.com#ext#@risebcg.onmicrosoft.com::67a27a72-2420-4d38-b745-316a53f4b99a" providerId="AD" clId="Web-{EBBE918A-CD43-47AE-9637-5ACE8C97E877}" dt="2022-01-07T12:29:39.295" v="82" actId="1076"/>
          <ac:picMkLst>
            <pc:docMk/>
            <pc:sldMk cId="873372039" sldId="275"/>
            <ac:picMk id="6" creationId="{10A24290-E732-4617-AA59-875D328AC0B4}"/>
          </ac:picMkLst>
        </pc:picChg>
      </pc:sldChg>
      <pc:sldChg chg="addSp delSp modSp">
        <pc:chgData name="EVELYNSM.YONG" userId="S::evelynsm.yong_gmail.com#ext#@risebcg.onmicrosoft.com::67a27a72-2420-4d38-b745-316a53f4b99a" providerId="AD" clId="Web-{EBBE918A-CD43-47AE-9637-5ACE8C97E877}" dt="2022-01-07T12:41:12.682" v="236" actId="1076"/>
        <pc:sldMkLst>
          <pc:docMk/>
          <pc:sldMk cId="2256265757" sldId="315"/>
        </pc:sldMkLst>
        <pc:spChg chg="del mod">
          <ac:chgData name="EVELYNSM.YONG" userId="S::evelynsm.yong_gmail.com#ext#@risebcg.onmicrosoft.com::67a27a72-2420-4d38-b745-316a53f4b99a" providerId="AD" clId="Web-{EBBE918A-CD43-47AE-9637-5ACE8C97E877}" dt="2022-01-07T12:33:58.971" v="136"/>
          <ac:spMkLst>
            <pc:docMk/>
            <pc:sldMk cId="2256265757" sldId="315"/>
            <ac:spMk id="2" creationId="{1CAEE4F4-60D4-46CA-A79F-1CD22235EEA0}"/>
          </ac:spMkLst>
        </pc:spChg>
        <pc:spChg chg="mod">
          <ac:chgData name="EVELYNSM.YONG" userId="S::evelynsm.yong_gmail.com#ext#@risebcg.onmicrosoft.com::67a27a72-2420-4d38-b745-316a53f4b99a" providerId="AD" clId="Web-{EBBE918A-CD43-47AE-9637-5ACE8C97E877}" dt="2022-01-07T12:36:10.130" v="184" actId="14100"/>
          <ac:spMkLst>
            <pc:docMk/>
            <pc:sldMk cId="2256265757" sldId="315"/>
            <ac:spMk id="3" creationId="{3AAD55FA-63B7-4DBA-8DC0-293DEF7C309C}"/>
          </ac:spMkLst>
        </pc:spChg>
        <pc:spChg chg="add del">
          <ac:chgData name="EVELYNSM.YONG" userId="S::evelynsm.yong_gmail.com#ext#@risebcg.onmicrosoft.com::67a27a72-2420-4d38-b745-316a53f4b99a" providerId="AD" clId="Web-{EBBE918A-CD43-47AE-9637-5ACE8C97E877}" dt="2022-01-07T12:33:50.987" v="133"/>
          <ac:spMkLst>
            <pc:docMk/>
            <pc:sldMk cId="2256265757" sldId="315"/>
            <ac:spMk id="5" creationId="{BC548F5D-22A4-4AE1-AAE3-81EFDF7C85DD}"/>
          </ac:spMkLst>
        </pc:spChg>
        <pc:spChg chg="add del mod">
          <ac:chgData name="EVELYNSM.YONG" userId="S::evelynsm.yong_gmail.com#ext#@risebcg.onmicrosoft.com::67a27a72-2420-4d38-b745-316a53f4b99a" providerId="AD" clId="Web-{EBBE918A-CD43-47AE-9637-5ACE8C97E877}" dt="2022-01-07T12:34:04.393" v="140"/>
          <ac:spMkLst>
            <pc:docMk/>
            <pc:sldMk cId="2256265757" sldId="315"/>
            <ac:spMk id="7" creationId="{69F09AC7-6E7E-4BD5-98BE-95F8A10BB903}"/>
          </ac:spMkLst>
        </pc:spChg>
        <pc:spChg chg="add del mod">
          <ac:chgData name="EVELYNSM.YONG" userId="S::evelynsm.yong_gmail.com#ext#@risebcg.onmicrosoft.com::67a27a72-2420-4d38-b745-316a53f4b99a" providerId="AD" clId="Web-{EBBE918A-CD43-47AE-9637-5ACE8C97E877}" dt="2022-01-07T12:35:47.442" v="165"/>
          <ac:spMkLst>
            <pc:docMk/>
            <pc:sldMk cId="2256265757" sldId="315"/>
            <ac:spMk id="9" creationId="{AEF3B6E3-8290-43AD-A524-6723818C18A3}"/>
          </ac:spMkLst>
        </pc:spChg>
        <pc:spChg chg="add del">
          <ac:chgData name="EVELYNSM.YONG" userId="S::evelynsm.yong_gmail.com#ext#@risebcg.onmicrosoft.com::67a27a72-2420-4d38-b745-316a53f4b99a" providerId="AD" clId="Web-{EBBE918A-CD43-47AE-9637-5ACE8C97E877}" dt="2022-01-07T12:35:35.489" v="162"/>
          <ac:spMkLst>
            <pc:docMk/>
            <pc:sldMk cId="2256265757" sldId="315"/>
            <ac:spMk id="11" creationId="{30DA594D-7EAE-4555-8BD9-7C9A9AFC72A5}"/>
          </ac:spMkLst>
        </pc:spChg>
        <pc:spChg chg="add del">
          <ac:chgData name="EVELYNSM.YONG" userId="S::evelynsm.yong_gmail.com#ext#@risebcg.onmicrosoft.com::67a27a72-2420-4d38-b745-316a53f4b99a" providerId="AD" clId="Web-{EBBE918A-CD43-47AE-9637-5ACE8C97E877}" dt="2022-01-07T12:35:45.505" v="164"/>
          <ac:spMkLst>
            <pc:docMk/>
            <pc:sldMk cId="2256265757" sldId="315"/>
            <ac:spMk id="13" creationId="{34F96AA4-2FEE-46C5-A239-C854225AE188}"/>
          </ac:spMkLst>
        </pc:spChg>
        <pc:spChg chg="add mod">
          <ac:chgData name="EVELYNSM.YONG" userId="S::evelynsm.yong_gmail.com#ext#@risebcg.onmicrosoft.com::67a27a72-2420-4d38-b745-316a53f4b99a" providerId="AD" clId="Web-{EBBE918A-CD43-47AE-9637-5ACE8C97E877}" dt="2022-01-07T12:40:25.260" v="227" actId="20577"/>
          <ac:spMkLst>
            <pc:docMk/>
            <pc:sldMk cId="2256265757" sldId="315"/>
            <ac:spMk id="15" creationId="{16793C5A-1FE2-4545-A578-A16C2B6C45C4}"/>
          </ac:spMkLst>
        </pc:spChg>
        <pc:spChg chg="add mod">
          <ac:chgData name="EVELYNSM.YONG" userId="S::evelynsm.yong_gmail.com#ext#@risebcg.onmicrosoft.com::67a27a72-2420-4d38-b745-316a53f4b99a" providerId="AD" clId="Web-{EBBE918A-CD43-47AE-9637-5ACE8C97E877}" dt="2022-01-07T12:40:02.275" v="218" actId="20577"/>
          <ac:spMkLst>
            <pc:docMk/>
            <pc:sldMk cId="2256265757" sldId="315"/>
            <ac:spMk id="17" creationId="{BADD6901-4349-466A-837B-49CC2A6BB764}"/>
          </ac:spMkLst>
        </pc:spChg>
        <pc:graphicFrameChg chg="add mod modGraphic">
          <ac:chgData name="EVELYNSM.YONG" userId="S::evelynsm.yong_gmail.com#ext#@risebcg.onmicrosoft.com::67a27a72-2420-4d38-b745-316a53f4b99a" providerId="AD" clId="Web-{EBBE918A-CD43-47AE-9637-5ACE8C97E877}" dt="2022-01-07T12:40:30.447" v="228" actId="14100"/>
          <ac:graphicFrameMkLst>
            <pc:docMk/>
            <pc:sldMk cId="2256265757" sldId="315"/>
            <ac:graphicFrameMk id="18" creationId="{2289CFB1-4EE4-43EC-A8B5-4E5FC402B3C5}"/>
          </ac:graphicFrameMkLst>
        </pc:graphicFrameChg>
        <pc:picChg chg="add mod">
          <ac:chgData name="EVELYNSM.YONG" userId="S::evelynsm.yong_gmail.com#ext#@risebcg.onmicrosoft.com::67a27a72-2420-4d38-b745-316a53f4b99a" providerId="AD" clId="Web-{EBBE918A-CD43-47AE-9637-5ACE8C97E877}" dt="2022-01-07T12:41:12.682" v="236" actId="1076"/>
          <ac:picMkLst>
            <pc:docMk/>
            <pc:sldMk cId="2256265757" sldId="315"/>
            <ac:picMk id="60" creationId="{30AA7644-B695-49AF-A4E1-C86E1691F805}"/>
          </ac:picMkLst>
        </pc:picChg>
      </pc:sldChg>
      <pc:sldChg chg="modSp">
        <pc:chgData name="EVELYNSM.YONG" userId="S::evelynsm.yong_gmail.com#ext#@risebcg.onmicrosoft.com::67a27a72-2420-4d38-b745-316a53f4b99a" providerId="AD" clId="Web-{EBBE918A-CD43-47AE-9637-5ACE8C97E877}" dt="2022-01-07T12:37:55.429" v="202" actId="20577"/>
        <pc:sldMkLst>
          <pc:docMk/>
          <pc:sldMk cId="2761597836" sldId="317"/>
        </pc:sldMkLst>
        <pc:spChg chg="mod">
          <ac:chgData name="EVELYNSM.YONG" userId="S::evelynsm.yong_gmail.com#ext#@risebcg.onmicrosoft.com::67a27a72-2420-4d38-b745-316a53f4b99a" providerId="AD" clId="Web-{EBBE918A-CD43-47AE-9637-5ACE8C97E877}" dt="2022-01-07T12:37:55.429" v="202" actId="20577"/>
          <ac:spMkLst>
            <pc:docMk/>
            <pc:sldMk cId="2761597836" sldId="317"/>
            <ac:spMk id="3" creationId="{3AAD55FA-63B7-4DBA-8DC0-293DEF7C309C}"/>
          </ac:spMkLst>
        </pc:spChg>
      </pc:sldChg>
      <pc:sldChg chg="addSp delSp modSp">
        <pc:chgData name="EVELYNSM.YONG" userId="S::evelynsm.yong_gmail.com#ext#@risebcg.onmicrosoft.com::67a27a72-2420-4d38-b745-316a53f4b99a" providerId="AD" clId="Web-{EBBE918A-CD43-47AE-9637-5ACE8C97E877}" dt="2022-01-07T12:45:35.640" v="263"/>
        <pc:sldMkLst>
          <pc:docMk/>
          <pc:sldMk cId="4084366951" sldId="318"/>
        </pc:sldMkLst>
        <pc:spChg chg="add mod">
          <ac:chgData name="EVELYNSM.YONG" userId="S::evelynsm.yong_gmail.com#ext#@risebcg.onmicrosoft.com::67a27a72-2420-4d38-b745-316a53f4b99a" providerId="AD" clId="Web-{EBBE918A-CD43-47AE-9637-5ACE8C97E877}" dt="2022-01-07T12:41:54.542" v="251" actId="20577"/>
          <ac:spMkLst>
            <pc:docMk/>
            <pc:sldMk cId="4084366951" sldId="318"/>
            <ac:spMk id="6" creationId="{CF9E7E23-E6AE-4EAD-BC81-7763A524FABE}"/>
          </ac:spMkLst>
        </pc:spChg>
        <pc:grpChg chg="add">
          <ac:chgData name="EVELYNSM.YONG" userId="S::evelynsm.yong_gmail.com#ext#@risebcg.onmicrosoft.com::67a27a72-2420-4d38-b745-316a53f4b99a" providerId="AD" clId="Web-{EBBE918A-CD43-47AE-9637-5ACE8C97E877}" dt="2022-01-07T12:45:35.640" v="263"/>
          <ac:grpSpMkLst>
            <pc:docMk/>
            <pc:sldMk cId="4084366951" sldId="318"/>
            <ac:grpSpMk id="15" creationId="{55FFC18C-8093-41B4-9A1B-E8868316B7F3}"/>
          </ac:grpSpMkLst>
        </pc:grpChg>
        <pc:picChg chg="add del mod">
          <ac:chgData name="EVELYNSM.YONG" userId="S::evelynsm.yong_gmail.com#ext#@risebcg.onmicrosoft.com::67a27a72-2420-4d38-b745-316a53f4b99a" providerId="AD" clId="Web-{EBBE918A-CD43-47AE-9637-5ACE8C97E877}" dt="2022-01-07T12:41:00.135" v="232"/>
          <ac:picMkLst>
            <pc:docMk/>
            <pc:sldMk cId="4084366951" sldId="318"/>
            <ac:picMk id="8" creationId="{4679ED56-C946-4E6E-92C5-302D59B78B49}"/>
          </ac:picMkLst>
        </pc:picChg>
        <pc:picChg chg="add del">
          <ac:chgData name="EVELYNSM.YONG" userId="S::evelynsm.yong_gmail.com#ext#@risebcg.onmicrosoft.com::67a27a72-2420-4d38-b745-316a53f4b99a" providerId="AD" clId="Web-{EBBE918A-CD43-47AE-9637-5ACE8C97E877}" dt="2022-01-07T12:41:58.511" v="255"/>
          <ac:picMkLst>
            <pc:docMk/>
            <pc:sldMk cId="4084366951" sldId="318"/>
            <ac:picMk id="10" creationId="{8E3248CC-8B17-4C3E-AD2C-A36B9B332856}"/>
          </ac:picMkLst>
        </pc:picChg>
        <pc:picChg chg="add mod">
          <ac:chgData name="EVELYNSM.YONG" userId="S::evelynsm.yong_gmail.com#ext#@risebcg.onmicrosoft.com::67a27a72-2420-4d38-b745-316a53f4b99a" providerId="AD" clId="Web-{EBBE918A-CD43-47AE-9637-5ACE8C97E877}" dt="2022-01-07T12:42:05.355" v="258" actId="14100"/>
          <ac:picMkLst>
            <pc:docMk/>
            <pc:sldMk cId="4084366951" sldId="318"/>
            <ac:picMk id="12" creationId="{DFD7E0DD-9A8A-4E18-BA95-743EB51DCCD2}"/>
          </ac:picMkLst>
        </pc:picChg>
        <pc:picChg chg="add mod">
          <ac:chgData name="EVELYNSM.YONG" userId="S::evelynsm.yong_gmail.com#ext#@risebcg.onmicrosoft.com::67a27a72-2420-4d38-b745-316a53f4b99a" providerId="AD" clId="Web-{EBBE918A-CD43-47AE-9637-5ACE8C97E877}" dt="2022-01-07T12:44:45.639" v="262" actId="1076"/>
          <ac:picMkLst>
            <pc:docMk/>
            <pc:sldMk cId="4084366951" sldId="318"/>
            <ac:picMk id="14" creationId="{9E82A69E-4635-4809-8566-FFBDBAB122DE}"/>
          </ac:picMkLst>
        </pc:picChg>
      </pc:sldChg>
      <pc:sldChg chg="ord">
        <pc:chgData name="EVELYNSM.YONG" userId="S::evelynsm.yong_gmail.com#ext#@risebcg.onmicrosoft.com::67a27a72-2420-4d38-b745-316a53f4b99a" providerId="AD" clId="Web-{EBBE918A-CD43-47AE-9637-5ACE8C97E877}" dt="2022-01-07T12:29:31.232" v="81"/>
        <pc:sldMkLst>
          <pc:docMk/>
          <pc:sldMk cId="1791060006" sldId="319"/>
        </pc:sldMkLst>
      </pc:sldChg>
      <pc:sldChg chg="addSp delSp modSp">
        <pc:chgData name="EVELYNSM.YONG" userId="S::evelynsm.yong_gmail.com#ext#@risebcg.onmicrosoft.com::67a27a72-2420-4d38-b745-316a53f4b99a" providerId="AD" clId="Web-{EBBE918A-CD43-47AE-9637-5ACE8C97E877}" dt="2022-01-07T12:56:28.245" v="362" actId="14100"/>
        <pc:sldMkLst>
          <pc:docMk/>
          <pc:sldMk cId="3666302761" sldId="324"/>
        </pc:sldMkLst>
        <pc:spChg chg="add del mod">
          <ac:chgData name="EVELYNSM.YONG" userId="S::evelynsm.yong_gmail.com#ext#@risebcg.onmicrosoft.com::67a27a72-2420-4d38-b745-316a53f4b99a" providerId="AD" clId="Web-{EBBE918A-CD43-47AE-9637-5ACE8C97E877}" dt="2022-01-07T12:56:21.011" v="359"/>
          <ac:spMkLst>
            <pc:docMk/>
            <pc:sldMk cId="3666302761" sldId="324"/>
            <ac:spMk id="2" creationId="{98B2AA84-8D26-48D4-ACF1-F588A4D90ECE}"/>
          </ac:spMkLst>
        </pc:spChg>
        <pc:spChg chg="del mod">
          <ac:chgData name="EVELYNSM.YONG" userId="S::evelynsm.yong_gmail.com#ext#@risebcg.onmicrosoft.com::67a27a72-2420-4d38-b745-316a53f4b99a" providerId="AD" clId="Web-{EBBE918A-CD43-47AE-9637-5ACE8C97E877}" dt="2022-01-07T12:34:22.878" v="143"/>
          <ac:spMkLst>
            <pc:docMk/>
            <pc:sldMk cId="3666302761" sldId="324"/>
            <ac:spMk id="2" creationId="{ED14AA63-35D8-4136-8B2F-DE1837A583A2}"/>
          </ac:spMkLst>
        </pc:spChg>
        <pc:spChg chg="del mod">
          <ac:chgData name="EVELYNSM.YONG" userId="S::evelynsm.yong_gmail.com#ext#@risebcg.onmicrosoft.com::67a27a72-2420-4d38-b745-316a53f4b99a" providerId="AD" clId="Web-{EBBE918A-CD43-47AE-9637-5ACE8C97E877}" dt="2022-01-07T12:56:24.277" v="361"/>
          <ac:spMkLst>
            <pc:docMk/>
            <pc:sldMk cId="3666302761" sldId="324"/>
            <ac:spMk id="3" creationId="{586DE4D9-4048-428A-A0B8-BE3F71D34991}"/>
          </ac:spMkLst>
        </pc:spChg>
        <pc:spChg chg="mod">
          <ac:chgData name="EVELYNSM.YONG" userId="S::evelynsm.yong_gmail.com#ext#@risebcg.onmicrosoft.com::67a27a72-2420-4d38-b745-316a53f4b99a" providerId="AD" clId="Web-{EBBE918A-CD43-47AE-9637-5ACE8C97E877}" dt="2022-01-07T12:20:12.926" v="38" actId="1076"/>
          <ac:spMkLst>
            <pc:docMk/>
            <pc:sldMk cId="3666302761" sldId="324"/>
            <ac:spMk id="4" creationId="{19708EDC-3A90-4EC0-A789-51301070BDC6}"/>
          </ac:spMkLst>
        </pc:spChg>
        <pc:spChg chg="add mod">
          <ac:chgData name="EVELYNSM.YONG" userId="S::evelynsm.yong_gmail.com#ext#@risebcg.onmicrosoft.com::67a27a72-2420-4d38-b745-316a53f4b99a" providerId="AD" clId="Web-{EBBE918A-CD43-47AE-9637-5ACE8C97E877}" dt="2022-01-07T12:35:25.270" v="160" actId="20577"/>
          <ac:spMkLst>
            <pc:docMk/>
            <pc:sldMk cId="3666302761" sldId="324"/>
            <ac:spMk id="7" creationId="{5040411B-0A54-429E-94AB-0F4DA7C1917E}"/>
          </ac:spMkLst>
        </pc:spChg>
        <pc:spChg chg="add del mod">
          <ac:chgData name="EVELYNSM.YONG" userId="S::evelynsm.yong_gmail.com#ext#@risebcg.onmicrosoft.com::67a27a72-2420-4d38-b745-316a53f4b99a" providerId="AD" clId="Web-{EBBE918A-CD43-47AE-9637-5ACE8C97E877}" dt="2022-01-07T12:34:32.316" v="149"/>
          <ac:spMkLst>
            <pc:docMk/>
            <pc:sldMk cId="3666302761" sldId="324"/>
            <ac:spMk id="8" creationId="{436E6BAC-2B07-462C-8383-6D40DE037140}"/>
          </ac:spMkLst>
        </pc:spChg>
        <pc:spChg chg="mod">
          <ac:chgData name="EVELYNSM.YONG" userId="S::evelynsm.yong_gmail.com#ext#@risebcg.onmicrosoft.com::67a27a72-2420-4d38-b745-316a53f4b99a" providerId="AD" clId="Web-{EBBE918A-CD43-47AE-9637-5ACE8C97E877}" dt="2022-01-07T12:36:59.584" v="194" actId="20577"/>
          <ac:spMkLst>
            <pc:docMk/>
            <pc:sldMk cId="3666302761" sldId="324"/>
            <ac:spMk id="18" creationId="{4C8E7E93-D719-4D68-AF75-84A3D92DD60C}"/>
          </ac:spMkLst>
        </pc:spChg>
        <pc:spChg chg="mod">
          <ac:chgData name="EVELYNSM.YONG" userId="S::evelynsm.yong_gmail.com#ext#@risebcg.onmicrosoft.com::67a27a72-2420-4d38-b745-316a53f4b99a" providerId="AD" clId="Web-{EBBE918A-CD43-47AE-9637-5ACE8C97E877}" dt="2022-01-07T12:56:28.245" v="362" actId="14100"/>
          <ac:spMkLst>
            <pc:docMk/>
            <pc:sldMk cId="3666302761" sldId="324"/>
            <ac:spMk id="25" creationId="{A72C66DB-3DFA-4DD0-BB16-94A4A31F5E94}"/>
          </ac:spMkLst>
        </pc:spChg>
        <pc:spChg chg="mod">
          <ac:chgData name="EVELYNSM.YONG" userId="S::evelynsm.yong_gmail.com#ext#@risebcg.onmicrosoft.com::67a27a72-2420-4d38-b745-316a53f4b99a" providerId="AD" clId="Web-{EBBE918A-CD43-47AE-9637-5ACE8C97E877}" dt="2022-01-07T12:30:12.842" v="85" actId="1076"/>
          <ac:spMkLst>
            <pc:docMk/>
            <pc:sldMk cId="3666302761" sldId="324"/>
            <ac:spMk id="27" creationId="{B2BF4484-08EE-483A-BA89-BC8EDC410538}"/>
          </ac:spMkLst>
        </pc:spChg>
        <pc:picChg chg="del mod">
          <ac:chgData name="EVELYNSM.YONG" userId="S::evelynsm.yong_gmail.com#ext#@risebcg.onmicrosoft.com::67a27a72-2420-4d38-b745-316a53f4b99a" providerId="AD" clId="Web-{EBBE918A-CD43-47AE-9637-5ACE8C97E877}" dt="2022-01-07T12:50:28.130" v="308"/>
          <ac:picMkLst>
            <pc:docMk/>
            <pc:sldMk cId="3666302761" sldId="324"/>
            <ac:picMk id="5" creationId="{0DC6DA42-FA9C-46DF-89EE-4B312877E1A7}"/>
          </ac:picMkLst>
        </pc:picChg>
        <pc:picChg chg="mod">
          <ac:chgData name="EVELYNSM.YONG" userId="S::evelynsm.yong_gmail.com#ext#@risebcg.onmicrosoft.com::67a27a72-2420-4d38-b745-316a53f4b99a" providerId="AD" clId="Web-{EBBE918A-CD43-47AE-9637-5ACE8C97E877}" dt="2022-01-07T12:36:52.740" v="192" actId="1076"/>
          <ac:picMkLst>
            <pc:docMk/>
            <pc:sldMk cId="3666302761" sldId="324"/>
            <ac:picMk id="19" creationId="{34C08A26-CA1B-4581-85D4-0D95F9633BCA}"/>
          </ac:picMkLst>
        </pc:picChg>
      </pc:sldChg>
      <pc:sldChg chg="addSp delSp modSp">
        <pc:chgData name="EVELYNSM.YONG" userId="S::evelynsm.yong_gmail.com#ext#@risebcg.onmicrosoft.com::67a27a72-2420-4d38-b745-316a53f4b99a" providerId="AD" clId="Web-{EBBE918A-CD43-47AE-9637-5ACE8C97E877}" dt="2022-01-07T12:55:44.776" v="356" actId="14100"/>
        <pc:sldMkLst>
          <pc:docMk/>
          <pc:sldMk cId="2316358039" sldId="325"/>
        </pc:sldMkLst>
        <pc:spChg chg="del mod">
          <ac:chgData name="EVELYNSM.YONG" userId="S::evelynsm.yong_gmail.com#ext#@risebcg.onmicrosoft.com::67a27a72-2420-4d38-b745-316a53f4b99a" providerId="AD" clId="Web-{EBBE918A-CD43-47AE-9637-5ACE8C97E877}" dt="2022-01-07T12:32:58.049" v="123"/>
          <ac:spMkLst>
            <pc:docMk/>
            <pc:sldMk cId="2316358039" sldId="325"/>
            <ac:spMk id="2" creationId="{ED14AA63-35D8-4136-8B2F-DE1837A583A2}"/>
          </ac:spMkLst>
        </pc:spChg>
        <pc:spChg chg="del mod">
          <ac:chgData name="EVELYNSM.YONG" userId="S::evelynsm.yong_gmail.com#ext#@risebcg.onmicrosoft.com::67a27a72-2420-4d38-b745-316a53f4b99a" providerId="AD" clId="Web-{EBBE918A-CD43-47AE-9637-5ACE8C97E877}" dt="2022-01-07T12:54:34.603" v="342"/>
          <ac:spMkLst>
            <pc:docMk/>
            <pc:sldMk cId="2316358039" sldId="325"/>
            <ac:spMk id="3" creationId="{3EAAE696-94B0-42DC-B0E6-3874740CC294}"/>
          </ac:spMkLst>
        </pc:spChg>
        <pc:spChg chg="add mod">
          <ac:chgData name="EVELYNSM.YONG" userId="S::evelynsm.yong_gmail.com#ext#@risebcg.onmicrosoft.com::67a27a72-2420-4d38-b745-316a53f4b99a" providerId="AD" clId="Web-{EBBE918A-CD43-47AE-9637-5ACE8C97E877}" dt="2022-01-07T12:55:16.697" v="353" actId="14100"/>
          <ac:spMkLst>
            <pc:docMk/>
            <pc:sldMk cId="2316358039" sldId="325"/>
            <ac:spMk id="3" creationId="{424AF61A-30BE-4BE9-9F56-D2497C21C355}"/>
          </ac:spMkLst>
        </pc:spChg>
        <pc:spChg chg="add del">
          <ac:chgData name="EVELYNSM.YONG" userId="S::evelynsm.yong_gmail.com#ext#@risebcg.onmicrosoft.com::67a27a72-2420-4d38-b745-316a53f4b99a" providerId="AD" clId="Web-{EBBE918A-CD43-47AE-9637-5ACE8C97E877}" dt="2022-01-07T12:31:19.141" v="101"/>
          <ac:spMkLst>
            <pc:docMk/>
            <pc:sldMk cId="2316358039" sldId="325"/>
            <ac:spMk id="4" creationId="{A3E40BA0-991B-4576-B7A4-C0DA5FC2579C}"/>
          </ac:spMkLst>
        </pc:spChg>
        <pc:spChg chg="add mod">
          <ac:chgData name="EVELYNSM.YONG" userId="S::evelynsm.yong_gmail.com#ext#@risebcg.onmicrosoft.com::67a27a72-2420-4d38-b745-316a53f4b99a" providerId="AD" clId="Web-{EBBE918A-CD43-47AE-9637-5ACE8C97E877}" dt="2022-01-07T12:32:54.048" v="122" actId="14100"/>
          <ac:spMkLst>
            <pc:docMk/>
            <pc:sldMk cId="2316358039" sldId="325"/>
            <ac:spMk id="5" creationId="{66362E8C-07A8-4B97-87C8-091A9FDB599A}"/>
          </ac:spMkLst>
        </pc:spChg>
        <pc:spChg chg="del">
          <ac:chgData name="EVELYNSM.YONG" userId="S::evelynsm.yong_gmail.com#ext#@risebcg.onmicrosoft.com::67a27a72-2420-4d38-b745-316a53f4b99a" providerId="AD" clId="Web-{EBBE918A-CD43-47AE-9637-5ACE8C97E877}" dt="2022-01-07T12:13:42.856" v="10"/>
          <ac:spMkLst>
            <pc:docMk/>
            <pc:sldMk cId="2316358039" sldId="325"/>
            <ac:spMk id="7" creationId="{F3057648-3AD9-401B-8B8E-890A4F0B8BB8}"/>
          </ac:spMkLst>
        </pc:spChg>
        <pc:spChg chg="add del mod">
          <ac:chgData name="EVELYNSM.YONG" userId="S::evelynsm.yong_gmail.com#ext#@risebcg.onmicrosoft.com::67a27a72-2420-4d38-b745-316a53f4b99a" providerId="AD" clId="Web-{EBBE918A-CD43-47AE-9637-5ACE8C97E877}" dt="2022-01-07T12:33:40.393" v="130"/>
          <ac:spMkLst>
            <pc:docMk/>
            <pc:sldMk cId="2316358039" sldId="325"/>
            <ac:spMk id="10" creationId="{5ADDBDDC-0792-47A7-BC5D-13C03DA9A945}"/>
          </ac:spMkLst>
        </pc:spChg>
        <pc:spChg chg="del mod">
          <ac:chgData name="EVELYNSM.YONG" userId="S::evelynsm.yong_gmail.com#ext#@risebcg.onmicrosoft.com::67a27a72-2420-4d38-b745-316a53f4b99a" providerId="AD" clId="Web-{EBBE918A-CD43-47AE-9637-5ACE8C97E877}" dt="2022-01-07T12:49:03.628" v="289"/>
          <ac:spMkLst>
            <pc:docMk/>
            <pc:sldMk cId="2316358039" sldId="325"/>
            <ac:spMk id="11" creationId="{F659B4BD-50AD-4CA3-95ED-DEC3DABB4313}"/>
          </ac:spMkLst>
        </pc:spChg>
        <pc:spChg chg="add mod">
          <ac:chgData name="EVELYNSM.YONG" userId="S::evelynsm.yong_gmail.com#ext#@risebcg.onmicrosoft.com::67a27a72-2420-4d38-b745-316a53f4b99a" providerId="AD" clId="Web-{EBBE918A-CD43-47AE-9637-5ACE8C97E877}" dt="2022-01-07T12:53:33.789" v="328" actId="14100"/>
          <ac:spMkLst>
            <pc:docMk/>
            <pc:sldMk cId="2316358039" sldId="325"/>
            <ac:spMk id="14" creationId="{3C1C8EDA-91F1-403C-A371-164289F5FB16}"/>
          </ac:spMkLst>
        </pc:spChg>
        <pc:spChg chg="add del">
          <ac:chgData name="EVELYNSM.YONG" userId="S::evelynsm.yong_gmail.com#ext#@risebcg.onmicrosoft.com::67a27a72-2420-4d38-b745-316a53f4b99a" providerId="AD" clId="Web-{EBBE918A-CD43-47AE-9637-5ACE8C97E877}" dt="2022-01-07T12:54:00.587" v="335"/>
          <ac:spMkLst>
            <pc:docMk/>
            <pc:sldMk cId="2316358039" sldId="325"/>
            <ac:spMk id="15" creationId="{E649DBD4-55D8-4DAB-B729-9E11691B45F6}"/>
          </ac:spMkLst>
        </pc:spChg>
        <pc:spChg chg="del mod">
          <ac:chgData name="EVELYNSM.YONG" userId="S::evelynsm.yong_gmail.com#ext#@risebcg.onmicrosoft.com::67a27a72-2420-4d38-b745-316a53f4b99a" providerId="AD" clId="Web-{EBBE918A-CD43-47AE-9637-5ACE8C97E877}" dt="2022-01-07T12:49:04.894" v="291"/>
          <ac:spMkLst>
            <pc:docMk/>
            <pc:sldMk cId="2316358039" sldId="325"/>
            <ac:spMk id="16" creationId="{E9F09C74-B1ED-48F0-B094-FCB61FD07FD8}"/>
          </ac:spMkLst>
        </pc:spChg>
        <pc:spChg chg="add mod">
          <ac:chgData name="EVELYNSM.YONG" userId="S::evelynsm.yong_gmail.com#ext#@risebcg.onmicrosoft.com::67a27a72-2420-4d38-b745-316a53f4b99a" providerId="AD" clId="Web-{EBBE918A-CD43-47AE-9637-5ACE8C97E877}" dt="2022-01-07T12:55:44.776" v="356" actId="14100"/>
          <ac:spMkLst>
            <pc:docMk/>
            <pc:sldMk cId="2316358039" sldId="325"/>
            <ac:spMk id="21" creationId="{E9143E79-0358-464A-ACC6-31293226C369}"/>
          </ac:spMkLst>
        </pc:spChg>
        <pc:spChg chg="add del mod">
          <ac:chgData name="EVELYNSM.YONG" userId="S::evelynsm.yong_gmail.com#ext#@risebcg.onmicrosoft.com::67a27a72-2420-4d38-b745-316a53f4b99a" providerId="AD" clId="Web-{EBBE918A-CD43-47AE-9637-5ACE8C97E877}" dt="2022-01-07T12:54:43.572" v="347"/>
          <ac:spMkLst>
            <pc:docMk/>
            <pc:sldMk cId="2316358039" sldId="325"/>
            <ac:spMk id="22" creationId="{57E59C8D-E114-4ED4-8719-FCDA55E852FA}"/>
          </ac:spMkLst>
        </pc:spChg>
        <pc:picChg chg="mod">
          <ac:chgData name="EVELYNSM.YONG" userId="S::evelynsm.yong_gmail.com#ext#@risebcg.onmicrosoft.com::67a27a72-2420-4d38-b745-316a53f4b99a" providerId="AD" clId="Web-{EBBE918A-CD43-47AE-9637-5ACE8C97E877}" dt="2022-01-07T12:54:53.431" v="348" actId="1076"/>
          <ac:picMkLst>
            <pc:docMk/>
            <pc:sldMk cId="2316358039" sldId="325"/>
            <ac:picMk id="2" creationId="{69CF128B-0B09-4BF1-B2CA-1BA877B1F78B}"/>
          </ac:picMkLst>
        </pc:picChg>
        <pc:picChg chg="del mod">
          <ac:chgData name="EVELYNSM.YONG" userId="S::evelynsm.yong_gmail.com#ext#@risebcg.onmicrosoft.com::67a27a72-2420-4d38-b745-316a53f4b99a" providerId="AD" clId="Web-{EBBE918A-CD43-47AE-9637-5ACE8C97E877}" dt="2022-01-07T12:49:00.831" v="288"/>
          <ac:picMkLst>
            <pc:docMk/>
            <pc:sldMk cId="2316358039" sldId="325"/>
            <ac:picMk id="6" creationId="{3476209F-81B0-4A6C-8B12-F6D764D3E106}"/>
          </ac:picMkLst>
        </pc:picChg>
        <pc:picChg chg="del mod">
          <ac:chgData name="EVELYNSM.YONG" userId="S::evelynsm.yong_gmail.com#ext#@risebcg.onmicrosoft.com::67a27a72-2420-4d38-b745-316a53f4b99a" providerId="AD" clId="Web-{EBBE918A-CD43-47AE-9637-5ACE8C97E877}" dt="2022-01-07T12:49:04.175" v="290"/>
          <ac:picMkLst>
            <pc:docMk/>
            <pc:sldMk cId="2316358039" sldId="325"/>
            <ac:picMk id="9" creationId="{A76048B9-7E18-4DEE-8C9E-48B93DFE3F73}"/>
          </ac:picMkLst>
        </pc:picChg>
      </pc:sldChg>
      <pc:sldChg chg="addSp delSp modSp">
        <pc:chgData name="EVELYNSM.YONG" userId="S::evelynsm.yong_gmail.com#ext#@risebcg.onmicrosoft.com::67a27a72-2420-4d38-b745-316a53f4b99a" providerId="AD" clId="Web-{EBBE918A-CD43-47AE-9637-5ACE8C97E877}" dt="2022-01-07T12:47:45.814" v="282"/>
        <pc:sldMkLst>
          <pc:docMk/>
          <pc:sldMk cId="2160415509" sldId="326"/>
        </pc:sldMkLst>
        <pc:spChg chg="mod">
          <ac:chgData name="EVELYNSM.YONG" userId="S::evelynsm.yong_gmail.com#ext#@risebcg.onmicrosoft.com::67a27a72-2420-4d38-b745-316a53f4b99a" providerId="AD" clId="Web-{EBBE918A-CD43-47AE-9637-5ACE8C97E877}" dt="2022-01-07T12:30:23.546" v="86" actId="1076"/>
          <ac:spMkLst>
            <pc:docMk/>
            <pc:sldMk cId="2160415509" sldId="326"/>
            <ac:spMk id="3" creationId="{2A938E9D-39F3-463F-BEAD-B91F6168A34D}"/>
          </ac:spMkLst>
        </pc:spChg>
        <pc:spChg chg="add mod">
          <ac:chgData name="EVELYNSM.YONG" userId="S::evelynsm.yong_gmail.com#ext#@risebcg.onmicrosoft.com::67a27a72-2420-4d38-b745-316a53f4b99a" providerId="AD" clId="Web-{EBBE918A-CD43-47AE-9637-5ACE8C97E877}" dt="2022-01-07T12:31:41.688" v="114" actId="14100"/>
          <ac:spMkLst>
            <pc:docMk/>
            <pc:sldMk cId="2160415509" sldId="326"/>
            <ac:spMk id="4" creationId="{215644EC-E1A2-4B5F-BA53-79EB189605EC}"/>
          </ac:spMkLst>
        </pc:spChg>
        <pc:spChg chg="add del">
          <ac:chgData name="EVELYNSM.YONG" userId="S::evelynsm.yong_gmail.com#ext#@risebcg.onmicrosoft.com::67a27a72-2420-4d38-b745-316a53f4b99a" providerId="AD" clId="Web-{EBBE918A-CD43-47AE-9637-5ACE8C97E877}" dt="2022-01-07T12:30:48.546" v="93"/>
          <ac:spMkLst>
            <pc:docMk/>
            <pc:sldMk cId="2160415509" sldId="326"/>
            <ac:spMk id="5" creationId="{C35BBA10-0D37-4760-8898-CB2A401CB13F}"/>
          </ac:spMkLst>
        </pc:spChg>
        <pc:spChg chg="mod">
          <ac:chgData name="EVELYNSM.YONG" userId="S::evelynsm.yong_gmail.com#ext#@risebcg.onmicrosoft.com::67a27a72-2420-4d38-b745-316a53f4b99a" providerId="AD" clId="Web-{EBBE918A-CD43-47AE-9637-5ACE8C97E877}" dt="2022-01-07T12:47:45.814" v="282"/>
          <ac:spMkLst>
            <pc:docMk/>
            <pc:sldMk cId="2160415509" sldId="326"/>
            <ac:spMk id="15" creationId="{AAF3EE67-387A-430E-A8DA-4FF50FD506BC}"/>
          </ac:spMkLst>
        </pc:spChg>
      </pc:sldChg>
      <pc:sldChg chg="addSp delSp modSp">
        <pc:chgData name="EVELYNSM.YONG" userId="S::evelynsm.yong_gmail.com#ext#@risebcg.onmicrosoft.com::67a27a72-2420-4d38-b745-316a53f4b99a" providerId="AD" clId="Web-{EBBE918A-CD43-47AE-9637-5ACE8C97E877}" dt="2022-01-07T12:41:38.151" v="242" actId="1076"/>
        <pc:sldMkLst>
          <pc:docMk/>
          <pc:sldMk cId="416007632" sldId="327"/>
        </pc:sldMkLst>
        <pc:spChg chg="mod">
          <ac:chgData name="EVELYNSM.YONG" userId="S::evelynsm.yong_gmail.com#ext#@risebcg.onmicrosoft.com::67a27a72-2420-4d38-b745-316a53f4b99a" providerId="AD" clId="Web-{EBBE918A-CD43-47AE-9637-5ACE8C97E877}" dt="2022-01-07T12:29:10.841" v="78" actId="20577"/>
          <ac:spMkLst>
            <pc:docMk/>
            <pc:sldMk cId="416007632" sldId="327"/>
            <ac:spMk id="2" creationId="{ED14AA63-35D8-4136-8B2F-DE1837A583A2}"/>
          </ac:spMkLst>
        </pc:spChg>
        <pc:spChg chg="mod">
          <ac:chgData name="EVELYNSM.YONG" userId="S::evelynsm.yong_gmail.com#ext#@risebcg.onmicrosoft.com::67a27a72-2420-4d38-b745-316a53f4b99a" providerId="AD" clId="Web-{EBBE918A-CD43-47AE-9637-5ACE8C97E877}" dt="2022-01-07T12:27:39.527" v="71"/>
          <ac:spMkLst>
            <pc:docMk/>
            <pc:sldMk cId="416007632" sldId="327"/>
            <ac:spMk id="4" creationId="{F2781DB5-90E2-4089-BA07-2F83778C3F07}"/>
          </ac:spMkLst>
        </pc:spChg>
        <pc:spChg chg="mod">
          <ac:chgData name="EVELYNSM.YONG" userId="S::evelynsm.yong_gmail.com#ext#@risebcg.onmicrosoft.com::67a27a72-2420-4d38-b745-316a53f4b99a" providerId="AD" clId="Web-{EBBE918A-CD43-47AE-9637-5ACE8C97E877}" dt="2022-01-07T12:27:39.543" v="72"/>
          <ac:spMkLst>
            <pc:docMk/>
            <pc:sldMk cId="416007632" sldId="327"/>
            <ac:spMk id="5" creationId="{AA1B9715-B961-42AF-90C9-79A87F13D1B8}"/>
          </ac:spMkLst>
        </pc:spChg>
        <pc:spChg chg="mod">
          <ac:chgData name="EVELYNSM.YONG" userId="S::evelynsm.yong_gmail.com#ext#@risebcg.onmicrosoft.com::67a27a72-2420-4d38-b745-316a53f4b99a" providerId="AD" clId="Web-{EBBE918A-CD43-47AE-9637-5ACE8C97E877}" dt="2022-01-07T12:36:26.208" v="186" actId="20577"/>
          <ac:spMkLst>
            <pc:docMk/>
            <pc:sldMk cId="416007632" sldId="327"/>
            <ac:spMk id="10" creationId="{6903E9BF-EB5F-4900-A7C3-8046B86C2485}"/>
          </ac:spMkLst>
        </pc:spChg>
        <pc:spChg chg="mod">
          <ac:chgData name="EVELYNSM.YONG" userId="S::evelynsm.yong_gmail.com#ext#@risebcg.onmicrosoft.com::67a27a72-2420-4d38-b745-316a53f4b99a" providerId="AD" clId="Web-{EBBE918A-CD43-47AE-9637-5ACE8C97E877}" dt="2022-01-07T12:27:39.590" v="74"/>
          <ac:spMkLst>
            <pc:docMk/>
            <pc:sldMk cId="416007632" sldId="327"/>
            <ac:spMk id="11" creationId="{41409821-5DD4-4CE8-8A23-90E7022670FB}"/>
          </ac:spMkLst>
        </pc:spChg>
        <pc:spChg chg="mod">
          <ac:chgData name="EVELYNSM.YONG" userId="S::evelynsm.yong_gmail.com#ext#@risebcg.onmicrosoft.com::67a27a72-2420-4d38-b745-316a53f4b99a" providerId="AD" clId="Web-{EBBE918A-CD43-47AE-9637-5ACE8C97E877}" dt="2022-01-07T12:27:39.605" v="75"/>
          <ac:spMkLst>
            <pc:docMk/>
            <pc:sldMk cId="416007632" sldId="327"/>
            <ac:spMk id="17" creationId="{A342E76F-CBEB-45ED-8735-A83C6AD5D2B1}"/>
          </ac:spMkLst>
        </pc:spChg>
        <pc:spChg chg="mod">
          <ac:chgData name="EVELYNSM.YONG" userId="S::evelynsm.yong_gmail.com#ext#@risebcg.onmicrosoft.com::67a27a72-2420-4d38-b745-316a53f4b99a" providerId="AD" clId="Web-{EBBE918A-CD43-47AE-9637-5ACE8C97E877}" dt="2022-01-07T12:38:14.070" v="204" actId="1076"/>
          <ac:spMkLst>
            <pc:docMk/>
            <pc:sldMk cId="416007632" sldId="327"/>
            <ac:spMk id="32" creationId="{19924F50-9976-41A7-88C1-641F1509CEE0}"/>
          </ac:spMkLst>
        </pc:spChg>
        <pc:spChg chg="mod">
          <ac:chgData name="EVELYNSM.YONG" userId="S::evelynsm.yong_gmail.com#ext#@risebcg.onmicrosoft.com::67a27a72-2420-4d38-b745-316a53f4b99a" providerId="AD" clId="Web-{EBBE918A-CD43-47AE-9637-5ACE8C97E877}" dt="2022-01-07T12:38:16.710" v="205" actId="1076"/>
          <ac:spMkLst>
            <pc:docMk/>
            <pc:sldMk cId="416007632" sldId="327"/>
            <ac:spMk id="33" creationId="{C9B7F08E-D629-47BA-B28C-40CF22219379}"/>
          </ac:spMkLst>
        </pc:spChg>
        <pc:spChg chg="mod">
          <ac:chgData name="EVELYNSM.YONG" userId="S::evelynsm.yong_gmail.com#ext#@risebcg.onmicrosoft.com::67a27a72-2420-4d38-b745-316a53f4b99a" providerId="AD" clId="Web-{EBBE918A-CD43-47AE-9637-5ACE8C97E877}" dt="2022-01-07T12:38:24.132" v="206" actId="1076"/>
          <ac:spMkLst>
            <pc:docMk/>
            <pc:sldMk cId="416007632" sldId="327"/>
            <ac:spMk id="34" creationId="{06D19D76-F677-4AAA-AA6A-7CA4B9DAF436}"/>
          </ac:spMkLst>
        </pc:spChg>
        <pc:picChg chg="add del mod">
          <ac:chgData name="EVELYNSM.YONG" userId="S::evelynsm.yong_gmail.com#ext#@risebcg.onmicrosoft.com::67a27a72-2420-4d38-b745-316a53f4b99a" providerId="AD" clId="Web-{EBBE918A-CD43-47AE-9637-5ACE8C97E877}" dt="2022-01-07T12:29:15.591" v="79"/>
          <ac:picMkLst>
            <pc:docMk/>
            <pc:sldMk cId="416007632" sldId="327"/>
            <ac:picMk id="3" creationId="{1EE72CB4-04A3-4292-A220-270C05FC4D98}"/>
          </ac:picMkLst>
        </pc:picChg>
        <pc:picChg chg="mod">
          <ac:chgData name="EVELYNSM.YONG" userId="S::evelynsm.yong_gmail.com#ext#@risebcg.onmicrosoft.com::67a27a72-2420-4d38-b745-316a53f4b99a" providerId="AD" clId="Web-{EBBE918A-CD43-47AE-9637-5ACE8C97E877}" dt="2022-01-07T12:36:26.568" v="187" actId="1076"/>
          <ac:picMkLst>
            <pc:docMk/>
            <pc:sldMk cId="416007632" sldId="327"/>
            <ac:picMk id="13" creationId="{9D9C893F-03E6-48D6-942D-542F03E4CD7B}"/>
          </ac:picMkLst>
        </pc:picChg>
        <pc:picChg chg="mod">
          <ac:chgData name="EVELYNSM.YONG" userId="S::evelynsm.yong_gmail.com#ext#@risebcg.onmicrosoft.com::67a27a72-2420-4d38-b745-316a53f4b99a" providerId="AD" clId="Web-{EBBE918A-CD43-47AE-9637-5ACE8C97E877}" dt="2022-01-07T12:41:38.151" v="242" actId="1076"/>
          <ac:picMkLst>
            <pc:docMk/>
            <pc:sldMk cId="416007632" sldId="327"/>
            <ac:picMk id="21" creationId="{270AFCE7-EE99-4D66-AE35-2E7503A46115}"/>
          </ac:picMkLst>
        </pc:picChg>
        <pc:picChg chg="mod">
          <ac:chgData name="EVELYNSM.YONG" userId="S::evelynsm.yong_gmail.com#ext#@risebcg.onmicrosoft.com::67a27a72-2420-4d38-b745-316a53f4b99a" providerId="AD" clId="Web-{EBBE918A-CD43-47AE-9637-5ACE8C97E877}" dt="2022-01-07T12:41:38.151" v="241" actId="1076"/>
          <ac:picMkLst>
            <pc:docMk/>
            <pc:sldMk cId="416007632" sldId="327"/>
            <ac:picMk id="23" creationId="{AEC9587C-3F93-4045-ACEB-A1A4AFB0FC11}"/>
          </ac:picMkLst>
        </pc:picChg>
        <pc:picChg chg="mod">
          <ac:chgData name="EVELYNSM.YONG" userId="S::evelynsm.yong_gmail.com#ext#@risebcg.onmicrosoft.com::67a27a72-2420-4d38-b745-316a53f4b99a" providerId="AD" clId="Web-{EBBE918A-CD43-47AE-9637-5ACE8C97E877}" dt="2022-01-07T12:41:38.151" v="240" actId="1076"/>
          <ac:picMkLst>
            <pc:docMk/>
            <pc:sldMk cId="416007632" sldId="327"/>
            <ac:picMk id="29" creationId="{4F6899D5-3109-4938-82DA-041DEA46D7EF}"/>
          </ac:picMkLst>
        </pc:picChg>
      </pc:sldChg>
      <pc:sldChg chg="addSp delSp modSp">
        <pc:chgData name="EVELYNSM.YONG" userId="S::evelynsm.yong_gmail.com#ext#@risebcg.onmicrosoft.com::67a27a72-2420-4d38-b745-316a53f4b99a" providerId="AD" clId="Web-{EBBE918A-CD43-47AE-9637-5ACE8C97E877}" dt="2022-01-07T12:46:08.141" v="278"/>
        <pc:sldMkLst>
          <pc:docMk/>
          <pc:sldMk cId="4276505800" sldId="329"/>
        </pc:sldMkLst>
        <pc:spChg chg="add mod">
          <ac:chgData name="EVELYNSM.YONG" userId="S::evelynsm.yong_gmail.com#ext#@risebcg.onmicrosoft.com::67a27a72-2420-4d38-b745-316a53f4b99a" providerId="AD" clId="Web-{EBBE918A-CD43-47AE-9637-5ACE8C97E877}" dt="2022-01-07T12:32:34.814" v="115" actId="14100"/>
          <ac:spMkLst>
            <pc:docMk/>
            <pc:sldMk cId="4276505800" sldId="329"/>
            <ac:spMk id="3" creationId="{FA363FAE-9C13-49DF-A86A-6D93D63F5439}"/>
          </ac:spMkLst>
        </pc:spChg>
        <pc:spChg chg="add del">
          <ac:chgData name="EVELYNSM.YONG" userId="S::evelynsm.yong_gmail.com#ext#@risebcg.onmicrosoft.com::67a27a72-2420-4d38-b745-316a53f4b99a" providerId="AD" clId="Web-{EBBE918A-CD43-47AE-9637-5ACE8C97E877}" dt="2022-01-07T12:33:28.362" v="126"/>
          <ac:spMkLst>
            <pc:docMk/>
            <pc:sldMk cId="4276505800" sldId="329"/>
            <ac:spMk id="4" creationId="{9F126676-ECFC-424B-A66A-2CE8BBE8AF31}"/>
          </ac:spMkLst>
        </pc:spChg>
        <pc:spChg chg="mod">
          <ac:chgData name="EVELYNSM.YONG" userId="S::evelynsm.yong_gmail.com#ext#@risebcg.onmicrosoft.com::67a27a72-2420-4d38-b745-316a53f4b99a" providerId="AD" clId="Web-{EBBE918A-CD43-47AE-9637-5ACE8C97E877}" dt="2022-01-07T12:46:08.141" v="278"/>
          <ac:spMkLst>
            <pc:docMk/>
            <pc:sldMk cId="4276505800" sldId="329"/>
            <ac:spMk id="15" creationId="{AAF3EE67-387A-430E-A8DA-4FF50FD506BC}"/>
          </ac:spMkLst>
        </pc:spChg>
      </pc:sldChg>
      <pc:sldChg chg="addSp modSp">
        <pc:chgData name="EVELYNSM.YONG" userId="S::evelynsm.yong_gmail.com#ext#@risebcg.onmicrosoft.com::67a27a72-2420-4d38-b745-316a53f4b99a" providerId="AD" clId="Web-{EBBE918A-CD43-47AE-9637-5ACE8C97E877}" dt="2022-01-07T12:46:04.172" v="272"/>
        <pc:sldMkLst>
          <pc:docMk/>
          <pc:sldMk cId="2728944561" sldId="333"/>
        </pc:sldMkLst>
        <pc:spChg chg="add mod">
          <ac:chgData name="EVELYNSM.YONG" userId="S::evelynsm.yong_gmail.com#ext#@risebcg.onmicrosoft.com::67a27a72-2420-4d38-b745-316a53f4b99a" providerId="AD" clId="Web-{EBBE918A-CD43-47AE-9637-5ACE8C97E877}" dt="2022-01-07T12:33:44.331" v="131" actId="14100"/>
          <ac:spMkLst>
            <pc:docMk/>
            <pc:sldMk cId="2728944561" sldId="333"/>
            <ac:spMk id="3" creationId="{9C545F2D-9E52-4C81-8BAE-363F523739FD}"/>
          </ac:spMkLst>
        </pc:spChg>
        <pc:spChg chg="mod">
          <ac:chgData name="EVELYNSM.YONG" userId="S::evelynsm.yong_gmail.com#ext#@risebcg.onmicrosoft.com::67a27a72-2420-4d38-b745-316a53f4b99a" providerId="AD" clId="Web-{EBBE918A-CD43-47AE-9637-5ACE8C97E877}" dt="2022-01-07T12:46:04.172" v="272"/>
          <ac:spMkLst>
            <pc:docMk/>
            <pc:sldMk cId="2728944561" sldId="333"/>
            <ac:spMk id="15" creationId="{AAF3EE67-387A-430E-A8DA-4FF50FD506BC}"/>
          </ac:spMkLst>
        </pc:spChg>
      </pc:sldChg>
      <pc:sldChg chg="addSp">
        <pc:chgData name="EVELYNSM.YONG" userId="S::evelynsm.yong_gmail.com#ext#@risebcg.onmicrosoft.com::67a27a72-2420-4d38-b745-316a53f4b99a" providerId="AD" clId="Web-{EBBE918A-CD43-47AE-9637-5ACE8C97E877}" dt="2022-01-07T12:45:39.359" v="264"/>
        <pc:sldMkLst>
          <pc:docMk/>
          <pc:sldMk cId="1249418479" sldId="334"/>
        </pc:sldMkLst>
        <pc:grpChg chg="add">
          <ac:chgData name="EVELYNSM.YONG" userId="S::evelynsm.yong_gmail.com#ext#@risebcg.onmicrosoft.com::67a27a72-2420-4d38-b745-316a53f4b99a" providerId="AD" clId="Web-{EBBE918A-CD43-47AE-9637-5ACE8C97E877}" dt="2022-01-07T12:45:39.359" v="264"/>
          <ac:grpSpMkLst>
            <pc:docMk/>
            <pc:sldMk cId="1249418479" sldId="334"/>
            <ac:grpSpMk id="8" creationId="{0BA96E81-F16A-4482-9E7E-049FDFCE8DF3}"/>
          </ac:grpSpMkLst>
        </pc:grpChg>
      </pc:sldChg>
      <pc:sldChg chg="addSp">
        <pc:chgData name="EVELYNSM.YONG" userId="S::evelynsm.yong_gmail.com#ext#@risebcg.onmicrosoft.com::67a27a72-2420-4d38-b745-316a53f4b99a" providerId="AD" clId="Web-{EBBE918A-CD43-47AE-9637-5ACE8C97E877}" dt="2022-01-07T12:45:41.421" v="265"/>
        <pc:sldMkLst>
          <pc:docMk/>
          <pc:sldMk cId="2652119032" sldId="335"/>
        </pc:sldMkLst>
        <pc:grpChg chg="add">
          <ac:chgData name="EVELYNSM.YONG" userId="S::evelynsm.yong_gmail.com#ext#@risebcg.onmicrosoft.com::67a27a72-2420-4d38-b745-316a53f4b99a" providerId="AD" clId="Web-{EBBE918A-CD43-47AE-9637-5ACE8C97E877}" dt="2022-01-07T12:45:41.421" v="265"/>
          <ac:grpSpMkLst>
            <pc:docMk/>
            <pc:sldMk cId="2652119032" sldId="335"/>
            <ac:grpSpMk id="8" creationId="{CAEC6CD7-B066-4DF9-94AD-FBA7CF3B0107}"/>
          </ac:grpSpMkLst>
        </pc:grpChg>
      </pc:sldChg>
      <pc:sldChg chg="addSp modSp new del">
        <pc:chgData name="EVELYNSM.YONG" userId="S::evelynsm.yong_gmail.com#ext#@risebcg.onmicrosoft.com::67a27a72-2420-4d38-b745-316a53f4b99a" providerId="AD" clId="Web-{EBBE918A-CD43-47AE-9637-5ACE8C97E877}" dt="2022-01-07T12:29:21.310" v="80"/>
        <pc:sldMkLst>
          <pc:docMk/>
          <pc:sldMk cId="521801073" sldId="337"/>
        </pc:sldMkLst>
        <pc:spChg chg="add mod">
          <ac:chgData name="EVELYNSM.YONG" userId="S::evelynsm.yong_gmail.com#ext#@risebcg.onmicrosoft.com::67a27a72-2420-4d38-b745-316a53f4b99a" providerId="AD" clId="Web-{EBBE918A-CD43-47AE-9637-5ACE8C97E877}" dt="2022-01-07T12:22:04.334" v="57"/>
          <ac:spMkLst>
            <pc:docMk/>
            <pc:sldMk cId="521801073" sldId="337"/>
            <ac:spMk id="3" creationId="{478B85C6-5C34-4090-9D82-FDF63D74953C}"/>
          </ac:spMkLst>
        </pc:spChg>
        <pc:spChg chg="add">
          <ac:chgData name="EVELYNSM.YONG" userId="S::evelynsm.yong_gmail.com#ext#@risebcg.onmicrosoft.com::67a27a72-2420-4d38-b745-316a53f4b99a" providerId="AD" clId="Web-{EBBE918A-CD43-47AE-9637-5ACE8C97E877}" dt="2022-01-07T12:21:54.255" v="46"/>
          <ac:spMkLst>
            <pc:docMk/>
            <pc:sldMk cId="521801073" sldId="337"/>
            <ac:spMk id="5" creationId="{7ADF128F-F334-41F9-8EF9-27C034101E42}"/>
          </ac:spMkLst>
        </pc:spChg>
        <pc:spChg chg="add">
          <ac:chgData name="EVELYNSM.YONG" userId="S::evelynsm.yong_gmail.com#ext#@risebcg.onmicrosoft.com::67a27a72-2420-4d38-b745-316a53f4b99a" providerId="AD" clId="Web-{EBBE918A-CD43-47AE-9637-5ACE8C97E877}" dt="2022-01-07T12:21:54.255" v="47"/>
          <ac:spMkLst>
            <pc:docMk/>
            <pc:sldMk cId="521801073" sldId="337"/>
            <ac:spMk id="7" creationId="{EFD5A8D2-20D6-466F-AE9C-657391450584}"/>
          </ac:spMkLst>
        </pc:spChg>
        <pc:spChg chg="add mod">
          <ac:chgData name="EVELYNSM.YONG" userId="S::evelynsm.yong_gmail.com#ext#@risebcg.onmicrosoft.com::67a27a72-2420-4d38-b745-316a53f4b99a" providerId="AD" clId="Web-{EBBE918A-CD43-47AE-9637-5ACE8C97E877}" dt="2022-01-07T12:22:25.084" v="58"/>
          <ac:spMkLst>
            <pc:docMk/>
            <pc:sldMk cId="521801073" sldId="337"/>
            <ac:spMk id="13" creationId="{38A3CF76-0189-49A8-8564-1C1F8BECE4A6}"/>
          </ac:spMkLst>
        </pc:spChg>
        <pc:spChg chg="add mod">
          <ac:chgData name="EVELYNSM.YONG" userId="S::evelynsm.yong_gmail.com#ext#@risebcg.onmicrosoft.com::67a27a72-2420-4d38-b745-316a53f4b99a" providerId="AD" clId="Web-{EBBE918A-CD43-47AE-9637-5ACE8C97E877}" dt="2022-01-07T12:22:25.100" v="59"/>
          <ac:spMkLst>
            <pc:docMk/>
            <pc:sldMk cId="521801073" sldId="337"/>
            <ac:spMk id="15" creationId="{45F12D8B-794B-4507-9348-930CD28BC1CF}"/>
          </ac:spMkLst>
        </pc:spChg>
        <pc:spChg chg="add mod">
          <ac:chgData name="EVELYNSM.YONG" userId="S::evelynsm.yong_gmail.com#ext#@risebcg.onmicrosoft.com::67a27a72-2420-4d38-b745-316a53f4b99a" providerId="AD" clId="Web-{EBBE918A-CD43-47AE-9637-5ACE8C97E877}" dt="2022-01-07T12:22:25.100" v="60"/>
          <ac:spMkLst>
            <pc:docMk/>
            <pc:sldMk cId="521801073" sldId="337"/>
            <ac:spMk id="19" creationId="{3E07C347-64C7-4F14-8CF3-2E07888F3E0E}"/>
          </ac:spMkLst>
        </pc:spChg>
        <pc:picChg chg="add">
          <ac:chgData name="EVELYNSM.YONG" userId="S::evelynsm.yong_gmail.com#ext#@risebcg.onmicrosoft.com::67a27a72-2420-4d38-b745-316a53f4b99a" providerId="AD" clId="Web-{EBBE918A-CD43-47AE-9637-5ACE8C97E877}" dt="2022-01-07T12:21:54.271" v="48"/>
          <ac:picMkLst>
            <pc:docMk/>
            <pc:sldMk cId="521801073" sldId="337"/>
            <ac:picMk id="9" creationId="{13A86501-E993-470B-BF99-D2164F5A32BF}"/>
          </ac:picMkLst>
        </pc:picChg>
        <pc:picChg chg="add">
          <ac:chgData name="EVELYNSM.YONG" userId="S::evelynsm.yong_gmail.com#ext#@risebcg.onmicrosoft.com::67a27a72-2420-4d38-b745-316a53f4b99a" providerId="AD" clId="Web-{EBBE918A-CD43-47AE-9637-5ACE8C97E877}" dt="2022-01-07T12:21:54.287" v="49"/>
          <ac:picMkLst>
            <pc:docMk/>
            <pc:sldMk cId="521801073" sldId="337"/>
            <ac:picMk id="11" creationId="{0F2441DD-BC38-4495-88F8-60611C49F8B9}"/>
          </ac:picMkLst>
        </pc:picChg>
        <pc:picChg chg="add">
          <ac:chgData name="EVELYNSM.YONG" userId="S::evelynsm.yong_gmail.com#ext#@risebcg.onmicrosoft.com::67a27a72-2420-4d38-b745-316a53f4b99a" providerId="AD" clId="Web-{EBBE918A-CD43-47AE-9637-5ACE8C97E877}" dt="2022-01-07T12:21:54.318" v="52"/>
          <ac:picMkLst>
            <pc:docMk/>
            <pc:sldMk cId="521801073" sldId="337"/>
            <ac:picMk id="17" creationId="{55178E69-B1A8-4A52-8CEA-BC84FEBD4124}"/>
          </ac:picMkLst>
        </pc:picChg>
        <pc:picChg chg="add">
          <ac:chgData name="EVELYNSM.YONG" userId="S::evelynsm.yong_gmail.com#ext#@risebcg.onmicrosoft.com::67a27a72-2420-4d38-b745-316a53f4b99a" providerId="AD" clId="Web-{EBBE918A-CD43-47AE-9637-5ACE8C97E877}" dt="2022-01-07T12:21:54.349" v="54"/>
          <ac:picMkLst>
            <pc:docMk/>
            <pc:sldMk cId="521801073" sldId="337"/>
            <ac:picMk id="21" creationId="{54734CB3-D5AD-4492-ACE9-6E373EB1A605}"/>
          </ac:picMkLst>
        </pc:picChg>
        <pc:picChg chg="add">
          <ac:chgData name="EVELYNSM.YONG" userId="S::evelynsm.yong_gmail.com#ext#@risebcg.onmicrosoft.com::67a27a72-2420-4d38-b745-316a53f4b99a" providerId="AD" clId="Web-{EBBE918A-CD43-47AE-9637-5ACE8C97E877}" dt="2022-01-07T12:21:54.365" v="55"/>
          <ac:picMkLst>
            <pc:docMk/>
            <pc:sldMk cId="521801073" sldId="337"/>
            <ac:picMk id="23" creationId="{9A98F5FB-494D-4C7F-B860-EE91316C9D4E}"/>
          </ac:picMkLst>
        </pc:picChg>
        <pc:picChg chg="add">
          <ac:chgData name="EVELYNSM.YONG" userId="S::evelynsm.yong_gmail.com#ext#@risebcg.onmicrosoft.com::67a27a72-2420-4d38-b745-316a53f4b99a" providerId="AD" clId="Web-{EBBE918A-CD43-47AE-9637-5ACE8C97E877}" dt="2022-01-07T12:21:54.365" v="56"/>
          <ac:picMkLst>
            <pc:docMk/>
            <pc:sldMk cId="521801073" sldId="337"/>
            <ac:picMk id="25" creationId="{6A9C6F5B-69A9-4DC0-9124-E31F04230A02}"/>
          </ac:picMkLst>
        </pc:picChg>
      </pc:sldChg>
      <pc:sldChg chg="addSp delSp modSp add ord replId">
        <pc:chgData name="EVELYNSM.YONG" userId="S::evelynsm.yong_gmail.com#ext#@risebcg.onmicrosoft.com::67a27a72-2420-4d38-b745-316a53f4b99a" providerId="AD" clId="Web-{EBBE918A-CD43-47AE-9637-5ACE8C97E877}" dt="2022-01-07T12:56:47.011" v="368" actId="14100"/>
        <pc:sldMkLst>
          <pc:docMk/>
          <pc:sldMk cId="855648020" sldId="337"/>
        </pc:sldMkLst>
        <pc:spChg chg="del mod">
          <ac:chgData name="EVELYNSM.YONG" userId="S::evelynsm.yong_gmail.com#ext#@risebcg.onmicrosoft.com::67a27a72-2420-4d38-b745-316a53f4b99a" providerId="AD" clId="Web-{EBBE918A-CD43-47AE-9637-5ACE8C97E877}" dt="2022-01-07T12:50:36.770" v="310"/>
          <ac:spMkLst>
            <pc:docMk/>
            <pc:sldMk cId="855648020" sldId="337"/>
            <ac:spMk id="3" creationId="{3EAAE696-94B0-42DC-B0E6-3874740CC294}"/>
          </ac:spMkLst>
        </pc:spChg>
        <pc:spChg chg="add mod">
          <ac:chgData name="EVELYNSM.YONG" userId="S::evelynsm.yong_gmail.com#ext#@risebcg.onmicrosoft.com::67a27a72-2420-4d38-b745-316a53f4b99a" providerId="AD" clId="Web-{EBBE918A-CD43-47AE-9637-5ACE8C97E877}" dt="2022-01-07T12:56:47.011" v="368" actId="14100"/>
          <ac:spMkLst>
            <pc:docMk/>
            <pc:sldMk cId="855648020" sldId="337"/>
            <ac:spMk id="10" creationId="{07073218-5F15-4EF5-A452-773E04940AE9}"/>
          </ac:spMkLst>
        </pc:spChg>
        <pc:spChg chg="mod">
          <ac:chgData name="EVELYNSM.YONG" userId="S::evelynsm.yong_gmail.com#ext#@risebcg.onmicrosoft.com::67a27a72-2420-4d38-b745-316a53f4b99a" providerId="AD" clId="Web-{EBBE918A-CD43-47AE-9637-5ACE8C97E877}" dt="2022-01-07T12:50:56.505" v="319" actId="1076"/>
          <ac:spMkLst>
            <pc:docMk/>
            <pc:sldMk cId="855648020" sldId="337"/>
            <ac:spMk id="11" creationId="{F659B4BD-50AD-4CA3-95ED-DEC3DABB4313}"/>
          </ac:spMkLst>
        </pc:spChg>
        <pc:spChg chg="mod">
          <ac:chgData name="EVELYNSM.YONG" userId="S::evelynsm.yong_gmail.com#ext#@risebcg.onmicrosoft.com::67a27a72-2420-4d38-b745-316a53f4b99a" providerId="AD" clId="Web-{EBBE918A-CD43-47AE-9637-5ACE8C97E877}" dt="2022-01-07T12:51:06.708" v="323" actId="1076"/>
          <ac:spMkLst>
            <pc:docMk/>
            <pc:sldMk cId="855648020" sldId="337"/>
            <ac:spMk id="16" creationId="{E9F09C74-B1ED-48F0-B094-FCB61FD07FD8}"/>
          </ac:spMkLst>
        </pc:spChg>
        <pc:picChg chg="del">
          <ac:chgData name="EVELYNSM.YONG" userId="S::evelynsm.yong_gmail.com#ext#@risebcg.onmicrosoft.com::67a27a72-2420-4d38-b745-316a53f4b99a" providerId="AD" clId="Web-{EBBE918A-CD43-47AE-9637-5ACE8C97E877}" dt="2022-01-07T12:49:56.113" v="302"/>
          <ac:picMkLst>
            <pc:docMk/>
            <pc:sldMk cId="855648020" sldId="337"/>
            <ac:picMk id="2" creationId="{69CF128B-0B09-4BF1-B2CA-1BA877B1F78B}"/>
          </ac:picMkLst>
        </pc:picChg>
        <pc:picChg chg="add mod">
          <ac:chgData name="EVELYNSM.YONG" userId="S::evelynsm.yong_gmail.com#ext#@risebcg.onmicrosoft.com::67a27a72-2420-4d38-b745-316a53f4b99a" providerId="AD" clId="Web-{EBBE918A-CD43-47AE-9637-5ACE8C97E877}" dt="2022-01-07T12:56:39.136" v="365" actId="1076"/>
          <ac:picMkLst>
            <pc:docMk/>
            <pc:sldMk cId="855648020" sldId="337"/>
            <ac:picMk id="4" creationId="{D1E8906C-F7B4-4B64-A4F6-A75BD1D8E774}"/>
          </ac:picMkLst>
        </pc:picChg>
        <pc:picChg chg="mod">
          <ac:chgData name="EVELYNSM.YONG" userId="S::evelynsm.yong_gmail.com#ext#@risebcg.onmicrosoft.com::67a27a72-2420-4d38-b745-316a53f4b99a" providerId="AD" clId="Web-{EBBE918A-CD43-47AE-9637-5ACE8C97E877}" dt="2022-01-07T12:50:53.568" v="318" actId="1076"/>
          <ac:picMkLst>
            <pc:docMk/>
            <pc:sldMk cId="855648020" sldId="337"/>
            <ac:picMk id="6" creationId="{3476209F-81B0-4A6C-8B12-F6D764D3E106}"/>
          </ac:picMkLst>
        </pc:picChg>
        <pc:picChg chg="mod">
          <ac:chgData name="EVELYNSM.YONG" userId="S::evelynsm.yong_gmail.com#ext#@risebcg.onmicrosoft.com::67a27a72-2420-4d38-b745-316a53f4b99a" providerId="AD" clId="Web-{EBBE918A-CD43-47AE-9637-5ACE8C97E877}" dt="2022-01-07T12:51:02.287" v="322" actId="14100"/>
          <ac:picMkLst>
            <pc:docMk/>
            <pc:sldMk cId="855648020" sldId="337"/>
            <ac:picMk id="9" creationId="{A76048B9-7E18-4DEE-8C9E-48B93DFE3F73}"/>
          </ac:picMkLst>
        </pc:picChg>
      </pc:sldChg>
    </pc:docChg>
  </pc:docChgLst>
  <pc:docChgLst>
    <pc:chgData name="WESLEY.TBW" userId="S::wesley.tbw_gmail.com#ext#@risebcg.onmicrosoft.com::1034df62-ee6d-4b2f-8a56-03c4406a0a8a" providerId="AD" clId="Web-{C17ABDC1-3A95-4347-ABD6-D23CA761376E}"/>
    <pc:docChg chg="modSld">
      <pc:chgData name="WESLEY.TBW" userId="S::wesley.tbw_gmail.com#ext#@risebcg.onmicrosoft.com::1034df62-ee6d-4b2f-8a56-03c4406a0a8a" providerId="AD" clId="Web-{C17ABDC1-3A95-4347-ABD6-D23CA761376E}" dt="2022-01-10T04:10:28.089" v="18"/>
      <pc:docMkLst>
        <pc:docMk/>
      </pc:docMkLst>
      <pc:sldChg chg="addSp delSp addAnim delAnim modAnim modNotes">
        <pc:chgData name="WESLEY.TBW" userId="S::wesley.tbw_gmail.com#ext#@risebcg.onmicrosoft.com::1034df62-ee6d-4b2f-8a56-03c4406a0a8a" providerId="AD" clId="Web-{C17ABDC1-3A95-4347-ABD6-D23CA761376E}" dt="2022-01-10T04:10:28.089" v="18"/>
        <pc:sldMkLst>
          <pc:docMk/>
          <pc:sldMk cId="4159389698" sldId="342"/>
        </pc:sldMkLst>
        <pc:spChg chg="topLvl">
          <ac:chgData name="WESLEY.TBW" userId="S::wesley.tbw_gmail.com#ext#@risebcg.onmicrosoft.com::1034df62-ee6d-4b2f-8a56-03c4406a0a8a" providerId="AD" clId="Web-{C17ABDC1-3A95-4347-ABD6-D23CA761376E}" dt="2022-01-10T04:09:06.225" v="0"/>
          <ac:spMkLst>
            <pc:docMk/>
            <pc:sldMk cId="4159389698" sldId="342"/>
            <ac:spMk id="17" creationId="{6FDF350C-C97C-400B-B87D-6901DDEB82E0}"/>
          </ac:spMkLst>
        </pc:spChg>
        <pc:spChg chg="topLvl">
          <ac:chgData name="WESLEY.TBW" userId="S::wesley.tbw_gmail.com#ext#@risebcg.onmicrosoft.com::1034df62-ee6d-4b2f-8a56-03c4406a0a8a" providerId="AD" clId="Web-{C17ABDC1-3A95-4347-ABD6-D23CA761376E}" dt="2022-01-10T04:09:06.225" v="0"/>
          <ac:spMkLst>
            <pc:docMk/>
            <pc:sldMk cId="4159389698" sldId="342"/>
            <ac:spMk id="18" creationId="{3C4A1E42-C144-4D19-AD56-DC9E3BC28DA6}"/>
          </ac:spMkLst>
        </pc:spChg>
        <pc:spChg chg="topLvl">
          <ac:chgData name="WESLEY.TBW" userId="S::wesley.tbw_gmail.com#ext#@risebcg.onmicrosoft.com::1034df62-ee6d-4b2f-8a56-03c4406a0a8a" providerId="AD" clId="Web-{C17ABDC1-3A95-4347-ABD6-D23CA761376E}" dt="2022-01-10T04:09:06.225" v="0"/>
          <ac:spMkLst>
            <pc:docMk/>
            <pc:sldMk cId="4159389698" sldId="342"/>
            <ac:spMk id="23" creationId="{41AFB02C-DB44-4F3C-812B-7D52A88090A6}"/>
          </ac:spMkLst>
        </pc:spChg>
        <pc:spChg chg="topLvl">
          <ac:chgData name="WESLEY.TBW" userId="S::wesley.tbw_gmail.com#ext#@risebcg.onmicrosoft.com::1034df62-ee6d-4b2f-8a56-03c4406a0a8a" providerId="AD" clId="Web-{C17ABDC1-3A95-4347-ABD6-D23CA761376E}" dt="2022-01-10T04:09:06.225" v="0"/>
          <ac:spMkLst>
            <pc:docMk/>
            <pc:sldMk cId="4159389698" sldId="342"/>
            <ac:spMk id="24" creationId="{C02F7E63-1F01-4B53-821F-57BEDFD3D2A7}"/>
          </ac:spMkLst>
        </pc:spChg>
        <pc:spChg chg="topLvl">
          <ac:chgData name="WESLEY.TBW" userId="S::wesley.tbw_gmail.com#ext#@risebcg.onmicrosoft.com::1034df62-ee6d-4b2f-8a56-03c4406a0a8a" providerId="AD" clId="Web-{C17ABDC1-3A95-4347-ABD6-D23CA761376E}" dt="2022-01-10T04:09:06.225" v="0"/>
          <ac:spMkLst>
            <pc:docMk/>
            <pc:sldMk cId="4159389698" sldId="342"/>
            <ac:spMk id="27" creationId="{DCFD4D3C-02DB-4109-AE1E-9B21315DB83D}"/>
          </ac:spMkLst>
        </pc:spChg>
        <pc:grpChg chg="add">
          <ac:chgData name="WESLEY.TBW" userId="S::wesley.tbw_gmail.com#ext#@risebcg.onmicrosoft.com::1034df62-ee6d-4b2f-8a56-03c4406a0a8a" providerId="AD" clId="Web-{C17ABDC1-3A95-4347-ABD6-D23CA761376E}" dt="2022-01-10T04:09:22.570" v="1"/>
          <ac:grpSpMkLst>
            <pc:docMk/>
            <pc:sldMk cId="4159389698" sldId="342"/>
            <ac:grpSpMk id="3" creationId="{3C647BC6-D86E-4327-A9F1-DF57F60FD454}"/>
          </ac:grpSpMkLst>
        </pc:grpChg>
        <pc:grpChg chg="add">
          <ac:chgData name="WESLEY.TBW" userId="S::wesley.tbw_gmail.com#ext#@risebcg.onmicrosoft.com::1034df62-ee6d-4b2f-8a56-03c4406a0a8a" providerId="AD" clId="Web-{C17ABDC1-3A95-4347-ABD6-D23CA761376E}" dt="2022-01-10T04:09:36.242" v="2"/>
          <ac:grpSpMkLst>
            <pc:docMk/>
            <pc:sldMk cId="4159389698" sldId="342"/>
            <ac:grpSpMk id="6" creationId="{59B1B3B7-FA33-4D9C-A1BA-AA07B2AE00BB}"/>
          </ac:grpSpMkLst>
        </pc:grpChg>
        <pc:grpChg chg="del">
          <ac:chgData name="WESLEY.TBW" userId="S::wesley.tbw_gmail.com#ext#@risebcg.onmicrosoft.com::1034df62-ee6d-4b2f-8a56-03c4406a0a8a" providerId="AD" clId="Web-{C17ABDC1-3A95-4347-ABD6-D23CA761376E}" dt="2022-01-10T04:09:06.225" v="0"/>
          <ac:grpSpMkLst>
            <pc:docMk/>
            <pc:sldMk cId="4159389698" sldId="342"/>
            <ac:grpSpMk id="31" creationId="{76E18740-F22D-4963-BCB7-3EF1ECF50B99}"/>
          </ac:grpSpMkLst>
        </pc:grpChg>
        <pc:cxnChg chg="topLvl">
          <ac:chgData name="WESLEY.TBW" userId="S::wesley.tbw_gmail.com#ext#@risebcg.onmicrosoft.com::1034df62-ee6d-4b2f-8a56-03c4406a0a8a" providerId="AD" clId="Web-{C17ABDC1-3A95-4347-ABD6-D23CA761376E}" dt="2022-01-10T04:09:06.225" v="0"/>
          <ac:cxnSpMkLst>
            <pc:docMk/>
            <pc:sldMk cId="4159389698" sldId="342"/>
            <ac:cxnSpMk id="5" creationId="{42CC447C-FCA3-4440-AFAC-074CA9387369}"/>
          </ac:cxnSpMkLst>
        </pc:cxnChg>
        <pc:cxnChg chg="topLvl">
          <ac:chgData name="WESLEY.TBW" userId="S::wesley.tbw_gmail.com#ext#@risebcg.onmicrosoft.com::1034df62-ee6d-4b2f-8a56-03c4406a0a8a" providerId="AD" clId="Web-{C17ABDC1-3A95-4347-ABD6-D23CA761376E}" dt="2022-01-10T04:09:06.225" v="0"/>
          <ac:cxnSpMkLst>
            <pc:docMk/>
            <pc:sldMk cId="4159389698" sldId="342"/>
            <ac:cxnSpMk id="11" creationId="{B100C871-1F8E-44FA-9A22-E49497F4DD19}"/>
          </ac:cxnSpMkLst>
        </pc:cxnChg>
        <pc:cxnChg chg="topLvl">
          <ac:chgData name="WESLEY.TBW" userId="S::wesley.tbw_gmail.com#ext#@risebcg.onmicrosoft.com::1034df62-ee6d-4b2f-8a56-03c4406a0a8a" providerId="AD" clId="Web-{C17ABDC1-3A95-4347-ABD6-D23CA761376E}" dt="2022-01-10T04:09:06.225" v="0"/>
          <ac:cxnSpMkLst>
            <pc:docMk/>
            <pc:sldMk cId="4159389698" sldId="342"/>
            <ac:cxnSpMk id="13" creationId="{CFBA535F-E821-437D-8FB9-B7C83F0FE8CA}"/>
          </ac:cxnSpMkLst>
        </pc:cxnChg>
        <pc:cxnChg chg="topLvl">
          <ac:chgData name="WESLEY.TBW" userId="S::wesley.tbw_gmail.com#ext#@risebcg.onmicrosoft.com::1034df62-ee6d-4b2f-8a56-03c4406a0a8a" providerId="AD" clId="Web-{C17ABDC1-3A95-4347-ABD6-D23CA761376E}" dt="2022-01-10T04:09:06.225" v="0"/>
          <ac:cxnSpMkLst>
            <pc:docMk/>
            <pc:sldMk cId="4159389698" sldId="342"/>
            <ac:cxnSpMk id="14" creationId="{93D321C6-8EC7-46E9-B13D-F842EC617678}"/>
          </ac:cxnSpMkLst>
        </pc:cxnChg>
        <pc:cxnChg chg="topLvl">
          <ac:chgData name="WESLEY.TBW" userId="S::wesley.tbw_gmail.com#ext#@risebcg.onmicrosoft.com::1034df62-ee6d-4b2f-8a56-03c4406a0a8a" providerId="AD" clId="Web-{C17ABDC1-3A95-4347-ABD6-D23CA761376E}" dt="2022-01-10T04:09:06.225" v="0"/>
          <ac:cxnSpMkLst>
            <pc:docMk/>
            <pc:sldMk cId="4159389698" sldId="342"/>
            <ac:cxnSpMk id="15" creationId="{0F061DD2-0F3A-4495-B4F4-9E94EF93F1CE}"/>
          </ac:cxnSpMkLst>
        </pc:cxnChg>
        <pc:cxnChg chg="topLvl">
          <ac:chgData name="WESLEY.TBW" userId="S::wesley.tbw_gmail.com#ext#@risebcg.onmicrosoft.com::1034df62-ee6d-4b2f-8a56-03c4406a0a8a" providerId="AD" clId="Web-{C17ABDC1-3A95-4347-ABD6-D23CA761376E}" dt="2022-01-10T04:09:06.225" v="0"/>
          <ac:cxnSpMkLst>
            <pc:docMk/>
            <pc:sldMk cId="4159389698" sldId="342"/>
            <ac:cxnSpMk id="25" creationId="{86C75B88-0208-4015-B9DF-BF70E495BB7A}"/>
          </ac:cxnSpMkLst>
        </pc:cxnChg>
        <pc:cxnChg chg="topLvl">
          <ac:chgData name="WESLEY.TBW" userId="S::wesley.tbw_gmail.com#ext#@risebcg.onmicrosoft.com::1034df62-ee6d-4b2f-8a56-03c4406a0a8a" providerId="AD" clId="Web-{C17ABDC1-3A95-4347-ABD6-D23CA761376E}" dt="2022-01-10T04:09:06.225" v="0"/>
          <ac:cxnSpMkLst>
            <pc:docMk/>
            <pc:sldMk cId="4159389698" sldId="342"/>
            <ac:cxnSpMk id="26" creationId="{4264CA08-D5C3-4CB2-AD5C-F07158DF5983}"/>
          </ac:cxnSpMkLst>
        </pc:cxnChg>
      </pc:sldChg>
    </pc:docChg>
  </pc:docChgLst>
  <pc:docChgLst>
    <pc:chgData name="EVELYNSM.YONG" userId="S::evelynsm.yong_gmail.com#ext#@risebcg.onmicrosoft.com::67a27a72-2420-4d38-b745-316a53f4b99a" providerId="AD" clId="Web-{DA0791EE-8C54-44FE-85AD-70117F2C2B72}"/>
    <pc:docChg chg="modSld sldOrd">
      <pc:chgData name="EVELYNSM.YONG" userId="S::evelynsm.yong_gmail.com#ext#@risebcg.onmicrosoft.com::67a27a72-2420-4d38-b745-316a53f4b99a" providerId="AD" clId="Web-{DA0791EE-8C54-44FE-85AD-70117F2C2B72}" dt="2022-01-09T15:56:42.735" v="2922"/>
      <pc:docMkLst>
        <pc:docMk/>
      </pc:docMkLst>
      <pc:sldChg chg="ord">
        <pc:chgData name="EVELYNSM.YONG" userId="S::evelynsm.yong_gmail.com#ext#@risebcg.onmicrosoft.com::67a27a72-2420-4d38-b745-316a53f4b99a" providerId="AD" clId="Web-{DA0791EE-8C54-44FE-85AD-70117F2C2B72}" dt="2022-01-09T09:06:43.381" v="175"/>
        <pc:sldMkLst>
          <pc:docMk/>
          <pc:sldMk cId="393760993" sldId="278"/>
        </pc:sldMkLst>
      </pc:sldChg>
      <pc:sldChg chg="modSp">
        <pc:chgData name="EVELYNSM.YONG" userId="S::evelynsm.yong_gmail.com#ext#@risebcg.onmicrosoft.com::67a27a72-2420-4d38-b745-316a53f4b99a" providerId="AD" clId="Web-{DA0791EE-8C54-44FE-85AD-70117F2C2B72}" dt="2022-01-09T09:05:14.207" v="153" actId="20577"/>
        <pc:sldMkLst>
          <pc:docMk/>
          <pc:sldMk cId="1960038968" sldId="302"/>
        </pc:sldMkLst>
        <pc:spChg chg="mod">
          <ac:chgData name="EVELYNSM.YONG" userId="S::evelynsm.yong_gmail.com#ext#@risebcg.onmicrosoft.com::67a27a72-2420-4d38-b745-316a53f4b99a" providerId="AD" clId="Web-{DA0791EE-8C54-44FE-85AD-70117F2C2B72}" dt="2022-01-09T09:05:14.207" v="153" actId="20577"/>
          <ac:spMkLst>
            <pc:docMk/>
            <pc:sldMk cId="1960038968" sldId="302"/>
            <ac:spMk id="3" creationId="{24EA6045-D161-499A-99D8-27A9B2007106}"/>
          </ac:spMkLst>
        </pc:spChg>
        <pc:spChg chg="mod">
          <ac:chgData name="EVELYNSM.YONG" userId="S::evelynsm.yong_gmail.com#ext#@risebcg.onmicrosoft.com::67a27a72-2420-4d38-b745-316a53f4b99a" providerId="AD" clId="Web-{DA0791EE-8C54-44FE-85AD-70117F2C2B72}" dt="2022-01-09T09:04:12.628" v="147" actId="1076"/>
          <ac:spMkLst>
            <pc:docMk/>
            <pc:sldMk cId="1960038968" sldId="302"/>
            <ac:spMk id="5" creationId="{22119D13-7FBA-40D8-9A7E-FC8FC5756573}"/>
          </ac:spMkLst>
        </pc:spChg>
      </pc:sldChg>
      <pc:sldChg chg="ord">
        <pc:chgData name="EVELYNSM.YONG" userId="S::evelynsm.yong_gmail.com#ext#@risebcg.onmicrosoft.com::67a27a72-2420-4d38-b745-316a53f4b99a" providerId="AD" clId="Web-{DA0791EE-8C54-44FE-85AD-70117F2C2B72}" dt="2022-01-09T09:06:01.318" v="155"/>
        <pc:sldMkLst>
          <pc:docMk/>
          <pc:sldMk cId="2761597836" sldId="317"/>
        </pc:sldMkLst>
      </pc:sldChg>
      <pc:sldChg chg="addSp modSp">
        <pc:chgData name="EVELYNSM.YONG" userId="S::evelynsm.yong_gmail.com#ext#@risebcg.onmicrosoft.com::67a27a72-2420-4d38-b745-316a53f4b99a" providerId="AD" clId="Web-{DA0791EE-8C54-44FE-85AD-70117F2C2B72}" dt="2022-01-09T14:56:40.555" v="1541" actId="1076"/>
        <pc:sldMkLst>
          <pc:docMk/>
          <pc:sldMk cId="2160415509" sldId="326"/>
        </pc:sldMkLst>
        <pc:spChg chg="add mod">
          <ac:chgData name="EVELYNSM.YONG" userId="S::evelynsm.yong_gmail.com#ext#@risebcg.onmicrosoft.com::67a27a72-2420-4d38-b745-316a53f4b99a" providerId="AD" clId="Web-{DA0791EE-8C54-44FE-85AD-70117F2C2B72}" dt="2022-01-09T14:56:40.555" v="1541" actId="1076"/>
          <ac:spMkLst>
            <pc:docMk/>
            <pc:sldMk cId="2160415509" sldId="326"/>
            <ac:spMk id="3" creationId="{A06E2C6C-AA2D-4DBA-B448-457815C4CAD3}"/>
          </ac:spMkLst>
        </pc:spChg>
      </pc:sldChg>
      <pc:sldChg chg="modSp">
        <pc:chgData name="EVELYNSM.YONG" userId="S::evelynsm.yong_gmail.com#ext#@risebcg.onmicrosoft.com::67a27a72-2420-4d38-b745-316a53f4b99a" providerId="AD" clId="Web-{DA0791EE-8C54-44FE-85AD-70117F2C2B72}" dt="2022-01-09T13:22:06.672" v="208" actId="14100"/>
        <pc:sldMkLst>
          <pc:docMk/>
          <pc:sldMk cId="1249418479" sldId="334"/>
        </pc:sldMkLst>
        <pc:spChg chg="mod">
          <ac:chgData name="EVELYNSM.YONG" userId="S::evelynsm.yong_gmail.com#ext#@risebcg.onmicrosoft.com::67a27a72-2420-4d38-b745-316a53f4b99a" providerId="AD" clId="Web-{DA0791EE-8C54-44FE-85AD-70117F2C2B72}" dt="2022-01-09T13:22:06.672" v="208" actId="14100"/>
          <ac:spMkLst>
            <pc:docMk/>
            <pc:sldMk cId="1249418479" sldId="334"/>
            <ac:spMk id="14" creationId="{DE96116D-A890-4EBF-BAFB-3F4B23F0096C}"/>
          </ac:spMkLst>
        </pc:spChg>
      </pc:sldChg>
      <pc:sldChg chg="addSp delSp modSp ord modNotes">
        <pc:chgData name="EVELYNSM.YONG" userId="S::evelynsm.yong_gmail.com#ext#@risebcg.onmicrosoft.com::67a27a72-2420-4d38-b745-316a53f4b99a" providerId="AD" clId="Web-{DA0791EE-8C54-44FE-85AD-70117F2C2B72}" dt="2022-01-09T15:56:42.735" v="2922"/>
        <pc:sldMkLst>
          <pc:docMk/>
          <pc:sldMk cId="2652119032" sldId="335"/>
        </pc:sldMkLst>
        <pc:spChg chg="del">
          <ac:chgData name="EVELYNSM.YONG" userId="S::evelynsm.yong_gmail.com#ext#@risebcg.onmicrosoft.com::67a27a72-2420-4d38-b745-316a53f4b99a" providerId="AD" clId="Web-{DA0791EE-8C54-44FE-85AD-70117F2C2B72}" dt="2022-01-09T13:33:32.748" v="308"/>
          <ac:spMkLst>
            <pc:docMk/>
            <pc:sldMk cId="2652119032" sldId="335"/>
            <ac:spMk id="2" creationId="{7F6D02CC-FD9B-490C-B8FF-AA78D172BCDC}"/>
          </ac:spMkLst>
        </pc:spChg>
        <pc:spChg chg="del mod ord">
          <ac:chgData name="EVELYNSM.YONG" userId="S::evelynsm.yong_gmail.com#ext#@risebcg.onmicrosoft.com::67a27a72-2420-4d38-b745-316a53f4b99a" providerId="AD" clId="Web-{DA0791EE-8C54-44FE-85AD-70117F2C2B72}" dt="2022-01-09T13:34:05.374" v="315"/>
          <ac:spMkLst>
            <pc:docMk/>
            <pc:sldMk cId="2652119032" sldId="335"/>
            <ac:spMk id="4" creationId="{7BCAFA08-4D06-4459-BDE0-CAB790C8CB40}"/>
          </ac:spMkLst>
        </pc:spChg>
        <pc:spChg chg="add del mod">
          <ac:chgData name="EVELYNSM.YONG" userId="S::evelynsm.yong_gmail.com#ext#@risebcg.onmicrosoft.com::67a27a72-2420-4d38-b745-316a53f4b99a" providerId="AD" clId="Web-{DA0791EE-8C54-44FE-85AD-70117F2C2B72}" dt="2022-01-09T13:33:52.952" v="311"/>
          <ac:spMkLst>
            <pc:docMk/>
            <pc:sldMk cId="2652119032" sldId="335"/>
            <ac:spMk id="5" creationId="{271A4DD0-D045-4D2B-93F1-2E7B013DD533}"/>
          </ac:spMkLst>
        </pc:spChg>
        <pc:spChg chg="add del mod">
          <ac:chgData name="EVELYNSM.YONG" userId="S::evelynsm.yong_gmail.com#ext#@risebcg.onmicrosoft.com::67a27a72-2420-4d38-b745-316a53f4b99a" providerId="AD" clId="Web-{DA0791EE-8C54-44FE-85AD-70117F2C2B72}" dt="2022-01-09T13:54:37.914" v="559"/>
          <ac:spMkLst>
            <pc:docMk/>
            <pc:sldMk cId="2652119032" sldId="335"/>
            <ac:spMk id="6" creationId="{EB830DF6-2886-4525-9200-EF0BA1731728}"/>
          </ac:spMkLst>
        </pc:spChg>
        <pc:spChg chg="add del">
          <ac:chgData name="EVELYNSM.YONG" userId="S::evelynsm.yong_gmail.com#ext#@risebcg.onmicrosoft.com::67a27a72-2420-4d38-b745-316a53f4b99a" providerId="AD" clId="Web-{DA0791EE-8C54-44FE-85AD-70117F2C2B72}" dt="2022-01-09T13:34:13.280" v="317"/>
          <ac:spMkLst>
            <pc:docMk/>
            <pc:sldMk cId="2652119032" sldId="335"/>
            <ac:spMk id="8" creationId="{92C67D17-292E-4875-BA32-C8C87227633D}"/>
          </ac:spMkLst>
        </pc:spChg>
        <pc:spChg chg="add mod">
          <ac:chgData name="EVELYNSM.YONG" userId="S::evelynsm.yong_gmail.com#ext#@risebcg.onmicrosoft.com::67a27a72-2420-4d38-b745-316a53f4b99a" providerId="AD" clId="Web-{DA0791EE-8C54-44FE-85AD-70117F2C2B72}" dt="2022-01-09T13:38:18.895" v="380" actId="1076"/>
          <ac:spMkLst>
            <pc:docMk/>
            <pc:sldMk cId="2652119032" sldId="335"/>
            <ac:spMk id="9" creationId="{D11E5A33-11CE-4654-94DA-ADBE91E56528}"/>
          </ac:spMkLst>
        </pc:spChg>
        <pc:spChg chg="del mod">
          <ac:chgData name="EVELYNSM.YONG" userId="S::evelynsm.yong_gmail.com#ext#@risebcg.onmicrosoft.com::67a27a72-2420-4d38-b745-316a53f4b99a" providerId="AD" clId="Web-{DA0791EE-8C54-44FE-85AD-70117F2C2B72}" dt="2022-01-09T13:35:45.095" v="339"/>
          <ac:spMkLst>
            <pc:docMk/>
            <pc:sldMk cId="2652119032" sldId="335"/>
            <ac:spMk id="10" creationId="{5B136050-0C52-4973-B00A-9438EBC773F2}"/>
          </ac:spMkLst>
        </pc:spChg>
        <pc:spChg chg="add mod">
          <ac:chgData name="EVELYNSM.YONG" userId="S::evelynsm.yong_gmail.com#ext#@risebcg.onmicrosoft.com::67a27a72-2420-4d38-b745-316a53f4b99a" providerId="AD" clId="Web-{DA0791EE-8C54-44FE-85AD-70117F2C2B72}" dt="2022-01-09T15:54:37.874" v="2876" actId="20577"/>
          <ac:spMkLst>
            <pc:docMk/>
            <pc:sldMk cId="2652119032" sldId="335"/>
            <ac:spMk id="11" creationId="{48FA4A77-CB38-4FAD-81FC-6F8B79C30622}"/>
          </ac:spMkLst>
        </pc:spChg>
        <pc:spChg chg="add mod">
          <ac:chgData name="EVELYNSM.YONG" userId="S::evelynsm.yong_gmail.com#ext#@risebcg.onmicrosoft.com::67a27a72-2420-4d38-b745-316a53f4b99a" providerId="AD" clId="Web-{DA0791EE-8C54-44FE-85AD-70117F2C2B72}" dt="2022-01-09T14:20:06.412" v="798" actId="1076"/>
          <ac:spMkLst>
            <pc:docMk/>
            <pc:sldMk cId="2652119032" sldId="335"/>
            <ac:spMk id="13" creationId="{30AA57D7-C548-4A67-A676-80F9FD59520F}"/>
          </ac:spMkLst>
        </pc:spChg>
        <pc:spChg chg="add mod">
          <ac:chgData name="EVELYNSM.YONG" userId="S::evelynsm.yong_gmail.com#ext#@risebcg.onmicrosoft.com::67a27a72-2420-4d38-b745-316a53f4b99a" providerId="AD" clId="Web-{DA0791EE-8C54-44FE-85AD-70117F2C2B72}" dt="2022-01-09T13:45:06.090" v="469" actId="14100"/>
          <ac:spMkLst>
            <pc:docMk/>
            <pc:sldMk cId="2652119032" sldId="335"/>
            <ac:spMk id="17" creationId="{EEFE4066-E552-48B0-9C80-92690B35EAB2}"/>
          </ac:spMkLst>
        </pc:spChg>
        <pc:spChg chg="add mod">
          <ac:chgData name="EVELYNSM.YONG" userId="S::evelynsm.yong_gmail.com#ext#@risebcg.onmicrosoft.com::67a27a72-2420-4d38-b745-316a53f4b99a" providerId="AD" clId="Web-{DA0791EE-8C54-44FE-85AD-70117F2C2B72}" dt="2022-01-09T13:45:06.090" v="468" actId="14100"/>
          <ac:spMkLst>
            <pc:docMk/>
            <pc:sldMk cId="2652119032" sldId="335"/>
            <ac:spMk id="19" creationId="{ADF4AC28-4A56-4994-B9E6-C08A7EC749F7}"/>
          </ac:spMkLst>
        </pc:spChg>
        <pc:spChg chg="add mod ord">
          <ac:chgData name="EVELYNSM.YONG" userId="S::evelynsm.yong_gmail.com#ext#@risebcg.onmicrosoft.com::67a27a72-2420-4d38-b745-316a53f4b99a" providerId="AD" clId="Web-{DA0791EE-8C54-44FE-85AD-70117F2C2B72}" dt="2022-01-09T15:53:06.325" v="2810" actId="14100"/>
          <ac:spMkLst>
            <pc:docMk/>
            <pc:sldMk cId="2652119032" sldId="335"/>
            <ac:spMk id="28" creationId="{81280F0F-FE44-494C-A80A-92667A5E77F5}"/>
          </ac:spMkLst>
        </pc:spChg>
        <pc:spChg chg="add del mod">
          <ac:chgData name="EVELYNSM.YONG" userId="S::evelynsm.yong_gmail.com#ext#@risebcg.onmicrosoft.com::67a27a72-2420-4d38-b745-316a53f4b99a" providerId="AD" clId="Web-{DA0791EE-8C54-44FE-85AD-70117F2C2B72}" dt="2022-01-09T13:55:10.477" v="570"/>
          <ac:spMkLst>
            <pc:docMk/>
            <pc:sldMk cId="2652119032" sldId="335"/>
            <ac:spMk id="29" creationId="{AD90FA02-ED78-434C-ABB6-461474DCB21F}"/>
          </ac:spMkLst>
        </pc:spChg>
        <pc:spChg chg="add del mod">
          <ac:chgData name="EVELYNSM.YONG" userId="S::evelynsm.yong_gmail.com#ext#@risebcg.onmicrosoft.com::67a27a72-2420-4d38-b745-316a53f4b99a" providerId="AD" clId="Web-{DA0791EE-8C54-44FE-85AD-70117F2C2B72}" dt="2022-01-09T14:19:06.911" v="780"/>
          <ac:spMkLst>
            <pc:docMk/>
            <pc:sldMk cId="2652119032" sldId="335"/>
            <ac:spMk id="30" creationId="{46A3704E-F1BD-4BCF-A67F-9AD9DEE171DB}"/>
          </ac:spMkLst>
        </pc:spChg>
        <pc:spChg chg="add del mod">
          <ac:chgData name="EVELYNSM.YONG" userId="S::evelynsm.yong_gmail.com#ext#@risebcg.onmicrosoft.com::67a27a72-2420-4d38-b745-316a53f4b99a" providerId="AD" clId="Web-{DA0791EE-8C54-44FE-85AD-70117F2C2B72}" dt="2022-01-09T14:19:21.599" v="782"/>
          <ac:spMkLst>
            <pc:docMk/>
            <pc:sldMk cId="2652119032" sldId="335"/>
            <ac:spMk id="33" creationId="{364105C6-A871-4CD7-BF81-6C96BC80C209}"/>
          </ac:spMkLst>
        </pc:spChg>
        <pc:spChg chg="add del mod">
          <ac:chgData name="EVELYNSM.YONG" userId="S::evelynsm.yong_gmail.com#ext#@risebcg.onmicrosoft.com::67a27a72-2420-4d38-b745-316a53f4b99a" providerId="AD" clId="Web-{DA0791EE-8C54-44FE-85AD-70117F2C2B72}" dt="2022-01-09T14:07:41.226" v="688"/>
          <ac:spMkLst>
            <pc:docMk/>
            <pc:sldMk cId="2652119032" sldId="335"/>
            <ac:spMk id="35" creationId="{DA04AEC3-BFDE-4760-BC39-26C2D08FEEE3}"/>
          </ac:spMkLst>
        </pc:spChg>
        <pc:spChg chg="add del mod">
          <ac:chgData name="EVELYNSM.YONG" userId="S::evelynsm.yong_gmail.com#ext#@risebcg.onmicrosoft.com::67a27a72-2420-4d38-b745-316a53f4b99a" providerId="AD" clId="Web-{DA0791EE-8C54-44FE-85AD-70117F2C2B72}" dt="2022-01-09T14:07:02.053" v="684"/>
          <ac:spMkLst>
            <pc:docMk/>
            <pc:sldMk cId="2652119032" sldId="335"/>
            <ac:spMk id="36" creationId="{B0621D87-B95C-4592-8F6C-0BBCF190BF30}"/>
          </ac:spMkLst>
        </pc:spChg>
        <pc:spChg chg="add del">
          <ac:chgData name="EVELYNSM.YONG" userId="S::evelynsm.yong_gmail.com#ext#@risebcg.onmicrosoft.com::67a27a72-2420-4d38-b745-316a53f4b99a" providerId="AD" clId="Web-{DA0791EE-8C54-44FE-85AD-70117F2C2B72}" dt="2022-01-09T14:07:08.975" v="685"/>
          <ac:spMkLst>
            <pc:docMk/>
            <pc:sldMk cId="2652119032" sldId="335"/>
            <ac:spMk id="37" creationId="{1959A625-13E7-41F1-90D7-88CD080D6AFA}"/>
          </ac:spMkLst>
        </pc:spChg>
        <pc:spChg chg="add del mod">
          <ac:chgData name="EVELYNSM.YONG" userId="S::evelynsm.yong_gmail.com#ext#@risebcg.onmicrosoft.com::67a27a72-2420-4d38-b745-316a53f4b99a" providerId="AD" clId="Web-{DA0791EE-8C54-44FE-85AD-70117F2C2B72}" dt="2022-01-09T14:18:28.036" v="768"/>
          <ac:spMkLst>
            <pc:docMk/>
            <pc:sldMk cId="2652119032" sldId="335"/>
            <ac:spMk id="43" creationId="{49B1AAE3-62B7-45B9-8BE5-CB44C8C50927}"/>
          </ac:spMkLst>
        </pc:spChg>
        <pc:spChg chg="add del mod">
          <ac:chgData name="EVELYNSM.YONG" userId="S::evelynsm.yong_gmail.com#ext#@risebcg.onmicrosoft.com::67a27a72-2420-4d38-b745-316a53f4b99a" providerId="AD" clId="Web-{DA0791EE-8C54-44FE-85AD-70117F2C2B72}" dt="2022-01-09T14:18:24.317" v="766"/>
          <ac:spMkLst>
            <pc:docMk/>
            <pc:sldMk cId="2652119032" sldId="335"/>
            <ac:spMk id="44" creationId="{F49941B4-D35D-40C5-9A41-767FC177F321}"/>
          </ac:spMkLst>
        </pc:spChg>
        <pc:grpChg chg="add del">
          <ac:chgData name="EVELYNSM.YONG" userId="S::evelynsm.yong_gmail.com#ext#@risebcg.onmicrosoft.com::67a27a72-2420-4d38-b745-316a53f4b99a" providerId="AD" clId="Web-{DA0791EE-8C54-44FE-85AD-70117F2C2B72}" dt="2022-01-09T13:44:55.730" v="465"/>
          <ac:grpSpMkLst>
            <pc:docMk/>
            <pc:sldMk cId="2652119032" sldId="335"/>
            <ac:grpSpMk id="25" creationId="{5FA843E1-CE25-4065-AFE4-C41B81330399}"/>
          </ac:grpSpMkLst>
        </pc:grpChg>
        <pc:grpChg chg="add del mod">
          <ac:chgData name="EVELYNSM.YONG" userId="S::evelynsm.yong_gmail.com#ext#@risebcg.onmicrosoft.com::67a27a72-2420-4d38-b745-316a53f4b99a" providerId="AD" clId="Web-{DA0791EE-8C54-44FE-85AD-70117F2C2B72}" dt="2022-01-09T13:50:26.799" v="510"/>
          <ac:grpSpMkLst>
            <pc:docMk/>
            <pc:sldMk cId="2652119032" sldId="335"/>
            <ac:grpSpMk id="26" creationId="{DB24AA5C-5996-4869-88AA-0368CB0D302A}"/>
          </ac:grpSpMkLst>
        </pc:grpChg>
        <pc:picChg chg="add del mod">
          <ac:chgData name="EVELYNSM.YONG" userId="S::evelynsm.yong_gmail.com#ext#@risebcg.onmicrosoft.com::67a27a72-2420-4d38-b745-316a53f4b99a" providerId="AD" clId="Web-{DA0791EE-8C54-44FE-85AD-70117F2C2B72}" dt="2022-01-09T13:50:45.065" v="515"/>
          <ac:picMkLst>
            <pc:docMk/>
            <pc:sldMk cId="2652119032" sldId="335"/>
            <ac:picMk id="27" creationId="{A4CFC0BA-E667-475B-9CCE-F01BB0F125EF}"/>
          </ac:picMkLst>
        </pc:picChg>
        <pc:picChg chg="add del mod">
          <ac:chgData name="EVELYNSM.YONG" userId="S::evelynsm.yong_gmail.com#ext#@risebcg.onmicrosoft.com::67a27a72-2420-4d38-b745-316a53f4b99a" providerId="AD" clId="Web-{DA0791EE-8C54-44FE-85AD-70117F2C2B72}" dt="2022-01-09T13:59:46.014" v="586"/>
          <ac:picMkLst>
            <pc:docMk/>
            <pc:sldMk cId="2652119032" sldId="335"/>
            <ac:picMk id="31" creationId="{5E877CF6-E994-4C87-ACE8-2FF0638451BA}"/>
          </ac:picMkLst>
        </pc:picChg>
        <pc:picChg chg="add del mod">
          <ac:chgData name="EVELYNSM.YONG" userId="S::evelynsm.yong_gmail.com#ext#@risebcg.onmicrosoft.com::67a27a72-2420-4d38-b745-316a53f4b99a" providerId="AD" clId="Web-{DA0791EE-8C54-44FE-85AD-70117F2C2B72}" dt="2022-01-09T14:03:51.690" v="627"/>
          <ac:picMkLst>
            <pc:docMk/>
            <pc:sldMk cId="2652119032" sldId="335"/>
            <ac:picMk id="32" creationId="{44BA840D-D382-4678-8ADC-9EA6031B9E15}"/>
          </ac:picMkLst>
        </pc:picChg>
        <pc:picChg chg="add del mod">
          <ac:chgData name="EVELYNSM.YONG" userId="S::evelynsm.yong_gmail.com#ext#@risebcg.onmicrosoft.com::67a27a72-2420-4d38-b745-316a53f4b99a" providerId="AD" clId="Web-{DA0791EE-8C54-44FE-85AD-70117F2C2B72}" dt="2022-01-09T14:07:58.023" v="690"/>
          <ac:picMkLst>
            <pc:docMk/>
            <pc:sldMk cId="2652119032" sldId="335"/>
            <ac:picMk id="34" creationId="{188E4DEA-1D00-40D8-8CD6-25B40E0A03FF}"/>
          </ac:picMkLst>
        </pc:picChg>
        <pc:picChg chg="add del mod">
          <ac:chgData name="EVELYNSM.YONG" userId="S::evelynsm.yong_gmail.com#ext#@risebcg.onmicrosoft.com::67a27a72-2420-4d38-b745-316a53f4b99a" providerId="AD" clId="Web-{DA0791EE-8C54-44FE-85AD-70117F2C2B72}" dt="2022-01-09T14:09:09.009" v="712"/>
          <ac:picMkLst>
            <pc:docMk/>
            <pc:sldMk cId="2652119032" sldId="335"/>
            <ac:picMk id="38" creationId="{FA802176-780D-475D-AE08-363C1582A91B}"/>
          </ac:picMkLst>
        </pc:picChg>
        <pc:picChg chg="add mod">
          <ac:chgData name="EVELYNSM.YONG" userId="S::evelynsm.yong_gmail.com#ext#@risebcg.onmicrosoft.com::67a27a72-2420-4d38-b745-316a53f4b99a" providerId="AD" clId="Web-{DA0791EE-8C54-44FE-85AD-70117F2C2B72}" dt="2022-01-09T15:52:37.184" v="2797" actId="1076"/>
          <ac:picMkLst>
            <pc:docMk/>
            <pc:sldMk cId="2652119032" sldId="335"/>
            <ac:picMk id="39" creationId="{6D100E40-F0A0-4C81-AFE6-66AAB66A847B}"/>
          </ac:picMkLst>
        </pc:picChg>
        <pc:picChg chg="add del mod">
          <ac:chgData name="EVELYNSM.YONG" userId="S::evelynsm.yong_gmail.com#ext#@risebcg.onmicrosoft.com::67a27a72-2420-4d38-b745-316a53f4b99a" providerId="AD" clId="Web-{DA0791EE-8C54-44FE-85AD-70117F2C2B72}" dt="2022-01-09T14:13:35.483" v="720"/>
          <ac:picMkLst>
            <pc:docMk/>
            <pc:sldMk cId="2652119032" sldId="335"/>
            <ac:picMk id="40" creationId="{14656FD1-1C84-47C0-BBFE-D283C5F97CE3}"/>
          </ac:picMkLst>
        </pc:picChg>
        <pc:picChg chg="add mod">
          <ac:chgData name="EVELYNSM.YONG" userId="S::evelynsm.yong_gmail.com#ext#@risebcg.onmicrosoft.com::67a27a72-2420-4d38-b745-316a53f4b99a" providerId="AD" clId="Web-{DA0791EE-8C54-44FE-85AD-70117F2C2B72}" dt="2022-01-09T15:52:33.387" v="2795" actId="1076"/>
          <ac:picMkLst>
            <pc:docMk/>
            <pc:sldMk cId="2652119032" sldId="335"/>
            <ac:picMk id="42" creationId="{EEF785FC-B0A1-4C7B-971D-1AC4D6CB007F}"/>
          </ac:picMkLst>
        </pc:picChg>
        <pc:picChg chg="add mod">
          <ac:chgData name="EVELYNSM.YONG" userId="S::evelynsm.yong_gmail.com#ext#@risebcg.onmicrosoft.com::67a27a72-2420-4d38-b745-316a53f4b99a" providerId="AD" clId="Web-{DA0791EE-8C54-44FE-85AD-70117F2C2B72}" dt="2022-01-09T15:52:41.074" v="2798" actId="14100"/>
          <ac:picMkLst>
            <pc:docMk/>
            <pc:sldMk cId="2652119032" sldId="335"/>
            <ac:picMk id="45" creationId="{722C9DF0-4B53-408A-BC39-B206E4C3860C}"/>
          </ac:picMkLst>
        </pc:picChg>
        <pc:cxnChg chg="add del mod">
          <ac:chgData name="EVELYNSM.YONG" userId="S::evelynsm.yong_gmail.com#ext#@risebcg.onmicrosoft.com::67a27a72-2420-4d38-b745-316a53f4b99a" providerId="AD" clId="Web-{DA0791EE-8C54-44FE-85AD-70117F2C2B72}" dt="2022-01-09T13:50:32.003" v="511"/>
          <ac:cxnSpMkLst>
            <pc:docMk/>
            <pc:sldMk cId="2652119032" sldId="335"/>
            <ac:cxnSpMk id="15" creationId="{4EE00A56-9FCF-4666-8F48-78E41BC4040C}"/>
          </ac:cxnSpMkLst>
        </pc:cxnChg>
      </pc:sldChg>
      <pc:sldChg chg="ord">
        <pc:chgData name="EVELYNSM.YONG" userId="S::evelynsm.yong_gmail.com#ext#@risebcg.onmicrosoft.com::67a27a72-2420-4d38-b745-316a53f4b99a" providerId="AD" clId="Web-{DA0791EE-8C54-44FE-85AD-70117F2C2B72}" dt="2022-01-09T09:06:22.256" v="161"/>
        <pc:sldMkLst>
          <pc:docMk/>
          <pc:sldMk cId="855648020" sldId="337"/>
        </pc:sldMkLst>
      </pc:sldChg>
      <pc:sldChg chg="addSp delSp modSp">
        <pc:chgData name="EVELYNSM.YONG" userId="S::evelynsm.yong_gmail.com#ext#@risebcg.onmicrosoft.com::67a27a72-2420-4d38-b745-316a53f4b99a" providerId="AD" clId="Web-{DA0791EE-8C54-44FE-85AD-70117F2C2B72}" dt="2022-01-09T14:14:57" v="722"/>
        <pc:sldMkLst>
          <pc:docMk/>
          <pc:sldMk cId="3391215681" sldId="339"/>
        </pc:sldMkLst>
        <pc:spChg chg="mod">
          <ac:chgData name="EVELYNSM.YONG" userId="S::evelynsm.yong_gmail.com#ext#@risebcg.onmicrosoft.com::67a27a72-2420-4d38-b745-316a53f4b99a" providerId="AD" clId="Web-{DA0791EE-8C54-44FE-85AD-70117F2C2B72}" dt="2022-01-09T13:33:44.249" v="310" actId="14100"/>
          <ac:spMkLst>
            <pc:docMk/>
            <pc:sldMk cId="3391215681" sldId="339"/>
            <ac:spMk id="47" creationId="{B72F6C48-B470-4163-9AC9-2982A10656DA}"/>
          </ac:spMkLst>
        </pc:spChg>
        <pc:spChg chg="mod">
          <ac:chgData name="EVELYNSM.YONG" userId="S::evelynsm.yong_gmail.com#ext#@risebcg.onmicrosoft.com::67a27a72-2420-4d38-b745-316a53f4b99a" providerId="AD" clId="Web-{DA0791EE-8C54-44FE-85AD-70117F2C2B72}" dt="2022-01-09T13:28:55.321" v="266" actId="1076"/>
          <ac:spMkLst>
            <pc:docMk/>
            <pc:sldMk cId="3391215681" sldId="339"/>
            <ac:spMk id="49" creationId="{1A40ECD8-EC71-4C0D-A629-C5042C9FBE1B}"/>
          </ac:spMkLst>
        </pc:spChg>
        <pc:spChg chg="mod">
          <ac:chgData name="EVELYNSM.YONG" userId="S::evelynsm.yong_gmail.com#ext#@risebcg.onmicrosoft.com::67a27a72-2420-4d38-b745-316a53f4b99a" providerId="AD" clId="Web-{DA0791EE-8C54-44FE-85AD-70117F2C2B72}" dt="2022-01-09T13:28:55.352" v="267" actId="1076"/>
          <ac:spMkLst>
            <pc:docMk/>
            <pc:sldMk cId="3391215681" sldId="339"/>
            <ac:spMk id="124" creationId="{C91A31F3-23FB-421F-8BC0-FD3F5F868D91}"/>
          </ac:spMkLst>
        </pc:spChg>
        <pc:spChg chg="mod">
          <ac:chgData name="EVELYNSM.YONG" userId="S::evelynsm.yong_gmail.com#ext#@risebcg.onmicrosoft.com::67a27a72-2420-4d38-b745-316a53f4b99a" providerId="AD" clId="Web-{DA0791EE-8C54-44FE-85AD-70117F2C2B72}" dt="2022-01-09T13:40:30.928" v="415" actId="20577"/>
          <ac:spMkLst>
            <pc:docMk/>
            <pc:sldMk cId="3391215681" sldId="339"/>
            <ac:spMk id="160" creationId="{129EBF9C-3DCE-40EC-8CFB-1CB201B252BE}"/>
          </ac:spMkLst>
        </pc:spChg>
        <pc:spChg chg="mod">
          <ac:chgData name="EVELYNSM.YONG" userId="S::evelynsm.yong_gmail.com#ext#@risebcg.onmicrosoft.com::67a27a72-2420-4d38-b745-316a53f4b99a" providerId="AD" clId="Web-{DA0791EE-8C54-44FE-85AD-70117F2C2B72}" dt="2022-01-09T13:32:20.247" v="294" actId="1076"/>
          <ac:spMkLst>
            <pc:docMk/>
            <pc:sldMk cId="3391215681" sldId="339"/>
            <ac:spMk id="211" creationId="{BE8EF75F-4A8F-4CC0-B3A0-4689491D690B}"/>
          </ac:spMkLst>
        </pc:spChg>
        <pc:spChg chg="mod">
          <ac:chgData name="EVELYNSM.YONG" userId="S::evelynsm.yong_gmail.com#ext#@risebcg.onmicrosoft.com::67a27a72-2420-4d38-b745-316a53f4b99a" providerId="AD" clId="Web-{DA0791EE-8C54-44FE-85AD-70117F2C2B72}" dt="2022-01-09T13:32:20.263" v="295" actId="1076"/>
          <ac:spMkLst>
            <pc:docMk/>
            <pc:sldMk cId="3391215681" sldId="339"/>
            <ac:spMk id="218" creationId="{3F919807-BA2C-40C1-9C13-9C7C88B0617F}"/>
          </ac:spMkLst>
        </pc:spChg>
        <pc:spChg chg="mod">
          <ac:chgData name="EVELYNSM.YONG" userId="S::evelynsm.yong_gmail.com#ext#@risebcg.onmicrosoft.com::67a27a72-2420-4d38-b745-316a53f4b99a" providerId="AD" clId="Web-{DA0791EE-8C54-44FE-85AD-70117F2C2B72}" dt="2022-01-09T13:32:20.309" v="297" actId="1076"/>
          <ac:spMkLst>
            <pc:docMk/>
            <pc:sldMk cId="3391215681" sldId="339"/>
            <ac:spMk id="229" creationId="{8CB63044-5013-4EFC-B813-E8D7A72DE7FF}"/>
          </ac:spMkLst>
        </pc:spChg>
        <pc:spChg chg="mod">
          <ac:chgData name="EVELYNSM.YONG" userId="S::evelynsm.yong_gmail.com#ext#@risebcg.onmicrosoft.com::67a27a72-2420-4d38-b745-316a53f4b99a" providerId="AD" clId="Web-{DA0791EE-8C54-44FE-85AD-70117F2C2B72}" dt="2022-01-09T13:32:20.231" v="293" actId="1076"/>
          <ac:spMkLst>
            <pc:docMk/>
            <pc:sldMk cId="3391215681" sldId="339"/>
            <ac:spMk id="3097" creationId="{B43BCD4D-C119-4545-A18A-03EFECDDCAC1}"/>
          </ac:spMkLst>
        </pc:spChg>
        <pc:grpChg chg="mod">
          <ac:chgData name="EVELYNSM.YONG" userId="S::evelynsm.yong_gmail.com#ext#@risebcg.onmicrosoft.com::67a27a72-2420-4d38-b745-316a53f4b99a" providerId="AD" clId="Web-{DA0791EE-8C54-44FE-85AD-70117F2C2B72}" dt="2022-01-09T13:28:08.148" v="257" actId="1076"/>
          <ac:grpSpMkLst>
            <pc:docMk/>
            <pc:sldMk cId="3391215681" sldId="339"/>
            <ac:grpSpMk id="417" creationId="{3422634B-E74A-464E-8891-948490F63923}"/>
          </ac:grpSpMkLst>
        </pc:grpChg>
        <pc:graphicFrameChg chg="mod modGraphic">
          <ac:chgData name="EVELYNSM.YONG" userId="S::evelynsm.yong_gmail.com#ext#@risebcg.onmicrosoft.com::67a27a72-2420-4d38-b745-316a53f4b99a" providerId="AD" clId="Web-{DA0791EE-8C54-44FE-85AD-70117F2C2B72}" dt="2022-01-09T13:32:53.107" v="305" actId="1076"/>
          <ac:graphicFrameMkLst>
            <pc:docMk/>
            <pc:sldMk cId="3391215681" sldId="339"/>
            <ac:graphicFrameMk id="28" creationId="{9D58B7B4-DE29-4DDF-BB8A-729D2B705659}"/>
          </ac:graphicFrameMkLst>
        </pc:graphicFrameChg>
        <pc:picChg chg="add mod">
          <ac:chgData name="EVELYNSM.YONG" userId="S::evelynsm.yong_gmail.com#ext#@risebcg.onmicrosoft.com::67a27a72-2420-4d38-b745-316a53f4b99a" providerId="AD" clId="Web-{DA0791EE-8C54-44FE-85AD-70117F2C2B72}" dt="2022-01-09T13:32:40.857" v="301" actId="1076"/>
          <ac:picMkLst>
            <pc:docMk/>
            <pc:sldMk cId="3391215681" sldId="339"/>
            <ac:picMk id="107" creationId="{02601E91-3DEE-4781-ACC9-2A3154DCC85D}"/>
          </ac:picMkLst>
        </pc:picChg>
        <pc:picChg chg="add mod">
          <ac:chgData name="EVELYNSM.YONG" userId="S::evelynsm.yong_gmail.com#ext#@risebcg.onmicrosoft.com::67a27a72-2420-4d38-b745-316a53f4b99a" providerId="AD" clId="Web-{DA0791EE-8C54-44FE-85AD-70117F2C2B72}" dt="2022-01-09T13:27:59.226" v="254" actId="1076"/>
          <ac:picMkLst>
            <pc:docMk/>
            <pc:sldMk cId="3391215681" sldId="339"/>
            <ac:picMk id="108" creationId="{590458A9-D7D6-4978-B569-22D281AE5CF2}"/>
          </ac:picMkLst>
        </pc:picChg>
        <pc:picChg chg="add mod">
          <ac:chgData name="EVELYNSM.YONG" userId="S::evelynsm.yong_gmail.com#ext#@risebcg.onmicrosoft.com::67a27a72-2420-4d38-b745-316a53f4b99a" providerId="AD" clId="Web-{DA0791EE-8C54-44FE-85AD-70117F2C2B72}" dt="2022-01-09T13:33:01.138" v="306" actId="1076"/>
          <ac:picMkLst>
            <pc:docMk/>
            <pc:sldMk cId="3391215681" sldId="339"/>
            <ac:picMk id="127" creationId="{50C2EFDE-AE92-48A3-8F2F-DEC4BC518951}"/>
          </ac:picMkLst>
        </pc:picChg>
        <pc:picChg chg="mod">
          <ac:chgData name="EVELYNSM.YONG" userId="S::evelynsm.yong_gmail.com#ext#@risebcg.onmicrosoft.com::67a27a72-2420-4d38-b745-316a53f4b99a" providerId="AD" clId="Web-{DA0791EE-8C54-44FE-85AD-70117F2C2B72}" dt="2022-01-09T13:32:20.278" v="296" actId="1076"/>
          <ac:picMkLst>
            <pc:docMk/>
            <pc:sldMk cId="3391215681" sldId="339"/>
            <ac:picMk id="248" creationId="{135B6FD8-8BD5-4DF6-A276-BDEEDFD924A2}"/>
          </ac:picMkLst>
        </pc:picChg>
        <pc:picChg chg="add del mod">
          <ac:chgData name="EVELYNSM.YONG" userId="S::evelynsm.yong_gmail.com#ext#@risebcg.onmicrosoft.com::67a27a72-2420-4d38-b745-316a53f4b99a" providerId="AD" clId="Web-{DA0791EE-8C54-44FE-85AD-70117F2C2B72}" dt="2022-01-09T14:14:57" v="722"/>
          <ac:picMkLst>
            <pc:docMk/>
            <pc:sldMk cId="3391215681" sldId="339"/>
            <ac:picMk id="1727" creationId="{4F4925B4-226E-4CE5-9A48-DF473BE5B5F7}"/>
          </ac:picMkLst>
        </pc:picChg>
        <pc:picChg chg="mod">
          <ac:chgData name="EVELYNSM.YONG" userId="S::evelynsm.yong_gmail.com#ext#@risebcg.onmicrosoft.com::67a27a72-2420-4d38-b745-316a53f4b99a" providerId="AD" clId="Web-{DA0791EE-8C54-44FE-85AD-70117F2C2B72}" dt="2022-01-09T13:23:26.283" v="210" actId="1076"/>
          <ac:picMkLst>
            <pc:docMk/>
            <pc:sldMk cId="3391215681" sldId="339"/>
            <ac:picMk id="3133" creationId="{01E138E9-826C-4F51-97A8-242CE7FFD6DC}"/>
          </ac:picMkLst>
        </pc:picChg>
      </pc:sldChg>
      <pc:sldChg chg="ord">
        <pc:chgData name="EVELYNSM.YONG" userId="S::evelynsm.yong_gmail.com#ext#@risebcg.onmicrosoft.com::67a27a72-2420-4d38-b745-316a53f4b99a" providerId="AD" clId="Web-{DA0791EE-8C54-44FE-85AD-70117F2C2B72}" dt="2022-01-09T09:06:01.318" v="157"/>
        <pc:sldMkLst>
          <pc:docMk/>
          <pc:sldMk cId="3971465157" sldId="345"/>
        </pc:sldMkLst>
      </pc:sldChg>
      <pc:sldChg chg="modSp ord">
        <pc:chgData name="EVELYNSM.YONG" userId="S::evelynsm.yong_gmail.com#ext#@risebcg.onmicrosoft.com::67a27a72-2420-4d38-b745-316a53f4b99a" providerId="AD" clId="Web-{DA0791EE-8C54-44FE-85AD-70117F2C2B72}" dt="2022-01-09T09:08:52.821" v="190" actId="20577"/>
        <pc:sldMkLst>
          <pc:docMk/>
          <pc:sldMk cId="2149037765" sldId="346"/>
        </pc:sldMkLst>
        <pc:spChg chg="mod">
          <ac:chgData name="EVELYNSM.YONG" userId="S::evelynsm.yong_gmail.com#ext#@risebcg.onmicrosoft.com::67a27a72-2420-4d38-b745-316a53f4b99a" providerId="AD" clId="Web-{DA0791EE-8C54-44FE-85AD-70117F2C2B72}" dt="2022-01-09T09:08:52.821" v="190" actId="20577"/>
          <ac:spMkLst>
            <pc:docMk/>
            <pc:sldMk cId="2149037765" sldId="346"/>
            <ac:spMk id="18" creationId="{4C8E7E93-D719-4D68-AF75-84A3D92DD60C}"/>
          </ac:spMkLst>
        </pc:spChg>
      </pc:sldChg>
      <pc:sldChg chg="ord">
        <pc:chgData name="EVELYNSM.YONG" userId="S::evelynsm.yong_gmail.com#ext#@risebcg.onmicrosoft.com::67a27a72-2420-4d38-b745-316a53f4b99a" providerId="AD" clId="Web-{DA0791EE-8C54-44FE-85AD-70117F2C2B72}" dt="2022-01-09T09:06:34.584" v="171"/>
        <pc:sldMkLst>
          <pc:docMk/>
          <pc:sldMk cId="426360798" sldId="347"/>
        </pc:sldMkLst>
      </pc:sldChg>
      <pc:sldChg chg="ord">
        <pc:chgData name="EVELYNSM.YONG" userId="S::evelynsm.yong_gmail.com#ext#@risebcg.onmicrosoft.com::67a27a72-2420-4d38-b745-316a53f4b99a" providerId="AD" clId="Web-{DA0791EE-8C54-44FE-85AD-70117F2C2B72}" dt="2022-01-09T09:06:40.772" v="174"/>
        <pc:sldMkLst>
          <pc:docMk/>
          <pc:sldMk cId="861222469" sldId="348"/>
        </pc:sldMkLst>
      </pc:sldChg>
      <pc:sldChg chg="ord">
        <pc:chgData name="EVELYNSM.YONG" userId="S::evelynsm.yong_gmail.com#ext#@risebcg.onmicrosoft.com::67a27a72-2420-4d38-b745-316a53f4b99a" providerId="AD" clId="Web-{DA0791EE-8C54-44FE-85AD-70117F2C2B72}" dt="2022-01-09T09:06:34.584" v="169"/>
        <pc:sldMkLst>
          <pc:docMk/>
          <pc:sldMk cId="2528704326" sldId="349"/>
        </pc:sldMkLst>
      </pc:sldChg>
      <pc:sldChg chg="ord">
        <pc:chgData name="EVELYNSM.YONG" userId="S::evelynsm.yong_gmail.com#ext#@risebcg.onmicrosoft.com::67a27a72-2420-4d38-b745-316a53f4b99a" providerId="AD" clId="Web-{DA0791EE-8C54-44FE-85AD-70117F2C2B72}" dt="2022-01-09T09:06:34.584" v="168"/>
        <pc:sldMkLst>
          <pc:docMk/>
          <pc:sldMk cId="3685283696" sldId="350"/>
        </pc:sldMkLst>
      </pc:sldChg>
      <pc:sldChg chg="ord">
        <pc:chgData name="EVELYNSM.YONG" userId="S::evelynsm.yong_gmail.com#ext#@risebcg.onmicrosoft.com::67a27a72-2420-4d38-b745-316a53f4b99a" providerId="AD" clId="Web-{DA0791EE-8C54-44FE-85AD-70117F2C2B72}" dt="2022-01-09T09:06:34.584" v="170"/>
        <pc:sldMkLst>
          <pc:docMk/>
          <pc:sldMk cId="1823296178" sldId="351"/>
        </pc:sldMkLst>
      </pc:sldChg>
      <pc:sldChg chg="modSp ord">
        <pc:chgData name="EVELYNSM.YONG" userId="S::evelynsm.yong_gmail.com#ext#@risebcg.onmicrosoft.com::67a27a72-2420-4d38-b745-316a53f4b99a" providerId="AD" clId="Web-{DA0791EE-8C54-44FE-85AD-70117F2C2B72}" dt="2022-01-09T09:07:17.835" v="177" actId="1076"/>
        <pc:sldMkLst>
          <pc:docMk/>
          <pc:sldMk cId="1602317283" sldId="352"/>
        </pc:sldMkLst>
        <pc:picChg chg="mod">
          <ac:chgData name="EVELYNSM.YONG" userId="S::evelynsm.yong_gmail.com#ext#@risebcg.onmicrosoft.com::67a27a72-2420-4d38-b745-316a53f4b99a" providerId="AD" clId="Web-{DA0791EE-8C54-44FE-85AD-70117F2C2B72}" dt="2022-01-09T09:07:16.523" v="176" actId="1076"/>
          <ac:picMkLst>
            <pc:docMk/>
            <pc:sldMk cId="1602317283" sldId="352"/>
            <ac:picMk id="3" creationId="{20B35CB3-36DD-49EE-954D-E122673D5070}"/>
          </ac:picMkLst>
        </pc:picChg>
        <pc:picChg chg="mod">
          <ac:chgData name="EVELYNSM.YONG" userId="S::evelynsm.yong_gmail.com#ext#@risebcg.onmicrosoft.com::67a27a72-2420-4d38-b745-316a53f4b99a" providerId="AD" clId="Web-{DA0791EE-8C54-44FE-85AD-70117F2C2B72}" dt="2022-01-09T09:07:17.835" v="177" actId="1076"/>
          <ac:picMkLst>
            <pc:docMk/>
            <pc:sldMk cId="1602317283" sldId="352"/>
            <ac:picMk id="4" creationId="{77A06809-46E8-4104-8CC2-39B3E44D4271}"/>
          </ac:picMkLst>
        </pc:picChg>
      </pc:sldChg>
      <pc:sldChg chg="ord">
        <pc:chgData name="EVELYNSM.YONG" userId="S::evelynsm.yong_gmail.com#ext#@risebcg.onmicrosoft.com::67a27a72-2420-4d38-b745-316a53f4b99a" providerId="AD" clId="Web-{DA0791EE-8C54-44FE-85AD-70117F2C2B72}" dt="2022-01-09T09:06:34.584" v="172"/>
        <pc:sldMkLst>
          <pc:docMk/>
          <pc:sldMk cId="1042141491" sldId="353"/>
        </pc:sldMkLst>
      </pc:sldChg>
      <pc:sldChg chg="modSp ord">
        <pc:chgData name="EVELYNSM.YONG" userId="S::evelynsm.yong_gmail.com#ext#@risebcg.onmicrosoft.com::67a27a72-2420-4d38-b745-316a53f4b99a" providerId="AD" clId="Web-{DA0791EE-8C54-44FE-85AD-70117F2C2B72}" dt="2022-01-09T09:07:38.679" v="180" actId="14100"/>
        <pc:sldMkLst>
          <pc:docMk/>
          <pc:sldMk cId="165658709" sldId="355"/>
        </pc:sldMkLst>
        <pc:spChg chg="mod">
          <ac:chgData name="EVELYNSM.YONG" userId="S::evelynsm.yong_gmail.com#ext#@risebcg.onmicrosoft.com::67a27a72-2420-4d38-b745-316a53f4b99a" providerId="AD" clId="Web-{DA0791EE-8C54-44FE-85AD-70117F2C2B72}" dt="2022-01-09T09:07:38.679" v="180" actId="14100"/>
          <ac:spMkLst>
            <pc:docMk/>
            <pc:sldMk cId="165658709" sldId="355"/>
            <ac:spMk id="25" creationId="{A72C66DB-3DFA-4DD0-BB16-94A4A31F5E94}"/>
          </ac:spMkLst>
        </pc:spChg>
        <pc:picChg chg="mod">
          <ac:chgData name="EVELYNSM.YONG" userId="S::evelynsm.yong_gmail.com#ext#@risebcg.onmicrosoft.com::67a27a72-2420-4d38-b745-316a53f4b99a" providerId="AD" clId="Web-{DA0791EE-8C54-44FE-85AD-70117F2C2B72}" dt="2022-01-09T09:07:35.289" v="179" actId="1076"/>
          <ac:picMkLst>
            <pc:docMk/>
            <pc:sldMk cId="165658709" sldId="355"/>
            <ac:picMk id="2" creationId="{BD070F67-C046-4FA4-BC49-57AF06A15A77}"/>
          </ac:picMkLst>
        </pc:picChg>
      </pc:sldChg>
      <pc:sldChg chg="ord">
        <pc:chgData name="EVELYNSM.YONG" userId="S::evelynsm.yong_gmail.com#ext#@risebcg.onmicrosoft.com::67a27a72-2420-4d38-b745-316a53f4b99a" providerId="AD" clId="Web-{DA0791EE-8C54-44FE-85AD-70117F2C2B72}" dt="2022-01-09T09:06:01.318" v="154"/>
        <pc:sldMkLst>
          <pc:docMk/>
          <pc:sldMk cId="744992136" sldId="357"/>
        </pc:sldMkLst>
      </pc:sldChg>
      <pc:sldChg chg="addSp delSp modSp">
        <pc:chgData name="EVELYNSM.YONG" userId="S::evelynsm.yong_gmail.com#ext#@risebcg.onmicrosoft.com::67a27a72-2420-4d38-b745-316a53f4b99a" providerId="AD" clId="Web-{DA0791EE-8C54-44FE-85AD-70117F2C2B72}" dt="2022-01-09T15:02:07.421" v="1542" actId="14100"/>
        <pc:sldMkLst>
          <pc:docMk/>
          <pc:sldMk cId="1894441827" sldId="358"/>
        </pc:sldMkLst>
        <pc:spChg chg="mod">
          <ac:chgData name="EVELYNSM.YONG" userId="S::evelynsm.yong_gmail.com#ext#@risebcg.onmicrosoft.com::67a27a72-2420-4d38-b745-316a53f4b99a" providerId="AD" clId="Web-{DA0791EE-8C54-44FE-85AD-70117F2C2B72}" dt="2022-01-09T09:00:39.905" v="80" actId="20577"/>
          <ac:spMkLst>
            <pc:docMk/>
            <pc:sldMk cId="1894441827" sldId="358"/>
            <ac:spMk id="3" creationId="{2321500F-B116-49E9-B713-1C89E59A92D6}"/>
          </ac:spMkLst>
        </pc:spChg>
        <pc:spChg chg="add del mod">
          <ac:chgData name="EVELYNSM.YONG" userId="S::evelynsm.yong_gmail.com#ext#@risebcg.onmicrosoft.com::67a27a72-2420-4d38-b745-316a53f4b99a" providerId="AD" clId="Web-{DA0791EE-8C54-44FE-85AD-70117F2C2B72}" dt="2022-01-09T09:01:55.906" v="93"/>
          <ac:spMkLst>
            <pc:docMk/>
            <pc:sldMk cId="1894441827" sldId="358"/>
            <ac:spMk id="9" creationId="{A2FA16AE-9345-4069-A7A3-8018B64BA3F5}"/>
          </ac:spMkLst>
        </pc:spChg>
        <pc:spChg chg="mod">
          <ac:chgData name="EVELYNSM.YONG" userId="S::evelynsm.yong_gmail.com#ext#@risebcg.onmicrosoft.com::67a27a72-2420-4d38-b745-316a53f4b99a" providerId="AD" clId="Web-{DA0791EE-8C54-44FE-85AD-70117F2C2B72}" dt="2022-01-09T09:00:55.608" v="85" actId="1076"/>
          <ac:spMkLst>
            <pc:docMk/>
            <pc:sldMk cId="1894441827" sldId="358"/>
            <ac:spMk id="10" creationId="{42FB9C20-3D6F-40FF-ABFC-89E5858742B1}"/>
          </ac:spMkLst>
        </pc:spChg>
        <pc:spChg chg="mod">
          <ac:chgData name="EVELYNSM.YONG" userId="S::evelynsm.yong_gmail.com#ext#@risebcg.onmicrosoft.com::67a27a72-2420-4d38-b745-316a53f4b99a" providerId="AD" clId="Web-{DA0791EE-8C54-44FE-85AD-70117F2C2B72}" dt="2022-01-09T09:00:48.124" v="83" actId="1076"/>
          <ac:spMkLst>
            <pc:docMk/>
            <pc:sldMk cId="1894441827" sldId="358"/>
            <ac:spMk id="12" creationId="{95E46411-4A0C-41AA-9250-790D71323EA7}"/>
          </ac:spMkLst>
        </pc:spChg>
        <pc:spChg chg="add mod">
          <ac:chgData name="EVELYNSM.YONG" userId="S::evelynsm.yong_gmail.com#ext#@risebcg.onmicrosoft.com::67a27a72-2420-4d38-b745-316a53f4b99a" providerId="AD" clId="Web-{DA0791EE-8C54-44FE-85AD-70117F2C2B72}" dt="2022-01-09T15:02:07.421" v="1542" actId="14100"/>
          <ac:spMkLst>
            <pc:docMk/>
            <pc:sldMk cId="1894441827" sldId="358"/>
            <ac:spMk id="15" creationId="{66ACABA1-7700-449A-A7C2-2D4C94CED2C7}"/>
          </ac:spMkLst>
        </pc:spChg>
        <pc:spChg chg="add del mod">
          <ac:chgData name="EVELYNSM.YONG" userId="S::evelynsm.yong_gmail.com#ext#@risebcg.onmicrosoft.com::67a27a72-2420-4d38-b745-316a53f4b99a" providerId="AD" clId="Web-{DA0791EE-8C54-44FE-85AD-70117F2C2B72}" dt="2022-01-09T08:59:38.404" v="61"/>
          <ac:spMkLst>
            <pc:docMk/>
            <pc:sldMk cId="1894441827" sldId="358"/>
            <ac:spMk id="16" creationId="{6F7C634F-B1DE-4A85-9321-B939E0949224}"/>
          </ac:spMkLst>
        </pc:spChg>
        <pc:spChg chg="del mod">
          <ac:chgData name="EVELYNSM.YONG" userId="S::evelynsm.yong_gmail.com#ext#@risebcg.onmicrosoft.com::67a27a72-2420-4d38-b745-316a53f4b99a" providerId="AD" clId="Web-{DA0791EE-8C54-44FE-85AD-70117F2C2B72}" dt="2022-01-09T08:59:51.185" v="67"/>
          <ac:spMkLst>
            <pc:docMk/>
            <pc:sldMk cId="1894441827" sldId="358"/>
            <ac:spMk id="17" creationId="{815F3179-193A-4F5E-A1A9-12297C608458}"/>
          </ac:spMkLst>
        </pc:spChg>
        <pc:picChg chg="mod modCrop">
          <ac:chgData name="EVELYNSM.YONG" userId="S::evelynsm.yong_gmail.com#ext#@risebcg.onmicrosoft.com::67a27a72-2420-4d38-b745-316a53f4b99a" providerId="AD" clId="Web-{DA0791EE-8C54-44FE-85AD-70117F2C2B72}" dt="2022-01-09T09:00:58.905" v="86" actId="1076"/>
          <ac:picMkLst>
            <pc:docMk/>
            <pc:sldMk cId="1894441827" sldId="358"/>
            <ac:picMk id="4" creationId="{BA22EAA2-4B47-4688-9DD6-1B3E79191AAF}"/>
          </ac:picMkLst>
        </pc:picChg>
        <pc:picChg chg="del mod">
          <ac:chgData name="EVELYNSM.YONG" userId="S::evelynsm.yong_gmail.com#ext#@risebcg.onmicrosoft.com::67a27a72-2420-4d38-b745-316a53f4b99a" providerId="AD" clId="Web-{DA0791EE-8C54-44FE-85AD-70117F2C2B72}" dt="2022-01-09T08:57:57.980" v="35"/>
          <ac:picMkLst>
            <pc:docMk/>
            <pc:sldMk cId="1894441827" sldId="358"/>
            <ac:picMk id="6" creationId="{5F5024CD-EB7B-49D0-9E4B-B6BFDC4F5683}"/>
          </ac:picMkLst>
        </pc:picChg>
        <pc:picChg chg="mod">
          <ac:chgData name="EVELYNSM.YONG" userId="S::evelynsm.yong_gmail.com#ext#@risebcg.onmicrosoft.com::67a27a72-2420-4d38-b745-316a53f4b99a" providerId="AD" clId="Web-{DA0791EE-8C54-44FE-85AD-70117F2C2B72}" dt="2022-01-09T09:00:45.467" v="82" actId="1076"/>
          <ac:picMkLst>
            <pc:docMk/>
            <pc:sldMk cId="1894441827" sldId="358"/>
            <ac:picMk id="8" creationId="{80090A9D-A882-4EB8-927C-696FEDD289AC}"/>
          </ac:picMkLst>
        </pc:picChg>
        <pc:picChg chg="mod">
          <ac:chgData name="EVELYNSM.YONG" userId="S::evelynsm.yong_gmail.com#ext#@risebcg.onmicrosoft.com::67a27a72-2420-4d38-b745-316a53f4b99a" providerId="AD" clId="Web-{DA0791EE-8C54-44FE-85AD-70117F2C2B72}" dt="2022-01-09T09:00:54.061" v="84" actId="14100"/>
          <ac:picMkLst>
            <pc:docMk/>
            <pc:sldMk cId="1894441827" sldId="358"/>
            <ac:picMk id="11" creationId="{BCAB455B-1F72-43F9-AE57-6EC5913938BF}"/>
          </ac:picMkLst>
        </pc:picChg>
        <pc:cxnChg chg="del">
          <ac:chgData name="EVELYNSM.YONG" userId="S::evelynsm.yong_gmail.com#ext#@risebcg.onmicrosoft.com::67a27a72-2420-4d38-b745-316a53f4b99a" providerId="AD" clId="Web-{DA0791EE-8C54-44FE-85AD-70117F2C2B72}" dt="2022-01-09T08:57:26.604" v="24"/>
          <ac:cxnSpMkLst>
            <pc:docMk/>
            <pc:sldMk cId="1894441827" sldId="358"/>
            <ac:cxnSpMk id="5" creationId="{7650244C-E06B-41BA-A77C-2D20639EA927}"/>
          </ac:cxnSpMkLst>
        </pc:cxnChg>
        <pc:cxnChg chg="add del mod">
          <ac:chgData name="EVELYNSM.YONG" userId="S::evelynsm.yong_gmail.com#ext#@risebcg.onmicrosoft.com::67a27a72-2420-4d38-b745-316a53f4b99a" providerId="AD" clId="Web-{DA0791EE-8C54-44FE-85AD-70117F2C2B72}" dt="2022-01-09T09:00:35.186" v="79"/>
          <ac:cxnSpMkLst>
            <pc:docMk/>
            <pc:sldMk cId="1894441827" sldId="358"/>
            <ac:cxnSpMk id="7" creationId="{9A85CAF8-A943-4C32-92EF-7C57255D5E3E}"/>
          </ac:cxnSpMkLst>
        </pc:cxnChg>
      </pc:sldChg>
      <pc:sldChg chg="ord">
        <pc:chgData name="EVELYNSM.YONG" userId="S::evelynsm.yong_gmail.com#ext#@risebcg.onmicrosoft.com::67a27a72-2420-4d38-b745-316a53f4b99a" providerId="AD" clId="Web-{DA0791EE-8C54-44FE-85AD-70117F2C2B72}" dt="2022-01-09T09:06:15.928" v="159"/>
        <pc:sldMkLst>
          <pc:docMk/>
          <pc:sldMk cId="1365250593" sldId="359"/>
        </pc:sldMkLst>
      </pc:sldChg>
      <pc:sldChg chg="delSp modSp ord modNotes">
        <pc:chgData name="EVELYNSM.YONG" userId="S::evelynsm.yong_gmail.com#ext#@risebcg.onmicrosoft.com::67a27a72-2420-4d38-b745-316a53f4b99a" providerId="AD" clId="Web-{DA0791EE-8C54-44FE-85AD-70117F2C2B72}" dt="2022-01-09T15:55:51.484" v="2880"/>
        <pc:sldMkLst>
          <pc:docMk/>
          <pc:sldMk cId="3531645893" sldId="360"/>
        </pc:sldMkLst>
        <pc:spChg chg="mod">
          <ac:chgData name="EVELYNSM.YONG" userId="S::evelynsm.yong_gmail.com#ext#@risebcg.onmicrosoft.com::67a27a72-2420-4d38-b745-316a53f4b99a" providerId="AD" clId="Web-{DA0791EE-8C54-44FE-85AD-70117F2C2B72}" dt="2022-01-09T13:31:10.152" v="289"/>
          <ac:spMkLst>
            <pc:docMk/>
            <pc:sldMk cId="3531645893" sldId="360"/>
            <ac:spMk id="9" creationId="{E3C0B427-9E9D-47EC-AFD8-3D8F22D59FE9}"/>
          </ac:spMkLst>
        </pc:spChg>
        <pc:spChg chg="mod">
          <ac:chgData name="EVELYNSM.YONG" userId="S::evelynsm.yong_gmail.com#ext#@risebcg.onmicrosoft.com::67a27a72-2420-4d38-b745-316a53f4b99a" providerId="AD" clId="Web-{DA0791EE-8C54-44FE-85AD-70117F2C2B72}" dt="2022-01-09T15:37:22.447" v="2498" actId="1076"/>
          <ac:spMkLst>
            <pc:docMk/>
            <pc:sldMk cId="3531645893" sldId="360"/>
            <ac:spMk id="20" creationId="{64A6A166-6CE6-41F0-99B2-FC47AF50CD6C}"/>
          </ac:spMkLst>
        </pc:spChg>
        <pc:spChg chg="mod">
          <ac:chgData name="EVELYNSM.YONG" userId="S::evelynsm.yong_gmail.com#ext#@risebcg.onmicrosoft.com::67a27a72-2420-4d38-b745-316a53f4b99a" providerId="AD" clId="Web-{DA0791EE-8C54-44FE-85AD-70117F2C2B72}" dt="2022-01-09T15:37:32.369" v="2501" actId="1076"/>
          <ac:spMkLst>
            <pc:docMk/>
            <pc:sldMk cId="3531645893" sldId="360"/>
            <ac:spMk id="22" creationId="{31E2D2F4-E28C-4B52-9C47-E50AD68240D1}"/>
          </ac:spMkLst>
        </pc:spChg>
        <pc:spChg chg="mod">
          <ac:chgData name="EVELYNSM.YONG" userId="S::evelynsm.yong_gmail.com#ext#@risebcg.onmicrosoft.com::67a27a72-2420-4d38-b745-316a53f4b99a" providerId="AD" clId="Web-{DA0791EE-8C54-44FE-85AD-70117F2C2B72}" dt="2022-01-09T15:37:30.072" v="2500" actId="1076"/>
          <ac:spMkLst>
            <pc:docMk/>
            <pc:sldMk cId="3531645893" sldId="360"/>
            <ac:spMk id="23" creationId="{2E06316D-D669-4187-8235-1A4EE0D9868B}"/>
          </ac:spMkLst>
        </pc:spChg>
        <pc:spChg chg="mod">
          <ac:chgData name="EVELYNSM.YONG" userId="S::evelynsm.yong_gmail.com#ext#@risebcg.onmicrosoft.com::67a27a72-2420-4d38-b745-316a53f4b99a" providerId="AD" clId="Web-{DA0791EE-8C54-44FE-85AD-70117F2C2B72}" dt="2022-01-09T15:37:34.416" v="2502" actId="1076"/>
          <ac:spMkLst>
            <pc:docMk/>
            <pc:sldMk cId="3531645893" sldId="360"/>
            <ac:spMk id="24" creationId="{CEFC4E90-FB9D-4E3E-86B1-5712D705BC99}"/>
          </ac:spMkLst>
        </pc:spChg>
        <pc:spChg chg="del">
          <ac:chgData name="EVELYNSM.YONG" userId="S::evelynsm.yong_gmail.com#ext#@risebcg.onmicrosoft.com::67a27a72-2420-4d38-b745-316a53f4b99a" providerId="AD" clId="Web-{DA0791EE-8C54-44FE-85AD-70117F2C2B72}" dt="2022-01-09T15:33:16.786" v="2302"/>
          <ac:spMkLst>
            <pc:docMk/>
            <pc:sldMk cId="3531645893" sldId="360"/>
            <ac:spMk id="38" creationId="{FEF91957-B410-48E7-A904-8D71259BC55D}"/>
          </ac:spMkLst>
        </pc:spChg>
        <pc:spChg chg="del">
          <ac:chgData name="EVELYNSM.YONG" userId="S::evelynsm.yong_gmail.com#ext#@risebcg.onmicrosoft.com::67a27a72-2420-4d38-b745-316a53f4b99a" providerId="AD" clId="Web-{DA0791EE-8C54-44FE-85AD-70117F2C2B72}" dt="2022-01-09T13:20:58.015" v="206"/>
          <ac:spMkLst>
            <pc:docMk/>
            <pc:sldMk cId="3531645893" sldId="360"/>
            <ac:spMk id="39" creationId="{42DA18B2-FE72-46C2-A8F6-3AEF6644F2B4}"/>
          </ac:spMkLst>
        </pc:spChg>
      </pc:sldChg>
    </pc:docChg>
  </pc:docChgLst>
  <pc:docChgLst>
    <pc:chgData name="COSMOSFREN" userId="S::cosmosfren_yahoo.com#ext#@risebcg.onmicrosoft.com::5462f5f4-f618-47aa-abd8-fd504e002570" providerId="AD" clId="Web-{22FB8DB7-6371-41EB-A551-BB3DDECDAE5A}"/>
    <pc:docChg chg="addSld modSld sldOrd">
      <pc:chgData name="COSMOSFREN" userId="S::cosmosfren_yahoo.com#ext#@risebcg.onmicrosoft.com::5462f5f4-f618-47aa-abd8-fd504e002570" providerId="AD" clId="Web-{22FB8DB7-6371-41EB-A551-BB3DDECDAE5A}" dt="2022-01-07T15:42:26.089" v="134" actId="20577"/>
      <pc:docMkLst>
        <pc:docMk/>
      </pc:docMkLst>
      <pc:sldChg chg="modSp">
        <pc:chgData name="COSMOSFREN" userId="S::cosmosfren_yahoo.com#ext#@risebcg.onmicrosoft.com::5462f5f4-f618-47aa-abd8-fd504e002570" providerId="AD" clId="Web-{22FB8DB7-6371-41EB-A551-BB3DDECDAE5A}" dt="2022-01-07T15:38:45.160" v="9" actId="20577"/>
        <pc:sldMkLst>
          <pc:docMk/>
          <pc:sldMk cId="1249418479" sldId="334"/>
        </pc:sldMkLst>
        <pc:spChg chg="mod">
          <ac:chgData name="COSMOSFREN" userId="S::cosmosfren_yahoo.com#ext#@risebcg.onmicrosoft.com::5462f5f4-f618-47aa-abd8-fd504e002570" providerId="AD" clId="Web-{22FB8DB7-6371-41EB-A551-BB3DDECDAE5A}" dt="2022-01-07T15:38:45.160" v="9" actId="20577"/>
          <ac:spMkLst>
            <pc:docMk/>
            <pc:sldMk cId="1249418479" sldId="334"/>
            <ac:spMk id="11" creationId="{662CF00E-7074-47A1-AC23-D8720DE006B4}"/>
          </ac:spMkLst>
        </pc:spChg>
      </pc:sldChg>
      <pc:sldChg chg="addSp delSp modSp new ord">
        <pc:chgData name="COSMOSFREN" userId="S::cosmosfren_yahoo.com#ext#@risebcg.onmicrosoft.com::5462f5f4-f618-47aa-abd8-fd504e002570" providerId="AD" clId="Web-{22FB8DB7-6371-41EB-A551-BB3DDECDAE5A}" dt="2022-01-07T15:41:24.446" v="114"/>
        <pc:sldMkLst>
          <pc:docMk/>
          <pc:sldMk cId="4159389698" sldId="342"/>
        </pc:sldMkLst>
        <pc:spChg chg="mod">
          <ac:chgData name="COSMOSFREN" userId="S::cosmosfren_yahoo.com#ext#@risebcg.onmicrosoft.com::5462f5f4-f618-47aa-abd8-fd504e002570" providerId="AD" clId="Web-{22FB8DB7-6371-41EB-A551-BB3DDECDAE5A}" dt="2022-01-07T15:39:24.865" v="14" actId="20577"/>
          <ac:spMkLst>
            <pc:docMk/>
            <pc:sldMk cId="4159389698" sldId="342"/>
            <ac:spMk id="2" creationId="{080435EA-AD4F-4934-83BC-D5D53AFD93E9}"/>
          </ac:spMkLst>
        </pc:spChg>
        <pc:spChg chg="mod">
          <ac:chgData name="COSMOSFREN" userId="S::cosmosfren_yahoo.com#ext#@risebcg.onmicrosoft.com::5462f5f4-f618-47aa-abd8-fd504e002570" providerId="AD" clId="Web-{22FB8DB7-6371-41EB-A551-BB3DDECDAE5A}" dt="2022-01-07T15:41:16.290" v="113" actId="20577"/>
          <ac:spMkLst>
            <pc:docMk/>
            <pc:sldMk cId="4159389698" sldId="342"/>
            <ac:spMk id="3" creationId="{1EADC3E2-9A88-4CFF-8CDC-C7B034C116B1}"/>
          </ac:spMkLst>
        </pc:spChg>
        <pc:spChg chg="add del">
          <ac:chgData name="COSMOSFREN" userId="S::cosmosfren_yahoo.com#ext#@risebcg.onmicrosoft.com::5462f5f4-f618-47aa-abd8-fd504e002570" providerId="AD" clId="Web-{22FB8DB7-6371-41EB-A551-BB3DDECDAE5A}" dt="2022-01-07T15:41:24.446" v="114"/>
          <ac:spMkLst>
            <pc:docMk/>
            <pc:sldMk cId="4159389698" sldId="342"/>
            <ac:spMk id="4" creationId="{76C2D367-C66D-4724-8430-00E419E461DF}"/>
          </ac:spMkLst>
        </pc:spChg>
      </pc:sldChg>
      <pc:sldChg chg="modSp new">
        <pc:chgData name="COSMOSFREN" userId="S::cosmosfren_yahoo.com#ext#@risebcg.onmicrosoft.com::5462f5f4-f618-47aa-abd8-fd504e002570" providerId="AD" clId="Web-{22FB8DB7-6371-41EB-A551-BB3DDECDAE5A}" dt="2022-01-07T15:42:26.089" v="134" actId="20577"/>
        <pc:sldMkLst>
          <pc:docMk/>
          <pc:sldMk cId="2403985300" sldId="343"/>
        </pc:sldMkLst>
        <pc:spChg chg="mod">
          <ac:chgData name="COSMOSFREN" userId="S::cosmosfren_yahoo.com#ext#@risebcg.onmicrosoft.com::5462f5f4-f618-47aa-abd8-fd504e002570" providerId="AD" clId="Web-{22FB8DB7-6371-41EB-A551-BB3DDECDAE5A}" dt="2022-01-07T15:42:26.089" v="134" actId="20577"/>
          <ac:spMkLst>
            <pc:docMk/>
            <pc:sldMk cId="2403985300" sldId="343"/>
            <ac:spMk id="2" creationId="{53DDB4C4-01BA-4E62-BA0A-56A56EB4019B}"/>
          </ac:spMkLst>
        </pc:spChg>
      </pc:sldChg>
    </pc:docChg>
  </pc:docChgLst>
  <pc:docChgLst>
    <pc:chgData name="WONGYONGLIN91" userId="S::wongyonglin91_gmail.com#ext#@risebcg.onmicrosoft.com::b2d94f93-e580-4f0d-9dda-2138509d25ae" providerId="AD" clId="Web-{0C79BA91-1E94-4A31-96DF-93ED1DF4A512}"/>
    <pc:docChg chg="modSld">
      <pc:chgData name="WONGYONGLIN91" userId="S::wongyonglin91_gmail.com#ext#@risebcg.onmicrosoft.com::b2d94f93-e580-4f0d-9dda-2138509d25ae" providerId="AD" clId="Web-{0C79BA91-1E94-4A31-96DF-93ED1DF4A512}" dt="2022-01-08T13:13:28.156" v="27" actId="1076"/>
      <pc:docMkLst>
        <pc:docMk/>
      </pc:docMkLst>
      <pc:sldChg chg="addSp delSp modSp">
        <pc:chgData name="WONGYONGLIN91" userId="S::wongyonglin91_gmail.com#ext#@risebcg.onmicrosoft.com::b2d94f93-e580-4f0d-9dda-2138509d25ae" providerId="AD" clId="Web-{0C79BA91-1E94-4A31-96DF-93ED1DF4A512}" dt="2022-01-08T13:13:28.156" v="27" actId="1076"/>
        <pc:sldMkLst>
          <pc:docMk/>
          <pc:sldMk cId="3971465157" sldId="345"/>
        </pc:sldMkLst>
        <pc:spChg chg="mod">
          <ac:chgData name="WONGYONGLIN91" userId="S::wongyonglin91_gmail.com#ext#@risebcg.onmicrosoft.com::b2d94f93-e580-4f0d-9dda-2138509d25ae" providerId="AD" clId="Web-{0C79BA91-1E94-4A31-96DF-93ED1DF4A512}" dt="2022-01-08T13:09:39.025" v="1" actId="20577"/>
          <ac:spMkLst>
            <pc:docMk/>
            <pc:sldMk cId="3971465157" sldId="345"/>
            <ac:spMk id="2" creationId="{ED14AA63-35D8-4136-8B2F-DE1837A583A2}"/>
          </ac:spMkLst>
        </pc:spChg>
        <pc:picChg chg="mod">
          <ac:chgData name="WONGYONGLIN91" userId="S::wongyonglin91_gmail.com#ext#@risebcg.onmicrosoft.com::b2d94f93-e580-4f0d-9dda-2138509d25ae" providerId="AD" clId="Web-{0C79BA91-1E94-4A31-96DF-93ED1DF4A512}" dt="2022-01-08T13:13:16.046" v="23" actId="1076"/>
          <ac:picMkLst>
            <pc:docMk/>
            <pc:sldMk cId="3971465157" sldId="345"/>
            <ac:picMk id="6" creationId="{0543AB5E-0C46-4F5B-92B9-8460B4265166}"/>
          </ac:picMkLst>
        </pc:picChg>
        <pc:picChg chg="mod">
          <ac:chgData name="WONGYONGLIN91" userId="S::wongyonglin91_gmail.com#ext#@risebcg.onmicrosoft.com::b2d94f93-e580-4f0d-9dda-2138509d25ae" providerId="AD" clId="Web-{0C79BA91-1E94-4A31-96DF-93ED1DF4A512}" dt="2022-01-08T13:13:25.046" v="26" actId="14100"/>
          <ac:picMkLst>
            <pc:docMk/>
            <pc:sldMk cId="3971465157" sldId="345"/>
            <ac:picMk id="7" creationId="{F2806C6D-F724-4DED-AEF0-61ECCAB05DB6}"/>
          </ac:picMkLst>
        </pc:picChg>
        <pc:picChg chg="add mod">
          <ac:chgData name="WONGYONGLIN91" userId="S::wongyonglin91_gmail.com#ext#@risebcg.onmicrosoft.com::b2d94f93-e580-4f0d-9dda-2138509d25ae" providerId="AD" clId="Web-{0C79BA91-1E94-4A31-96DF-93ED1DF4A512}" dt="2022-01-08T13:13:28.156" v="27" actId="1076"/>
          <ac:picMkLst>
            <pc:docMk/>
            <pc:sldMk cId="3971465157" sldId="345"/>
            <ac:picMk id="8" creationId="{1C37FA25-553F-4164-8C97-7E76EEDF8003}"/>
          </ac:picMkLst>
        </pc:picChg>
        <pc:picChg chg="add mod">
          <ac:chgData name="WONGYONGLIN91" userId="S::wongyonglin91_gmail.com#ext#@risebcg.onmicrosoft.com::b2d94f93-e580-4f0d-9dda-2138509d25ae" providerId="AD" clId="Web-{0C79BA91-1E94-4A31-96DF-93ED1DF4A512}" dt="2022-01-08T13:13:19.156" v="24" actId="1076"/>
          <ac:picMkLst>
            <pc:docMk/>
            <pc:sldMk cId="3971465157" sldId="345"/>
            <ac:picMk id="9" creationId="{97A95AB9-26F3-4FFA-B40B-A3BFD1A87A7B}"/>
          </ac:picMkLst>
        </pc:picChg>
        <pc:picChg chg="del">
          <ac:chgData name="WONGYONGLIN91" userId="S::wongyonglin91_gmail.com#ext#@risebcg.onmicrosoft.com::b2d94f93-e580-4f0d-9dda-2138509d25ae" providerId="AD" clId="Web-{0C79BA91-1E94-4A31-96DF-93ED1DF4A512}" dt="2022-01-08T13:12:14.873" v="14"/>
          <ac:picMkLst>
            <pc:docMk/>
            <pc:sldMk cId="3971465157" sldId="345"/>
            <ac:picMk id="14" creationId="{6C32E5A9-2DAB-4399-BC5F-DFEF3CE42056}"/>
          </ac:picMkLst>
        </pc:picChg>
        <pc:picChg chg="del">
          <ac:chgData name="WONGYONGLIN91" userId="S::wongyonglin91_gmail.com#ext#@risebcg.onmicrosoft.com::b2d94f93-e580-4f0d-9dda-2138509d25ae" providerId="AD" clId="Web-{0C79BA91-1E94-4A31-96DF-93ED1DF4A512}" dt="2022-01-08T13:11:40.809" v="10"/>
          <ac:picMkLst>
            <pc:docMk/>
            <pc:sldMk cId="3971465157" sldId="345"/>
            <ac:picMk id="15" creationId="{D29E5551-D1FB-4B15-B981-AF5FE6C4338B}"/>
          </ac:picMkLst>
        </pc:picChg>
      </pc:sldChg>
      <pc:sldChg chg="addSp delSp modSp">
        <pc:chgData name="WONGYONGLIN91" userId="S::wongyonglin91_gmail.com#ext#@risebcg.onmicrosoft.com::b2d94f93-e580-4f0d-9dda-2138509d25ae" providerId="AD" clId="Web-{0C79BA91-1E94-4A31-96DF-93ED1DF4A512}" dt="2022-01-08T13:11:07.809" v="9" actId="14100"/>
        <pc:sldMkLst>
          <pc:docMk/>
          <pc:sldMk cId="2149037765" sldId="346"/>
        </pc:sldMkLst>
        <pc:picChg chg="del">
          <ac:chgData name="WONGYONGLIN91" userId="S::wongyonglin91_gmail.com#ext#@risebcg.onmicrosoft.com::b2d94f93-e580-4f0d-9dda-2138509d25ae" providerId="AD" clId="Web-{0C79BA91-1E94-4A31-96DF-93ED1DF4A512}" dt="2022-01-08T13:09:45.916" v="2"/>
          <ac:picMkLst>
            <pc:docMk/>
            <pc:sldMk cId="2149037765" sldId="346"/>
            <ac:picMk id="6" creationId="{8B12E724-F7D6-46BF-AE6E-486289EC7CC6}"/>
          </ac:picMkLst>
        </pc:picChg>
        <pc:picChg chg="del">
          <ac:chgData name="WONGYONGLIN91" userId="S::wongyonglin91_gmail.com#ext#@risebcg.onmicrosoft.com::b2d94f93-e580-4f0d-9dda-2138509d25ae" providerId="AD" clId="Web-{0C79BA91-1E94-4A31-96DF-93ED1DF4A512}" dt="2022-01-08T13:09:46.354" v="3"/>
          <ac:picMkLst>
            <pc:docMk/>
            <pc:sldMk cId="2149037765" sldId="346"/>
            <ac:picMk id="7" creationId="{9A3D2A3F-16A2-4B00-AD57-DD79E305B4AB}"/>
          </ac:picMkLst>
        </pc:picChg>
        <pc:picChg chg="add mod">
          <ac:chgData name="WONGYONGLIN91" userId="S::wongyonglin91_gmail.com#ext#@risebcg.onmicrosoft.com::b2d94f93-e580-4f0d-9dda-2138509d25ae" providerId="AD" clId="Web-{0C79BA91-1E94-4A31-96DF-93ED1DF4A512}" dt="2022-01-08T13:10:20.511" v="6" actId="14100"/>
          <ac:picMkLst>
            <pc:docMk/>
            <pc:sldMk cId="2149037765" sldId="346"/>
            <ac:picMk id="10" creationId="{391F6A77-68C5-4C52-ABF8-CA8D80177516}"/>
          </ac:picMkLst>
        </pc:picChg>
        <pc:picChg chg="add mod">
          <ac:chgData name="WONGYONGLIN91" userId="S::wongyonglin91_gmail.com#ext#@risebcg.onmicrosoft.com::b2d94f93-e580-4f0d-9dda-2138509d25ae" providerId="AD" clId="Web-{0C79BA91-1E94-4A31-96DF-93ED1DF4A512}" dt="2022-01-08T13:11:07.809" v="9" actId="14100"/>
          <ac:picMkLst>
            <pc:docMk/>
            <pc:sldMk cId="2149037765" sldId="346"/>
            <ac:picMk id="11" creationId="{D3B0CDFF-5E2B-4904-8700-08E7D750F067}"/>
          </ac:picMkLst>
        </pc:picChg>
      </pc:sldChg>
    </pc:docChg>
  </pc:docChgLst>
  <pc:docChgLst>
    <pc:chgData name="COSMOSFREN" userId="S::cosmosfren_yahoo.com#ext#@risebcg.onmicrosoft.com::5462f5f4-f618-47aa-abd8-fd504e002570" providerId="AD" clId="Web-{2E7C0D6E-C6A5-4772-9216-92AEF06745C3}"/>
    <pc:docChg chg="addSld delSld modSld sldOrd">
      <pc:chgData name="COSMOSFREN" userId="S::cosmosfren_yahoo.com#ext#@risebcg.onmicrosoft.com::5462f5f4-f618-47aa-abd8-fd504e002570" providerId="AD" clId="Web-{2E7C0D6E-C6A5-4772-9216-92AEF06745C3}" dt="2022-01-10T09:16:40.907" v="2060"/>
      <pc:docMkLst>
        <pc:docMk/>
      </pc:docMkLst>
      <pc:sldChg chg="modNotes">
        <pc:chgData name="COSMOSFREN" userId="S::cosmosfren_yahoo.com#ext#@risebcg.onmicrosoft.com::5462f5f4-f618-47aa-abd8-fd504e002570" providerId="AD" clId="Web-{2E7C0D6E-C6A5-4772-9216-92AEF06745C3}" dt="2022-01-10T09:05:20.472" v="1068"/>
        <pc:sldMkLst>
          <pc:docMk/>
          <pc:sldMk cId="873372039" sldId="275"/>
        </pc:sldMkLst>
      </pc:sldChg>
      <pc:sldChg chg="modNotes">
        <pc:chgData name="COSMOSFREN" userId="S::cosmosfren_yahoo.com#ext#@risebcg.onmicrosoft.com::5462f5f4-f618-47aa-abd8-fd504e002570" providerId="AD" clId="Web-{2E7C0D6E-C6A5-4772-9216-92AEF06745C3}" dt="2022-01-10T09:05:48.003" v="1083"/>
        <pc:sldMkLst>
          <pc:docMk/>
          <pc:sldMk cId="2023673819" sldId="276"/>
        </pc:sldMkLst>
      </pc:sldChg>
      <pc:sldChg chg="ord">
        <pc:chgData name="COSMOSFREN" userId="S::cosmosfren_yahoo.com#ext#@risebcg.onmicrosoft.com::5462f5f4-f618-47aa-abd8-fd504e002570" providerId="AD" clId="Web-{2E7C0D6E-C6A5-4772-9216-92AEF06745C3}" dt="2022-01-10T08:49:42.656" v="186"/>
        <pc:sldMkLst>
          <pc:docMk/>
          <pc:sldMk cId="393760993" sldId="278"/>
        </pc:sldMkLst>
      </pc:sldChg>
      <pc:sldChg chg="del">
        <pc:chgData name="COSMOSFREN" userId="S::cosmosfren_yahoo.com#ext#@risebcg.onmicrosoft.com::5462f5f4-f618-47aa-abd8-fd504e002570" providerId="AD" clId="Web-{2E7C0D6E-C6A5-4772-9216-92AEF06745C3}" dt="2022-01-10T08:50:38.985" v="192"/>
        <pc:sldMkLst>
          <pc:docMk/>
          <pc:sldMk cId="2997843956" sldId="282"/>
        </pc:sldMkLst>
      </pc:sldChg>
      <pc:sldChg chg="del">
        <pc:chgData name="COSMOSFREN" userId="S::cosmosfren_yahoo.com#ext#@risebcg.onmicrosoft.com::5462f5f4-f618-47aa-abd8-fd504e002570" providerId="AD" clId="Web-{2E7C0D6E-C6A5-4772-9216-92AEF06745C3}" dt="2022-01-10T08:49:55.578" v="190"/>
        <pc:sldMkLst>
          <pc:docMk/>
          <pc:sldMk cId="1552488435" sldId="292"/>
        </pc:sldMkLst>
      </pc:sldChg>
      <pc:sldChg chg="modSp del modNotes">
        <pc:chgData name="COSMOSFREN" userId="S::cosmosfren_yahoo.com#ext#@risebcg.onmicrosoft.com::5462f5f4-f618-47aa-abd8-fd504e002570" providerId="AD" clId="Web-{2E7C0D6E-C6A5-4772-9216-92AEF06745C3}" dt="2022-01-10T08:18:53.681" v="51"/>
        <pc:sldMkLst>
          <pc:docMk/>
          <pc:sldMk cId="1960038968" sldId="302"/>
        </pc:sldMkLst>
        <pc:spChg chg="mod">
          <ac:chgData name="COSMOSFREN" userId="S::cosmosfren_yahoo.com#ext#@risebcg.onmicrosoft.com::5462f5f4-f618-47aa-abd8-fd504e002570" providerId="AD" clId="Web-{2E7C0D6E-C6A5-4772-9216-92AEF06745C3}" dt="2022-01-10T08:18:48.197" v="50" actId="20577"/>
          <ac:spMkLst>
            <pc:docMk/>
            <pc:sldMk cId="1960038968" sldId="302"/>
            <ac:spMk id="3" creationId="{24EA6045-D161-499A-99D8-27A9B2007106}"/>
          </ac:spMkLst>
        </pc:spChg>
      </pc:sldChg>
      <pc:sldChg chg="del">
        <pc:chgData name="COSMOSFREN" userId="S::cosmosfren_yahoo.com#ext#@risebcg.onmicrosoft.com::5462f5f4-f618-47aa-abd8-fd504e002570" providerId="AD" clId="Web-{2E7C0D6E-C6A5-4772-9216-92AEF06745C3}" dt="2022-01-10T08:49:53.062" v="189"/>
        <pc:sldMkLst>
          <pc:docMk/>
          <pc:sldMk cId="1351338838" sldId="307"/>
        </pc:sldMkLst>
      </pc:sldChg>
      <pc:sldChg chg="del">
        <pc:chgData name="COSMOSFREN" userId="S::cosmosfren_yahoo.com#ext#@risebcg.onmicrosoft.com::5462f5f4-f618-47aa-abd8-fd504e002570" providerId="AD" clId="Web-{2E7C0D6E-C6A5-4772-9216-92AEF06745C3}" dt="2022-01-10T08:49:50.344" v="188"/>
        <pc:sldMkLst>
          <pc:docMk/>
          <pc:sldMk cId="1986299068" sldId="308"/>
        </pc:sldMkLst>
      </pc:sldChg>
      <pc:sldChg chg="del">
        <pc:chgData name="COSMOSFREN" userId="S::cosmosfren_yahoo.com#ext#@risebcg.onmicrosoft.com::5462f5f4-f618-47aa-abd8-fd504e002570" providerId="AD" clId="Web-{2E7C0D6E-C6A5-4772-9216-92AEF06745C3}" dt="2022-01-10T08:49:47.437" v="187"/>
        <pc:sldMkLst>
          <pc:docMk/>
          <pc:sldMk cId="560075665" sldId="313"/>
        </pc:sldMkLst>
      </pc:sldChg>
      <pc:sldChg chg="modNotes">
        <pc:chgData name="COSMOSFREN" userId="S::cosmosfren_yahoo.com#ext#@risebcg.onmicrosoft.com::5462f5f4-f618-47aa-abd8-fd504e002570" providerId="AD" clId="Web-{2E7C0D6E-C6A5-4772-9216-92AEF06745C3}" dt="2022-01-10T08:53:55.755" v="340"/>
        <pc:sldMkLst>
          <pc:docMk/>
          <pc:sldMk cId="2067521295" sldId="323"/>
        </pc:sldMkLst>
      </pc:sldChg>
      <pc:sldChg chg="modNotes">
        <pc:chgData name="COSMOSFREN" userId="S::cosmosfren_yahoo.com#ext#@risebcg.onmicrosoft.com::5462f5f4-f618-47aa-abd8-fd504e002570" providerId="AD" clId="Web-{2E7C0D6E-C6A5-4772-9216-92AEF06745C3}" dt="2022-01-10T09:04:12.908" v="1067"/>
        <pc:sldMkLst>
          <pc:docMk/>
          <pc:sldMk cId="3666302761" sldId="324"/>
        </pc:sldMkLst>
      </pc:sldChg>
      <pc:sldChg chg="modNotes">
        <pc:chgData name="COSMOSFREN" userId="S::cosmosfren_yahoo.com#ext#@risebcg.onmicrosoft.com::5462f5f4-f618-47aa-abd8-fd504e002570" providerId="AD" clId="Web-{2E7C0D6E-C6A5-4772-9216-92AEF06745C3}" dt="2022-01-10T08:53:02.285" v="315"/>
        <pc:sldMkLst>
          <pc:docMk/>
          <pc:sldMk cId="416007632" sldId="327"/>
        </pc:sldMkLst>
      </pc:sldChg>
      <pc:sldChg chg="del">
        <pc:chgData name="COSMOSFREN" userId="S::cosmosfren_yahoo.com#ext#@risebcg.onmicrosoft.com::5462f5f4-f618-47aa-abd8-fd504e002570" providerId="AD" clId="Web-{2E7C0D6E-C6A5-4772-9216-92AEF06745C3}" dt="2022-01-10T08:50:43.751" v="193"/>
        <pc:sldMkLst>
          <pc:docMk/>
          <pc:sldMk cId="768738816" sldId="330"/>
        </pc:sldMkLst>
      </pc:sldChg>
      <pc:sldChg chg="del">
        <pc:chgData name="COSMOSFREN" userId="S::cosmosfren_yahoo.com#ext#@risebcg.onmicrosoft.com::5462f5f4-f618-47aa-abd8-fd504e002570" providerId="AD" clId="Web-{2E7C0D6E-C6A5-4772-9216-92AEF06745C3}" dt="2022-01-10T08:50:46.063" v="194"/>
        <pc:sldMkLst>
          <pc:docMk/>
          <pc:sldMk cId="4030892583" sldId="332"/>
        </pc:sldMkLst>
      </pc:sldChg>
      <pc:sldChg chg="del">
        <pc:chgData name="COSMOSFREN" userId="S::cosmosfren_yahoo.com#ext#@risebcg.onmicrosoft.com::5462f5f4-f618-47aa-abd8-fd504e002570" providerId="AD" clId="Web-{2E7C0D6E-C6A5-4772-9216-92AEF06745C3}" dt="2022-01-10T08:50:15.750" v="191"/>
        <pc:sldMkLst>
          <pc:docMk/>
          <pc:sldMk cId="861222469" sldId="348"/>
        </pc:sldMkLst>
      </pc:sldChg>
      <pc:sldChg chg="addSp delSp modSp new modNotes">
        <pc:chgData name="COSMOSFREN" userId="S::cosmosfren_yahoo.com#ext#@risebcg.onmicrosoft.com::5462f5f4-f618-47aa-abd8-fd504e002570" providerId="AD" clId="Web-{2E7C0D6E-C6A5-4772-9216-92AEF06745C3}" dt="2022-01-10T09:16:40.907" v="2060"/>
        <pc:sldMkLst>
          <pc:docMk/>
          <pc:sldMk cId="3944993204" sldId="370"/>
        </pc:sldMkLst>
        <pc:spChg chg="del">
          <ac:chgData name="COSMOSFREN" userId="S::cosmosfren_yahoo.com#ext#@risebcg.onmicrosoft.com::5462f5f4-f618-47aa-abd8-fd504e002570" providerId="AD" clId="Web-{2E7C0D6E-C6A5-4772-9216-92AEF06745C3}" dt="2022-01-10T08:19:27.463" v="60"/>
          <ac:spMkLst>
            <pc:docMk/>
            <pc:sldMk cId="3944993204" sldId="370"/>
            <ac:spMk id="2" creationId="{3EB10E6C-E223-49E7-BB8C-07474F65BA06}"/>
          </ac:spMkLst>
        </pc:spChg>
        <pc:spChg chg="del">
          <ac:chgData name="COSMOSFREN" userId="S::cosmosfren_yahoo.com#ext#@risebcg.onmicrosoft.com::5462f5f4-f618-47aa-abd8-fd504e002570" providerId="AD" clId="Web-{2E7C0D6E-C6A5-4772-9216-92AEF06745C3}" dt="2022-01-10T08:19:05.103" v="54"/>
          <ac:spMkLst>
            <pc:docMk/>
            <pc:sldMk cId="3944993204" sldId="370"/>
            <ac:spMk id="3" creationId="{8FEB5338-9088-42DE-8CE9-F83373E7BE0D}"/>
          </ac:spMkLst>
        </pc:spChg>
        <pc:spChg chg="add del mod">
          <ac:chgData name="COSMOSFREN" userId="S::cosmosfren_yahoo.com#ext#@risebcg.onmicrosoft.com::5462f5f4-f618-47aa-abd8-fd504e002570" providerId="AD" clId="Web-{2E7C0D6E-C6A5-4772-9216-92AEF06745C3}" dt="2022-01-10T08:19:53.089" v="67"/>
          <ac:spMkLst>
            <pc:docMk/>
            <pc:sldMk cId="3944993204" sldId="370"/>
            <ac:spMk id="4" creationId="{44495AD0-03BB-4CA6-A7B3-8DA49DA9249D}"/>
          </ac:spMkLst>
        </pc:spChg>
        <pc:picChg chg="add mod">
          <ac:chgData name="COSMOSFREN" userId="S::cosmosfren_yahoo.com#ext#@risebcg.onmicrosoft.com::5462f5f4-f618-47aa-abd8-fd504e002570" providerId="AD" clId="Web-{2E7C0D6E-C6A5-4772-9216-92AEF06745C3}" dt="2022-01-10T08:20:14.245" v="72" actId="14100"/>
          <ac:picMkLst>
            <pc:docMk/>
            <pc:sldMk cId="3944993204" sldId="370"/>
            <ac:picMk id="5" creationId="{7A0255F7-E360-4642-8E8C-390EA5102BF1}"/>
          </ac:picMkLst>
        </pc:picChg>
      </pc:sldChg>
      <pc:sldChg chg="delSp modSp">
        <pc:chgData name="COSMOSFREN" userId="S::cosmosfren_yahoo.com#ext#@risebcg.onmicrosoft.com::5462f5f4-f618-47aa-abd8-fd504e002570" providerId="AD" clId="Web-{2E7C0D6E-C6A5-4772-9216-92AEF06745C3}" dt="2022-01-10T08:53:26.551" v="318"/>
        <pc:sldMkLst>
          <pc:docMk/>
          <pc:sldMk cId="2447926016" sldId="371"/>
        </pc:sldMkLst>
        <pc:spChg chg="del mod">
          <ac:chgData name="COSMOSFREN" userId="S::cosmosfren_yahoo.com#ext#@risebcg.onmicrosoft.com::5462f5f4-f618-47aa-abd8-fd504e002570" providerId="AD" clId="Web-{2E7C0D6E-C6A5-4772-9216-92AEF06745C3}" dt="2022-01-10T08:53:26.551" v="318"/>
          <ac:spMkLst>
            <pc:docMk/>
            <pc:sldMk cId="2447926016" sldId="371"/>
            <ac:spMk id="14" creationId="{2C69D88B-2C3E-4585-9F55-DDB354CF5322}"/>
          </ac:spMkLst>
        </pc:spChg>
      </pc:sldChg>
    </pc:docChg>
  </pc:docChgLst>
  <pc:docChgLst>
    <pc:chgData name="WESLEY.TBW" userId="S::wesley.tbw_gmail.com#ext#@risebcg.onmicrosoft.com::1034df62-ee6d-4b2f-8a56-03c4406a0a8a" providerId="AD" clId="Web-{0830A887-6C9B-4A6F-BE69-9E706E02DBA8}"/>
    <pc:docChg chg="modSld">
      <pc:chgData name="WESLEY.TBW" userId="S::wesley.tbw_gmail.com#ext#@risebcg.onmicrosoft.com::1034df62-ee6d-4b2f-8a56-03c4406a0a8a" providerId="AD" clId="Web-{0830A887-6C9B-4A6F-BE69-9E706E02DBA8}" dt="2022-01-10T05:12:22.313" v="417"/>
      <pc:docMkLst>
        <pc:docMk/>
      </pc:docMkLst>
      <pc:sldChg chg="modNotes">
        <pc:chgData name="WESLEY.TBW" userId="S::wesley.tbw_gmail.com#ext#@risebcg.onmicrosoft.com::1034df62-ee6d-4b2f-8a56-03c4406a0a8a" providerId="AD" clId="Web-{0830A887-6C9B-4A6F-BE69-9E706E02DBA8}" dt="2022-01-10T05:10:28.279" v="372"/>
        <pc:sldMkLst>
          <pc:docMk/>
          <pc:sldMk cId="4084366951" sldId="318"/>
        </pc:sldMkLst>
      </pc:sldChg>
      <pc:sldChg chg="modSp modNotes">
        <pc:chgData name="WESLEY.TBW" userId="S::wesley.tbw_gmail.com#ext#@risebcg.onmicrosoft.com::1034df62-ee6d-4b2f-8a56-03c4406a0a8a" providerId="AD" clId="Web-{0830A887-6C9B-4A6F-BE69-9E706E02DBA8}" dt="2022-01-10T05:12:22.313" v="417"/>
        <pc:sldMkLst>
          <pc:docMk/>
          <pc:sldMk cId="4159389698" sldId="342"/>
        </pc:sldMkLst>
        <pc:spChg chg="mod">
          <ac:chgData name="WESLEY.TBW" userId="S::wesley.tbw_gmail.com#ext#@risebcg.onmicrosoft.com::1034df62-ee6d-4b2f-8a56-03c4406a0a8a" providerId="AD" clId="Web-{0830A887-6C9B-4A6F-BE69-9E706E02DBA8}" dt="2022-01-10T04:33:30.319" v="4" actId="20577"/>
          <ac:spMkLst>
            <pc:docMk/>
            <pc:sldMk cId="4159389698" sldId="342"/>
            <ac:spMk id="23" creationId="{41AFB02C-DB44-4F3C-812B-7D52A88090A6}"/>
          </ac:spMkLst>
        </pc:spChg>
        <pc:spChg chg="mod">
          <ac:chgData name="WESLEY.TBW" userId="S::wesley.tbw_gmail.com#ext#@risebcg.onmicrosoft.com::1034df62-ee6d-4b2f-8a56-03c4406a0a8a" providerId="AD" clId="Web-{0830A887-6C9B-4A6F-BE69-9E706E02DBA8}" dt="2022-01-10T04:35:15.868" v="43" actId="20577"/>
          <ac:spMkLst>
            <pc:docMk/>
            <pc:sldMk cId="4159389698" sldId="342"/>
            <ac:spMk id="27" creationId="{DCFD4D3C-02DB-4109-AE1E-9B21315DB83D}"/>
          </ac:spMkLst>
        </pc:spChg>
      </pc:sldChg>
    </pc:docChg>
  </pc:docChgLst>
  <pc:docChgLst>
    <pc:chgData name="COSMOSFREN" userId="S::cosmosfren_yahoo.com#ext#@risebcg.onmicrosoft.com::5462f5f4-f618-47aa-abd8-fd504e002570" providerId="AD" clId="Web-{3EB0FAEB-12AC-4A2E-B9FA-FADDBCDDECE3}"/>
    <pc:docChg chg="modSld sldOrd">
      <pc:chgData name="COSMOSFREN" userId="S::cosmosfren_yahoo.com#ext#@risebcg.onmicrosoft.com::5462f5f4-f618-47aa-abd8-fd504e002570" providerId="AD" clId="Web-{3EB0FAEB-12AC-4A2E-B9FA-FADDBCDDECE3}" dt="2022-01-09T08:51:53.917" v="1782"/>
      <pc:docMkLst>
        <pc:docMk/>
      </pc:docMkLst>
      <pc:sldChg chg="modSp modNotes">
        <pc:chgData name="COSMOSFREN" userId="S::cosmosfren_yahoo.com#ext#@risebcg.onmicrosoft.com::5462f5f4-f618-47aa-abd8-fd504e002570" providerId="AD" clId="Web-{3EB0FAEB-12AC-4A2E-B9FA-FADDBCDDECE3}" dt="2022-01-09T08:41:08.778" v="1044"/>
        <pc:sldMkLst>
          <pc:docMk/>
          <pc:sldMk cId="1960038968" sldId="302"/>
        </pc:sldMkLst>
        <pc:spChg chg="mod">
          <ac:chgData name="COSMOSFREN" userId="S::cosmosfren_yahoo.com#ext#@risebcg.onmicrosoft.com::5462f5f4-f618-47aa-abd8-fd504e002570" providerId="AD" clId="Web-{3EB0FAEB-12AC-4A2E-B9FA-FADDBCDDECE3}" dt="2022-01-09T08:40:12.011" v="1037" actId="20577"/>
          <ac:spMkLst>
            <pc:docMk/>
            <pc:sldMk cId="1960038968" sldId="302"/>
            <ac:spMk id="3" creationId="{24EA6045-D161-499A-99D8-27A9B2007106}"/>
          </ac:spMkLst>
        </pc:spChg>
        <pc:spChg chg="mod">
          <ac:chgData name="COSMOSFREN" userId="S::cosmosfren_yahoo.com#ext#@risebcg.onmicrosoft.com::5462f5f4-f618-47aa-abd8-fd504e002570" providerId="AD" clId="Web-{3EB0FAEB-12AC-4A2E-B9FA-FADDBCDDECE3}" dt="2022-01-09T07:41:10.303" v="673" actId="1076"/>
          <ac:spMkLst>
            <pc:docMk/>
            <pc:sldMk cId="1960038968" sldId="302"/>
            <ac:spMk id="5" creationId="{22119D13-7FBA-40D8-9A7E-FC8FC5756573}"/>
          </ac:spMkLst>
        </pc:spChg>
      </pc:sldChg>
      <pc:sldChg chg="modNotes">
        <pc:chgData name="COSMOSFREN" userId="S::cosmosfren_yahoo.com#ext#@risebcg.onmicrosoft.com::5462f5f4-f618-47aa-abd8-fd504e002570" providerId="AD" clId="Web-{3EB0FAEB-12AC-4A2E-B9FA-FADDBCDDECE3}" dt="2022-01-09T08:42:26.186" v="1198"/>
        <pc:sldMkLst>
          <pc:docMk/>
          <pc:sldMk cId="2067521295" sldId="323"/>
        </pc:sldMkLst>
      </pc:sldChg>
      <pc:sldChg chg="modNotes">
        <pc:chgData name="COSMOSFREN" userId="S::cosmosfren_yahoo.com#ext#@risebcg.onmicrosoft.com::5462f5f4-f618-47aa-abd8-fd504e002570" providerId="AD" clId="Web-{3EB0FAEB-12AC-4A2E-B9FA-FADDBCDDECE3}" dt="2022-01-09T08:51:53.917" v="1782"/>
        <pc:sldMkLst>
          <pc:docMk/>
          <pc:sldMk cId="416007632" sldId="327"/>
        </pc:sldMkLst>
      </pc:sldChg>
      <pc:sldChg chg="modSp ord">
        <pc:chgData name="COSMOSFREN" userId="S::cosmosfren_yahoo.com#ext#@risebcg.onmicrosoft.com::5462f5f4-f618-47aa-abd8-fd504e002570" providerId="AD" clId="Web-{3EB0FAEB-12AC-4A2E-B9FA-FADDBCDDECE3}" dt="2022-01-09T07:30:45.118" v="625"/>
        <pc:sldMkLst>
          <pc:docMk/>
          <pc:sldMk cId="2652119032" sldId="335"/>
        </pc:sldMkLst>
        <pc:spChg chg="mod">
          <ac:chgData name="COSMOSFREN" userId="S::cosmosfren_yahoo.com#ext#@risebcg.onmicrosoft.com::5462f5f4-f618-47aa-abd8-fd504e002570" providerId="AD" clId="Web-{3EB0FAEB-12AC-4A2E-B9FA-FADDBCDDECE3}" dt="2022-01-09T07:08:05.239" v="1" actId="20577"/>
          <ac:spMkLst>
            <pc:docMk/>
            <pc:sldMk cId="2652119032" sldId="335"/>
            <ac:spMk id="4" creationId="{7BCAFA08-4D06-4459-BDE0-CAB790C8CB40}"/>
          </ac:spMkLst>
        </pc:spChg>
        <pc:spChg chg="mod">
          <ac:chgData name="COSMOSFREN" userId="S::cosmosfren_yahoo.com#ext#@risebcg.onmicrosoft.com::5462f5f4-f618-47aa-abd8-fd504e002570" providerId="AD" clId="Web-{3EB0FAEB-12AC-4A2E-B9FA-FADDBCDDECE3}" dt="2022-01-09T07:08:16.380" v="3" actId="20577"/>
          <ac:spMkLst>
            <pc:docMk/>
            <pc:sldMk cId="2652119032" sldId="335"/>
            <ac:spMk id="10" creationId="{5B136050-0C52-4973-B00A-9438EBC773F2}"/>
          </ac:spMkLst>
        </pc:spChg>
      </pc:sldChg>
      <pc:sldChg chg="ord">
        <pc:chgData name="COSMOSFREN" userId="S::cosmosfren_yahoo.com#ext#@risebcg.onmicrosoft.com::5462f5f4-f618-47aa-abd8-fd504e002570" providerId="AD" clId="Web-{3EB0FAEB-12AC-4A2E-B9FA-FADDBCDDECE3}" dt="2022-01-09T07:59:20.975" v="819"/>
        <pc:sldMkLst>
          <pc:docMk/>
          <pc:sldMk cId="2538826858" sldId="336"/>
        </pc:sldMkLst>
      </pc:sldChg>
      <pc:sldChg chg="modSp">
        <pc:chgData name="COSMOSFREN" userId="S::cosmosfren_yahoo.com#ext#@risebcg.onmicrosoft.com::5462f5f4-f618-47aa-abd8-fd504e002570" providerId="AD" clId="Web-{3EB0FAEB-12AC-4A2E-B9FA-FADDBCDDECE3}" dt="2022-01-09T08:19:49.157" v="832" actId="20577"/>
        <pc:sldMkLst>
          <pc:docMk/>
          <pc:sldMk cId="3391215681" sldId="339"/>
        </pc:sldMkLst>
        <pc:spChg chg="mod">
          <ac:chgData name="COSMOSFREN" userId="S::cosmosfren_yahoo.com#ext#@risebcg.onmicrosoft.com::5462f5f4-f618-47aa-abd8-fd504e002570" providerId="AD" clId="Web-{3EB0FAEB-12AC-4A2E-B9FA-FADDBCDDECE3}" dt="2022-01-09T08:19:49.157" v="832" actId="20577"/>
          <ac:spMkLst>
            <pc:docMk/>
            <pc:sldMk cId="3391215681" sldId="339"/>
            <ac:spMk id="160" creationId="{129EBF9C-3DCE-40EC-8CFB-1CB201B252BE}"/>
          </ac:spMkLst>
        </pc:spChg>
      </pc:sldChg>
      <pc:sldChg chg="modSp">
        <pc:chgData name="COSMOSFREN" userId="S::cosmosfren_yahoo.com#ext#@risebcg.onmicrosoft.com::5462f5f4-f618-47aa-abd8-fd504e002570" providerId="AD" clId="Web-{3EB0FAEB-12AC-4A2E-B9FA-FADDBCDDECE3}" dt="2022-01-09T07:59:13.802" v="818" actId="1076"/>
        <pc:sldMkLst>
          <pc:docMk/>
          <pc:sldMk cId="4159389698" sldId="342"/>
        </pc:sldMkLst>
        <pc:spChg chg="mod">
          <ac:chgData name="COSMOSFREN" userId="S::cosmosfren_yahoo.com#ext#@risebcg.onmicrosoft.com::5462f5f4-f618-47aa-abd8-fd504e002570" providerId="AD" clId="Web-{3EB0FAEB-12AC-4A2E-B9FA-FADDBCDDECE3}" dt="2022-01-09T07:51:53.606" v="815" actId="20577"/>
          <ac:spMkLst>
            <pc:docMk/>
            <pc:sldMk cId="4159389698" sldId="342"/>
            <ac:spMk id="2" creationId="{080435EA-AD4F-4934-83BC-D5D53AFD93E9}"/>
          </ac:spMkLst>
        </pc:spChg>
        <pc:picChg chg="mod">
          <ac:chgData name="COSMOSFREN" userId="S::cosmosfren_yahoo.com#ext#@risebcg.onmicrosoft.com::5462f5f4-f618-47aa-abd8-fd504e002570" providerId="AD" clId="Web-{3EB0FAEB-12AC-4A2E-B9FA-FADDBCDDECE3}" dt="2022-01-09T07:59:13.802" v="818" actId="1076"/>
          <ac:picMkLst>
            <pc:docMk/>
            <pc:sldMk cId="4159389698" sldId="342"/>
            <ac:picMk id="8" creationId="{6B01C6A5-3C80-4889-B1DA-40342676F95C}"/>
          </ac:picMkLst>
        </pc:picChg>
      </pc:sldChg>
      <pc:sldChg chg="modSp">
        <pc:chgData name="COSMOSFREN" userId="S::cosmosfren_yahoo.com#ext#@risebcg.onmicrosoft.com::5462f5f4-f618-47aa-abd8-fd504e002570" providerId="AD" clId="Web-{3EB0FAEB-12AC-4A2E-B9FA-FADDBCDDECE3}" dt="2022-01-09T07:19:59.101" v="550" actId="1076"/>
        <pc:sldMkLst>
          <pc:docMk/>
          <pc:sldMk cId="1894441827" sldId="358"/>
        </pc:sldMkLst>
        <pc:spChg chg="mod">
          <ac:chgData name="COSMOSFREN" userId="S::cosmosfren_yahoo.com#ext#@risebcg.onmicrosoft.com::5462f5f4-f618-47aa-abd8-fd504e002570" providerId="AD" clId="Web-{3EB0FAEB-12AC-4A2E-B9FA-FADDBCDDECE3}" dt="2022-01-09T07:18:48.365" v="541" actId="1076"/>
          <ac:spMkLst>
            <pc:docMk/>
            <pc:sldMk cId="1894441827" sldId="358"/>
            <ac:spMk id="3" creationId="{2321500F-B116-49E9-B713-1C89E59A92D6}"/>
          </ac:spMkLst>
        </pc:spChg>
        <pc:spChg chg="mod">
          <ac:chgData name="COSMOSFREN" userId="S::cosmosfren_yahoo.com#ext#@risebcg.onmicrosoft.com::5462f5f4-f618-47aa-abd8-fd504e002570" providerId="AD" clId="Web-{3EB0FAEB-12AC-4A2E-B9FA-FADDBCDDECE3}" dt="2022-01-09T07:19:00.443" v="545" actId="1076"/>
          <ac:spMkLst>
            <pc:docMk/>
            <pc:sldMk cId="1894441827" sldId="358"/>
            <ac:spMk id="12" creationId="{95E46411-4A0C-41AA-9250-790D71323EA7}"/>
          </ac:spMkLst>
        </pc:spChg>
        <pc:spChg chg="mod">
          <ac:chgData name="COSMOSFREN" userId="S::cosmosfren_yahoo.com#ext#@risebcg.onmicrosoft.com::5462f5f4-f618-47aa-abd8-fd504e002570" providerId="AD" clId="Web-{3EB0FAEB-12AC-4A2E-B9FA-FADDBCDDECE3}" dt="2022-01-09T07:19:11.881" v="548" actId="1076"/>
          <ac:spMkLst>
            <pc:docMk/>
            <pc:sldMk cId="1894441827" sldId="358"/>
            <ac:spMk id="17" creationId="{815F3179-193A-4F5E-A1A9-12297C608458}"/>
          </ac:spMkLst>
        </pc:spChg>
        <pc:picChg chg="mod">
          <ac:chgData name="COSMOSFREN" userId="S::cosmosfren_yahoo.com#ext#@risebcg.onmicrosoft.com::5462f5f4-f618-47aa-abd8-fd504e002570" providerId="AD" clId="Web-{3EB0FAEB-12AC-4A2E-B9FA-FADDBCDDECE3}" dt="2022-01-09T07:18:53.599" v="543" actId="1076"/>
          <ac:picMkLst>
            <pc:docMk/>
            <pc:sldMk cId="1894441827" sldId="358"/>
            <ac:picMk id="4" creationId="{BA22EAA2-4B47-4688-9DD6-1B3E79191AAF}"/>
          </ac:picMkLst>
        </pc:picChg>
        <pc:picChg chg="mod">
          <ac:chgData name="COSMOSFREN" userId="S::cosmosfren_yahoo.com#ext#@risebcg.onmicrosoft.com::5462f5f4-f618-47aa-abd8-fd504e002570" providerId="AD" clId="Web-{3EB0FAEB-12AC-4A2E-B9FA-FADDBCDDECE3}" dt="2022-01-09T07:19:06.428" v="547" actId="1076"/>
          <ac:picMkLst>
            <pc:docMk/>
            <pc:sldMk cId="1894441827" sldId="358"/>
            <ac:picMk id="6" creationId="{5F5024CD-EB7B-49D0-9E4B-B6BFDC4F5683}"/>
          </ac:picMkLst>
        </pc:picChg>
        <pc:picChg chg="mod">
          <ac:chgData name="COSMOSFREN" userId="S::cosmosfren_yahoo.com#ext#@risebcg.onmicrosoft.com::5462f5f4-f618-47aa-abd8-fd504e002570" providerId="AD" clId="Web-{3EB0FAEB-12AC-4A2E-B9FA-FADDBCDDECE3}" dt="2022-01-09T07:19:04.303" v="546" actId="1076"/>
          <ac:picMkLst>
            <pc:docMk/>
            <pc:sldMk cId="1894441827" sldId="358"/>
            <ac:picMk id="8" creationId="{80090A9D-A882-4EB8-927C-696FEDD289AC}"/>
          </ac:picMkLst>
        </pc:picChg>
        <pc:picChg chg="mod">
          <ac:chgData name="COSMOSFREN" userId="S::cosmosfren_yahoo.com#ext#@risebcg.onmicrosoft.com::5462f5f4-f618-47aa-abd8-fd504e002570" providerId="AD" clId="Web-{3EB0FAEB-12AC-4A2E-B9FA-FADDBCDDECE3}" dt="2022-01-09T07:18:51.287" v="542" actId="1076"/>
          <ac:picMkLst>
            <pc:docMk/>
            <pc:sldMk cId="1894441827" sldId="358"/>
            <ac:picMk id="11" creationId="{BCAB455B-1F72-43F9-AE57-6EC5913938BF}"/>
          </ac:picMkLst>
        </pc:picChg>
        <pc:cxnChg chg="mod">
          <ac:chgData name="COSMOSFREN" userId="S::cosmosfren_yahoo.com#ext#@risebcg.onmicrosoft.com::5462f5f4-f618-47aa-abd8-fd504e002570" providerId="AD" clId="Web-{3EB0FAEB-12AC-4A2E-B9FA-FADDBCDDECE3}" dt="2022-01-09T07:19:59.101" v="550" actId="1076"/>
          <ac:cxnSpMkLst>
            <pc:docMk/>
            <pc:sldMk cId="1894441827" sldId="358"/>
            <ac:cxnSpMk id="5" creationId="{7650244C-E06B-41BA-A77C-2D20639EA927}"/>
          </ac:cxnSpMkLst>
        </pc:cxnChg>
      </pc:sldChg>
      <pc:sldChg chg="modSp">
        <pc:chgData name="COSMOSFREN" userId="S::cosmosfren_yahoo.com#ext#@risebcg.onmicrosoft.com::5462f5f4-f618-47aa-abd8-fd504e002570" providerId="AD" clId="Web-{3EB0FAEB-12AC-4A2E-B9FA-FADDBCDDECE3}" dt="2022-01-09T08:29:35.076" v="884" actId="20577"/>
        <pc:sldMkLst>
          <pc:docMk/>
          <pc:sldMk cId="3531645893" sldId="360"/>
        </pc:sldMkLst>
        <pc:spChg chg="mod">
          <ac:chgData name="COSMOSFREN" userId="S::cosmosfren_yahoo.com#ext#@risebcg.onmicrosoft.com::5462f5f4-f618-47aa-abd8-fd504e002570" providerId="AD" clId="Web-{3EB0FAEB-12AC-4A2E-B9FA-FADDBCDDECE3}" dt="2022-01-09T08:29:35.076" v="884" actId="20577"/>
          <ac:spMkLst>
            <pc:docMk/>
            <pc:sldMk cId="3531645893" sldId="360"/>
            <ac:spMk id="15" creationId="{EA512C5C-B61E-4EDE-A2CD-308BFA2920DA}"/>
          </ac:spMkLst>
        </pc:spChg>
      </pc:sldChg>
    </pc:docChg>
  </pc:docChgLst>
  <pc:docChgLst>
    <pc:chgData name="WESLEY.TBW" userId="S::wesley.tbw_gmail.com#ext#@risebcg.onmicrosoft.com::1034df62-ee6d-4b2f-8a56-03c4406a0a8a" providerId="AD" clId="Web-{D85AE390-7E41-40BF-A7F8-D1E85EDA5A44}"/>
    <pc:docChg chg="addSld modSld">
      <pc:chgData name="WESLEY.TBW" userId="S::wesley.tbw_gmail.com#ext#@risebcg.onmicrosoft.com::1034df62-ee6d-4b2f-8a56-03c4406a0a8a" providerId="AD" clId="Web-{D85AE390-7E41-40BF-A7F8-D1E85EDA5A44}" dt="2022-01-10T09:48:19.945" v="853"/>
      <pc:docMkLst>
        <pc:docMk/>
      </pc:docMkLst>
      <pc:sldChg chg="modSp modNotes">
        <pc:chgData name="WESLEY.TBW" userId="S::wesley.tbw_gmail.com#ext#@risebcg.onmicrosoft.com::1034df62-ee6d-4b2f-8a56-03c4406a0a8a" providerId="AD" clId="Web-{D85AE390-7E41-40BF-A7F8-D1E85EDA5A44}" dt="2022-01-10T08:20:29.072" v="750"/>
        <pc:sldMkLst>
          <pc:docMk/>
          <pc:sldMk cId="2256265757" sldId="315"/>
        </pc:sldMkLst>
        <pc:graphicFrameChg chg="mod modGraphic">
          <ac:chgData name="WESLEY.TBW" userId="S::wesley.tbw_gmail.com#ext#@risebcg.onmicrosoft.com::1034df62-ee6d-4b2f-8a56-03c4406a0a8a" providerId="AD" clId="Web-{D85AE390-7E41-40BF-A7F8-D1E85EDA5A44}" dt="2022-01-10T07:03:53.050" v="241" actId="20577"/>
          <ac:graphicFrameMkLst>
            <pc:docMk/>
            <pc:sldMk cId="2256265757" sldId="315"/>
            <ac:graphicFrameMk id="18" creationId="{2289CFB1-4EE4-43EC-A8B5-4E5FC402B3C5}"/>
          </ac:graphicFrameMkLst>
        </pc:graphicFrameChg>
      </pc:sldChg>
      <pc:sldChg chg="addSp delSp modSp modNotes">
        <pc:chgData name="WESLEY.TBW" userId="S::wesley.tbw_gmail.com#ext#@risebcg.onmicrosoft.com::1034df62-ee6d-4b2f-8a56-03c4406a0a8a" providerId="AD" clId="Web-{D85AE390-7E41-40BF-A7F8-D1E85EDA5A44}" dt="2022-01-10T08:42:54.034" v="771"/>
        <pc:sldMkLst>
          <pc:docMk/>
          <pc:sldMk cId="4084366951" sldId="318"/>
        </pc:sldMkLst>
        <pc:spChg chg="add mod">
          <ac:chgData name="WESLEY.TBW" userId="S::wesley.tbw_gmail.com#ext#@risebcg.onmicrosoft.com::1034df62-ee6d-4b2f-8a56-03c4406a0a8a" providerId="AD" clId="Web-{D85AE390-7E41-40BF-A7F8-D1E85EDA5A44}" dt="2022-01-10T07:25:28.464" v="264" actId="14100"/>
          <ac:spMkLst>
            <pc:docMk/>
            <pc:sldMk cId="4084366951" sldId="318"/>
            <ac:spMk id="3" creationId="{8217E3E6-EBA6-4390-8CAA-BF07F6ECED4C}"/>
          </ac:spMkLst>
        </pc:spChg>
        <pc:spChg chg="mod">
          <ac:chgData name="WESLEY.TBW" userId="S::wesley.tbw_gmail.com#ext#@risebcg.onmicrosoft.com::1034df62-ee6d-4b2f-8a56-03c4406a0a8a" providerId="AD" clId="Web-{D85AE390-7E41-40BF-A7F8-D1E85EDA5A44}" dt="2022-01-10T07:27:37.560" v="285" actId="1076"/>
          <ac:spMkLst>
            <pc:docMk/>
            <pc:sldMk cId="4084366951" sldId="318"/>
            <ac:spMk id="4" creationId="{513CAA53-13D7-4313-8D45-14F4147EA5D0}"/>
          </ac:spMkLst>
        </pc:spChg>
        <pc:spChg chg="add mod">
          <ac:chgData name="WESLEY.TBW" userId="S::wesley.tbw_gmail.com#ext#@risebcg.onmicrosoft.com::1034df62-ee6d-4b2f-8a56-03c4406a0a8a" providerId="AD" clId="Web-{D85AE390-7E41-40BF-A7F8-D1E85EDA5A44}" dt="2022-01-10T07:27:46.764" v="287" actId="14100"/>
          <ac:spMkLst>
            <pc:docMk/>
            <pc:sldMk cId="4084366951" sldId="318"/>
            <ac:spMk id="9" creationId="{A9CC2315-97DB-4A2D-A986-E4654B36B78A}"/>
          </ac:spMkLst>
        </pc:spChg>
        <pc:spChg chg="add mod">
          <ac:chgData name="WESLEY.TBW" userId="S::wesley.tbw_gmail.com#ext#@risebcg.onmicrosoft.com::1034df62-ee6d-4b2f-8a56-03c4406a0a8a" providerId="AD" clId="Web-{D85AE390-7E41-40BF-A7F8-D1E85EDA5A44}" dt="2022-01-10T07:32:30.519" v="356" actId="20577"/>
          <ac:spMkLst>
            <pc:docMk/>
            <pc:sldMk cId="4084366951" sldId="318"/>
            <ac:spMk id="11" creationId="{A6F20F02-BD7A-4398-8CBB-C5E420FA8443}"/>
          </ac:spMkLst>
        </pc:spChg>
        <pc:spChg chg="add del mod">
          <ac:chgData name="WESLEY.TBW" userId="S::wesley.tbw_gmail.com#ext#@risebcg.onmicrosoft.com::1034df62-ee6d-4b2f-8a56-03c4406a0a8a" providerId="AD" clId="Web-{D85AE390-7E41-40BF-A7F8-D1E85EDA5A44}" dt="2022-01-10T07:28:17.030" v="291"/>
          <ac:spMkLst>
            <pc:docMk/>
            <pc:sldMk cId="4084366951" sldId="318"/>
            <ac:spMk id="13" creationId="{DB01F585-4E85-4619-B369-6B1D83E61F0B}"/>
          </ac:spMkLst>
        </pc:spChg>
        <pc:cxnChg chg="add del mod">
          <ac:chgData name="WESLEY.TBW" userId="S::wesley.tbw_gmail.com#ext#@risebcg.onmicrosoft.com::1034df62-ee6d-4b2f-8a56-03c4406a0a8a" providerId="AD" clId="Web-{D85AE390-7E41-40BF-A7F8-D1E85EDA5A44}" dt="2022-01-10T07:25:53.621" v="269"/>
          <ac:cxnSpMkLst>
            <pc:docMk/>
            <pc:sldMk cId="4084366951" sldId="318"/>
            <ac:cxnSpMk id="5" creationId="{3B94711B-385A-4B30-B4C2-763F43BF49F1}"/>
          </ac:cxnSpMkLst>
        </pc:cxnChg>
        <pc:cxnChg chg="add del mod">
          <ac:chgData name="WESLEY.TBW" userId="S::wesley.tbw_gmail.com#ext#@risebcg.onmicrosoft.com::1034df62-ee6d-4b2f-8a56-03c4406a0a8a" providerId="AD" clId="Web-{D85AE390-7E41-40BF-A7F8-D1E85EDA5A44}" dt="2022-01-10T07:26:12.215" v="273"/>
          <ac:cxnSpMkLst>
            <pc:docMk/>
            <pc:sldMk cId="4084366951" sldId="318"/>
            <ac:cxnSpMk id="7" creationId="{3D1FE921-BB5C-4C6D-A3FF-09A94C47081D}"/>
          </ac:cxnSpMkLst>
        </pc:cxnChg>
        <pc:cxnChg chg="add del mod">
          <ac:chgData name="WESLEY.TBW" userId="S::wesley.tbw_gmail.com#ext#@risebcg.onmicrosoft.com::1034df62-ee6d-4b2f-8a56-03c4406a0a8a" providerId="AD" clId="Web-{D85AE390-7E41-40BF-A7F8-D1E85EDA5A44}" dt="2022-01-10T07:26:59.513" v="278"/>
          <ac:cxnSpMkLst>
            <pc:docMk/>
            <pc:sldMk cId="4084366951" sldId="318"/>
            <ac:cxnSpMk id="8" creationId="{A1F88323-C31C-49AF-8E88-B4F6BB2D81E3}"/>
          </ac:cxnSpMkLst>
        </pc:cxnChg>
      </pc:sldChg>
      <pc:sldChg chg="addAnim delAnim modAnim">
        <pc:chgData name="WESLEY.TBW" userId="S::wesley.tbw_gmail.com#ext#@risebcg.onmicrosoft.com::1034df62-ee6d-4b2f-8a56-03c4406a0a8a" providerId="AD" clId="Web-{D85AE390-7E41-40BF-A7F8-D1E85EDA5A44}" dt="2022-01-10T09:48:19.945" v="853"/>
        <pc:sldMkLst>
          <pc:docMk/>
          <pc:sldMk cId="2316358039" sldId="325"/>
        </pc:sldMkLst>
      </pc:sldChg>
      <pc:sldChg chg="addAnim modAnim">
        <pc:chgData name="WESLEY.TBW" userId="S::wesley.tbw_gmail.com#ext#@risebcg.onmicrosoft.com::1034df62-ee6d-4b2f-8a56-03c4406a0a8a" providerId="AD" clId="Web-{D85AE390-7E41-40BF-A7F8-D1E85EDA5A44}" dt="2022-01-10T09:47:36.350" v="850"/>
        <pc:sldMkLst>
          <pc:docMk/>
          <pc:sldMk cId="2160415509" sldId="326"/>
        </pc:sldMkLst>
      </pc:sldChg>
      <pc:sldChg chg="addSp modSp modNotes">
        <pc:chgData name="WESLEY.TBW" userId="S::wesley.tbw_gmail.com#ext#@risebcg.onmicrosoft.com::1034df62-ee6d-4b2f-8a56-03c4406a0a8a" providerId="AD" clId="Web-{D85AE390-7E41-40BF-A7F8-D1E85EDA5A44}" dt="2022-01-10T09:38:39.915" v="835" actId="1076"/>
        <pc:sldMkLst>
          <pc:docMk/>
          <pc:sldMk cId="1249418479" sldId="334"/>
        </pc:sldMkLst>
        <pc:spChg chg="add mod">
          <ac:chgData name="WESLEY.TBW" userId="S::wesley.tbw_gmail.com#ext#@risebcg.onmicrosoft.com::1034df62-ee6d-4b2f-8a56-03c4406a0a8a" providerId="AD" clId="Web-{D85AE390-7E41-40BF-A7F8-D1E85EDA5A44}" dt="2022-01-10T09:38:29.634" v="830" actId="20577"/>
          <ac:spMkLst>
            <pc:docMk/>
            <pc:sldMk cId="1249418479" sldId="334"/>
            <ac:spMk id="10" creationId="{D34D6A7A-78CE-4CCE-9DC5-BD86F4FD8AC4}"/>
          </ac:spMkLst>
        </pc:spChg>
        <pc:spChg chg="add mod">
          <ac:chgData name="WESLEY.TBW" userId="S::wesley.tbw_gmail.com#ext#@risebcg.onmicrosoft.com::1034df62-ee6d-4b2f-8a56-03c4406a0a8a" providerId="AD" clId="Web-{D85AE390-7E41-40BF-A7F8-D1E85EDA5A44}" dt="2022-01-10T09:38:39.915" v="835" actId="1076"/>
          <ac:spMkLst>
            <pc:docMk/>
            <pc:sldMk cId="1249418479" sldId="334"/>
            <ac:spMk id="16" creationId="{9A8FC709-A485-422C-BA50-F810E51C8CD2}"/>
          </ac:spMkLst>
        </pc:spChg>
      </pc:sldChg>
      <pc:sldChg chg="addSp modSp">
        <pc:chgData name="WESLEY.TBW" userId="S::wesley.tbw_gmail.com#ext#@risebcg.onmicrosoft.com::1034df62-ee6d-4b2f-8a56-03c4406a0a8a" providerId="AD" clId="Web-{D85AE390-7E41-40BF-A7F8-D1E85EDA5A44}" dt="2022-01-10T09:47:11.287" v="848" actId="1076"/>
        <pc:sldMkLst>
          <pc:docMk/>
          <pc:sldMk cId="3391215681" sldId="339"/>
        </pc:sldMkLst>
        <pc:spChg chg="mod">
          <ac:chgData name="WESLEY.TBW" userId="S::wesley.tbw_gmail.com#ext#@risebcg.onmicrosoft.com::1034df62-ee6d-4b2f-8a56-03c4406a0a8a" providerId="AD" clId="Web-{D85AE390-7E41-40BF-A7F8-D1E85EDA5A44}" dt="2022-01-10T09:44:57.659" v="837" actId="1076"/>
          <ac:spMkLst>
            <pc:docMk/>
            <pc:sldMk cId="3391215681" sldId="339"/>
            <ac:spMk id="47" creationId="{B72F6C48-B470-4163-9AC9-2982A10656DA}"/>
          </ac:spMkLst>
        </pc:spChg>
        <pc:grpChg chg="add mod">
          <ac:chgData name="WESLEY.TBW" userId="S::wesley.tbw_gmail.com#ext#@risebcg.onmicrosoft.com::1034df62-ee6d-4b2f-8a56-03c4406a0a8a" providerId="AD" clId="Web-{D85AE390-7E41-40BF-A7F8-D1E85EDA5A44}" dt="2022-01-10T09:46:42.521" v="842" actId="1076"/>
          <ac:grpSpMkLst>
            <pc:docMk/>
            <pc:sldMk cId="3391215681" sldId="339"/>
            <ac:grpSpMk id="45" creationId="{8DAC9C6C-086A-4E16-A310-6100E5979C46}"/>
          </ac:grpSpMkLst>
        </pc:grpChg>
        <pc:grpChg chg="add mod">
          <ac:chgData name="WESLEY.TBW" userId="S::wesley.tbw_gmail.com#ext#@risebcg.onmicrosoft.com::1034df62-ee6d-4b2f-8a56-03c4406a0a8a" providerId="AD" clId="Web-{D85AE390-7E41-40BF-A7F8-D1E85EDA5A44}" dt="2022-01-10T09:47:09.115" v="847" actId="1076"/>
          <ac:grpSpMkLst>
            <pc:docMk/>
            <pc:sldMk cId="3391215681" sldId="339"/>
            <ac:grpSpMk id="46" creationId="{4ABE6692-7EE9-44C2-9397-CB90DBA38CB3}"/>
          </ac:grpSpMkLst>
        </pc:grpChg>
        <pc:grpChg chg="add mod">
          <ac:chgData name="WESLEY.TBW" userId="S::wesley.tbw_gmail.com#ext#@risebcg.onmicrosoft.com::1034df62-ee6d-4b2f-8a56-03c4406a0a8a" providerId="AD" clId="Web-{D85AE390-7E41-40BF-A7F8-D1E85EDA5A44}" dt="2022-01-10T09:47:11.287" v="848" actId="1076"/>
          <ac:grpSpMkLst>
            <pc:docMk/>
            <pc:sldMk cId="3391215681" sldId="339"/>
            <ac:grpSpMk id="70" creationId="{1C6C7C9E-B94C-40CE-A89F-A87214022882}"/>
          </ac:grpSpMkLst>
        </pc:grpChg>
      </pc:sldChg>
      <pc:sldChg chg="modSp modNotes">
        <pc:chgData name="WESLEY.TBW" userId="S::wesley.tbw_gmail.com#ext#@risebcg.onmicrosoft.com::1034df62-ee6d-4b2f-8a56-03c4406a0a8a" providerId="AD" clId="Web-{D85AE390-7E41-40BF-A7F8-D1E85EDA5A44}" dt="2022-01-10T08:01:07.019" v="377" actId="1076"/>
        <pc:sldMkLst>
          <pc:docMk/>
          <pc:sldMk cId="4159389698" sldId="342"/>
        </pc:sldMkLst>
        <pc:spChg chg="mod">
          <ac:chgData name="WESLEY.TBW" userId="S::wesley.tbw_gmail.com#ext#@risebcg.onmicrosoft.com::1034df62-ee6d-4b2f-8a56-03c4406a0a8a" providerId="AD" clId="Web-{D85AE390-7E41-40BF-A7F8-D1E85EDA5A44}" dt="2022-01-10T08:01:07.019" v="377" actId="1076"/>
          <ac:spMkLst>
            <pc:docMk/>
            <pc:sldMk cId="4159389698" sldId="342"/>
            <ac:spMk id="23" creationId="{41AFB02C-DB44-4F3C-812B-7D52A88090A6}"/>
          </ac:spMkLst>
        </pc:spChg>
      </pc:sldChg>
      <pc:sldChg chg="new">
        <pc:chgData name="WESLEY.TBW" userId="S::wesley.tbw_gmail.com#ext#@risebcg.onmicrosoft.com::1034df62-ee6d-4b2f-8a56-03c4406a0a8a" providerId="AD" clId="Web-{D85AE390-7E41-40BF-A7F8-D1E85EDA5A44}" dt="2022-01-10T08:42:56.081" v="772"/>
        <pc:sldMkLst>
          <pc:docMk/>
          <pc:sldMk cId="1067422059" sldId="372"/>
        </pc:sldMkLst>
      </pc:sldChg>
      <pc:sldChg chg="delSp modSp">
        <pc:chgData name="WESLEY.TBW" userId="S::wesley.tbw_gmail.com#ext#@risebcg.onmicrosoft.com::1034df62-ee6d-4b2f-8a56-03c4406a0a8a" providerId="AD" clId="Web-{D85AE390-7E41-40BF-A7F8-D1E85EDA5A44}" dt="2022-01-10T08:44:03.676" v="787" actId="1076"/>
        <pc:sldMkLst>
          <pc:docMk/>
          <pc:sldMk cId="3904895489" sldId="373"/>
        </pc:sldMkLst>
        <pc:spChg chg="mod">
          <ac:chgData name="WESLEY.TBW" userId="S::wesley.tbw_gmail.com#ext#@risebcg.onmicrosoft.com::1034df62-ee6d-4b2f-8a56-03c4406a0a8a" providerId="AD" clId="Web-{D85AE390-7E41-40BF-A7F8-D1E85EDA5A44}" dt="2022-01-10T08:44:03.676" v="787" actId="1076"/>
          <ac:spMkLst>
            <pc:docMk/>
            <pc:sldMk cId="3904895489" sldId="373"/>
            <ac:spMk id="2" creationId="{BCD53564-10CC-4ECC-9580-BB1CFAAE4632}"/>
          </ac:spMkLst>
        </pc:spChg>
        <pc:spChg chg="del">
          <ac:chgData name="WESLEY.TBW" userId="S::wesley.tbw_gmail.com#ext#@risebcg.onmicrosoft.com::1034df62-ee6d-4b2f-8a56-03c4406a0a8a" providerId="AD" clId="Web-{D85AE390-7E41-40BF-A7F8-D1E85EDA5A44}" dt="2022-01-10T08:43:58.364" v="784"/>
          <ac:spMkLst>
            <pc:docMk/>
            <pc:sldMk cId="3904895489" sldId="373"/>
            <ac:spMk id="3" creationId="{0525AA1D-6C37-4E65-82C3-B6D9FA5B86E8}"/>
          </ac:spMkLst>
        </pc:spChg>
      </pc:sldChg>
      <pc:sldChg chg="delSp modSp new">
        <pc:chgData name="WESLEY.TBW" userId="S::wesley.tbw_gmail.com#ext#@risebcg.onmicrosoft.com::1034df62-ee6d-4b2f-8a56-03c4406a0a8a" providerId="AD" clId="Web-{D85AE390-7E41-40BF-A7F8-D1E85EDA5A44}" dt="2022-01-10T08:44:11.239" v="790" actId="14100"/>
        <pc:sldMkLst>
          <pc:docMk/>
          <pc:sldMk cId="1525880247" sldId="374"/>
        </pc:sldMkLst>
        <pc:spChg chg="mod">
          <ac:chgData name="WESLEY.TBW" userId="S::wesley.tbw_gmail.com#ext#@risebcg.onmicrosoft.com::1034df62-ee6d-4b2f-8a56-03c4406a0a8a" providerId="AD" clId="Web-{D85AE390-7E41-40BF-A7F8-D1E85EDA5A44}" dt="2022-01-10T08:44:11.239" v="790" actId="14100"/>
          <ac:spMkLst>
            <pc:docMk/>
            <pc:sldMk cId="1525880247" sldId="374"/>
            <ac:spMk id="2" creationId="{A39A4D9F-6CD8-4720-9D48-D7FA06F4715B}"/>
          </ac:spMkLst>
        </pc:spChg>
        <pc:spChg chg="del">
          <ac:chgData name="WESLEY.TBW" userId="S::wesley.tbw_gmail.com#ext#@risebcg.onmicrosoft.com::1034df62-ee6d-4b2f-8a56-03c4406a0a8a" providerId="AD" clId="Web-{D85AE390-7E41-40BF-A7F8-D1E85EDA5A44}" dt="2022-01-10T08:44:06.864" v="788"/>
          <ac:spMkLst>
            <pc:docMk/>
            <pc:sldMk cId="1525880247" sldId="374"/>
            <ac:spMk id="3" creationId="{E67C9140-7DD7-49FE-8C79-DF8CC373CFEC}"/>
          </ac:spMkLst>
        </pc:spChg>
      </pc:sldChg>
    </pc:docChg>
  </pc:docChgLst>
  <pc:docChgLst>
    <pc:chgData name="EVELYNSM.YONG" userId="S::evelynsm.yong_gmail.com#ext#@risebcg.onmicrosoft.com::67a27a72-2420-4d38-b745-316a53f4b99a" providerId="AD" clId="Web-{C2525DC1-AD49-4805-9A67-C03488954F44}"/>
    <pc:docChg chg="modSld">
      <pc:chgData name="EVELYNSM.YONG" userId="S::evelynsm.yong_gmail.com#ext#@risebcg.onmicrosoft.com::67a27a72-2420-4d38-b745-316a53f4b99a" providerId="AD" clId="Web-{C2525DC1-AD49-4805-9A67-C03488954F44}" dt="2022-01-10T12:40:30.834" v="534"/>
      <pc:docMkLst>
        <pc:docMk/>
      </pc:docMkLst>
      <pc:sldChg chg="modNotes">
        <pc:chgData name="EVELYNSM.YONG" userId="S::evelynsm.yong_gmail.com#ext#@risebcg.onmicrosoft.com::67a27a72-2420-4d38-b745-316a53f4b99a" providerId="AD" clId="Web-{C2525DC1-AD49-4805-9A67-C03488954F44}" dt="2022-01-10T11:07:27.861" v="181"/>
        <pc:sldMkLst>
          <pc:docMk/>
          <pc:sldMk cId="3391215681" sldId="339"/>
        </pc:sldMkLst>
      </pc:sldChg>
      <pc:sldChg chg="modSp modNotes">
        <pc:chgData name="EVELYNSM.YONG" userId="S::evelynsm.yong_gmail.com#ext#@risebcg.onmicrosoft.com::67a27a72-2420-4d38-b745-316a53f4b99a" providerId="AD" clId="Web-{C2525DC1-AD49-4805-9A67-C03488954F44}" dt="2022-01-10T12:40:30.834" v="534"/>
        <pc:sldMkLst>
          <pc:docMk/>
          <pc:sldMk cId="3531645893" sldId="360"/>
        </pc:sldMkLst>
        <pc:spChg chg="mod">
          <ac:chgData name="EVELYNSM.YONG" userId="S::evelynsm.yong_gmail.com#ext#@risebcg.onmicrosoft.com::67a27a72-2420-4d38-b745-316a53f4b99a" providerId="AD" clId="Web-{C2525DC1-AD49-4805-9A67-C03488954F44}" dt="2022-01-10T11:00:16.228" v="37"/>
          <ac:spMkLst>
            <pc:docMk/>
            <pc:sldMk cId="3531645893" sldId="360"/>
            <ac:spMk id="3" creationId="{FC2A26BC-6E3B-4E2F-9C36-577BA7E9132E}"/>
          </ac:spMkLst>
        </pc:spChg>
        <pc:spChg chg="mod">
          <ac:chgData name="EVELYNSM.YONG" userId="S::evelynsm.yong_gmail.com#ext#@risebcg.onmicrosoft.com::67a27a72-2420-4d38-b745-316a53f4b99a" providerId="AD" clId="Web-{C2525DC1-AD49-4805-9A67-C03488954F44}" dt="2022-01-10T11:02:04.328" v="45"/>
          <ac:spMkLst>
            <pc:docMk/>
            <pc:sldMk cId="3531645893" sldId="360"/>
            <ac:spMk id="5" creationId="{1999C9A4-8C8B-43CC-B77D-B8C58575D4DE}"/>
          </ac:spMkLst>
        </pc:spChg>
        <pc:spChg chg="mod">
          <ac:chgData name="EVELYNSM.YONG" userId="S::evelynsm.yong_gmail.com#ext#@risebcg.onmicrosoft.com::67a27a72-2420-4d38-b745-316a53f4b99a" providerId="AD" clId="Web-{C2525DC1-AD49-4805-9A67-C03488954F44}" dt="2022-01-10T11:01:25.935" v="43"/>
          <ac:spMkLst>
            <pc:docMk/>
            <pc:sldMk cId="3531645893" sldId="360"/>
            <ac:spMk id="18" creationId="{83C6C493-EE06-4670-B1AB-91DD5175B793}"/>
          </ac:spMkLst>
        </pc:spChg>
        <pc:spChg chg="mod">
          <ac:chgData name="EVELYNSM.YONG" userId="S::evelynsm.yong_gmail.com#ext#@risebcg.onmicrosoft.com::67a27a72-2420-4d38-b745-316a53f4b99a" providerId="AD" clId="Web-{C2525DC1-AD49-4805-9A67-C03488954F44}" dt="2022-01-10T11:01:58.530" v="44"/>
          <ac:spMkLst>
            <pc:docMk/>
            <pc:sldMk cId="3531645893" sldId="360"/>
            <ac:spMk id="19" creationId="{950C64E7-6661-4AEA-8068-716AD3707128}"/>
          </ac:spMkLst>
        </pc:spChg>
        <pc:spChg chg="mod">
          <ac:chgData name="EVELYNSM.YONG" userId="S::evelynsm.yong_gmail.com#ext#@risebcg.onmicrosoft.com::67a27a72-2420-4d38-b745-316a53f4b99a" providerId="AD" clId="Web-{C2525DC1-AD49-4805-9A67-C03488954F44}" dt="2022-01-10T11:03:52.724" v="48" actId="1076"/>
          <ac:spMkLst>
            <pc:docMk/>
            <pc:sldMk cId="3531645893" sldId="360"/>
            <ac:spMk id="21" creationId="{3B725847-CDC2-41AB-A059-69A3E5F93F82}"/>
          </ac:spMkLst>
        </pc:spChg>
        <pc:spChg chg="mod">
          <ac:chgData name="EVELYNSM.YONG" userId="S::evelynsm.yong_gmail.com#ext#@risebcg.onmicrosoft.com::67a27a72-2420-4d38-b745-316a53f4b99a" providerId="AD" clId="Web-{C2525DC1-AD49-4805-9A67-C03488954F44}" dt="2022-01-10T11:03:52.709" v="47" actId="1076"/>
          <ac:spMkLst>
            <pc:docMk/>
            <pc:sldMk cId="3531645893" sldId="360"/>
            <ac:spMk id="24" creationId="{CEFC4E90-FB9D-4E3E-86B1-5712D705BC99}"/>
          </ac:spMkLst>
        </pc:spChg>
        <pc:spChg chg="mod">
          <ac:chgData name="EVELYNSM.YONG" userId="S::evelynsm.yong_gmail.com#ext#@risebcg.onmicrosoft.com::67a27a72-2420-4d38-b745-316a53f4b99a" providerId="AD" clId="Web-{C2525DC1-AD49-4805-9A67-C03488954F44}" dt="2022-01-10T11:00:12.274" v="36"/>
          <ac:spMkLst>
            <pc:docMk/>
            <pc:sldMk cId="3531645893" sldId="360"/>
            <ac:spMk id="27" creationId="{9C31BED3-CE5F-440A-A9B8-F5924562E1BA}"/>
          </ac:spMkLst>
        </pc:spChg>
        <pc:spChg chg="mod">
          <ac:chgData name="EVELYNSM.YONG" userId="S::evelynsm.yong_gmail.com#ext#@risebcg.onmicrosoft.com::67a27a72-2420-4d38-b745-316a53f4b99a" providerId="AD" clId="Web-{C2525DC1-AD49-4805-9A67-C03488954F44}" dt="2022-01-10T11:00:26.666" v="38" actId="14100"/>
          <ac:spMkLst>
            <pc:docMk/>
            <pc:sldMk cId="3531645893" sldId="360"/>
            <ac:spMk id="29" creationId="{C9BEC35E-523C-4554-8EBD-4475698ECF55}"/>
          </ac:spMkLst>
        </pc:spChg>
        <pc:spChg chg="mod">
          <ac:chgData name="EVELYNSM.YONG" userId="S::evelynsm.yong_gmail.com#ext#@risebcg.onmicrosoft.com::67a27a72-2420-4d38-b745-316a53f4b99a" providerId="AD" clId="Web-{C2525DC1-AD49-4805-9A67-C03488954F44}" dt="2022-01-10T11:02:28.438" v="46"/>
          <ac:spMkLst>
            <pc:docMk/>
            <pc:sldMk cId="3531645893" sldId="360"/>
            <ac:spMk id="32" creationId="{643819E7-FC5A-44D2-A6BA-F2C1071FA836}"/>
          </ac:spMkLst>
        </pc:spChg>
        <pc:spChg chg="mod">
          <ac:chgData name="EVELYNSM.YONG" userId="S::evelynsm.yong_gmail.com#ext#@risebcg.onmicrosoft.com::67a27a72-2420-4d38-b745-316a53f4b99a" providerId="AD" clId="Web-{C2525DC1-AD49-4805-9A67-C03488954F44}" dt="2022-01-10T11:01:17.309" v="41"/>
          <ac:spMkLst>
            <pc:docMk/>
            <pc:sldMk cId="3531645893" sldId="360"/>
            <ac:spMk id="33" creationId="{49617808-6BA1-41EC-8873-001A45EF30D5}"/>
          </ac:spMkLst>
        </pc:spChg>
        <pc:spChg chg="mod">
          <ac:chgData name="EVELYNSM.YONG" userId="S::evelynsm.yong_gmail.com#ext#@risebcg.onmicrosoft.com::67a27a72-2420-4d38-b745-316a53f4b99a" providerId="AD" clId="Web-{C2525DC1-AD49-4805-9A67-C03488954F44}" dt="2022-01-10T10:59:08.865" v="24"/>
          <ac:spMkLst>
            <pc:docMk/>
            <pc:sldMk cId="3531645893" sldId="360"/>
            <ac:spMk id="34" creationId="{BB464795-1EE5-4DAA-81B4-5DD73A621377}"/>
          </ac:spMkLst>
        </pc:spChg>
        <pc:spChg chg="mod">
          <ac:chgData name="EVELYNSM.YONG" userId="S::evelynsm.yong_gmail.com#ext#@risebcg.onmicrosoft.com::67a27a72-2420-4d38-b745-316a53f4b99a" providerId="AD" clId="Web-{C2525DC1-AD49-4805-9A67-C03488954F44}" dt="2022-01-10T10:59:30.663" v="28"/>
          <ac:spMkLst>
            <pc:docMk/>
            <pc:sldMk cId="3531645893" sldId="360"/>
            <ac:spMk id="35" creationId="{BEBA2DB5-D01A-45D1-B10F-CDA2A5C3CE6D}"/>
          </ac:spMkLst>
        </pc:spChg>
        <pc:spChg chg="mod">
          <ac:chgData name="EVELYNSM.YONG" userId="S::evelynsm.yong_gmail.com#ext#@risebcg.onmicrosoft.com::67a27a72-2420-4d38-b745-316a53f4b99a" providerId="AD" clId="Web-{C2525DC1-AD49-4805-9A67-C03488954F44}" dt="2022-01-10T10:59:36.272" v="30"/>
          <ac:spMkLst>
            <pc:docMk/>
            <pc:sldMk cId="3531645893" sldId="360"/>
            <ac:spMk id="36" creationId="{078A3856-3300-433F-A501-B031E92BEAC1}"/>
          </ac:spMkLst>
        </pc:spChg>
        <pc:spChg chg="mod">
          <ac:chgData name="EVELYNSM.YONG" userId="S::evelynsm.yong_gmail.com#ext#@risebcg.onmicrosoft.com::67a27a72-2420-4d38-b745-316a53f4b99a" providerId="AD" clId="Web-{C2525DC1-AD49-4805-9A67-C03488954F44}" dt="2022-01-10T10:59:33.350" v="29"/>
          <ac:spMkLst>
            <pc:docMk/>
            <pc:sldMk cId="3531645893" sldId="360"/>
            <ac:spMk id="37" creationId="{4AB50FB2-2592-4F25-B501-5E5ED17825ED}"/>
          </ac:spMkLst>
        </pc:spChg>
        <pc:spChg chg="mod">
          <ac:chgData name="EVELYNSM.YONG" userId="S::evelynsm.yong_gmail.com#ext#@risebcg.onmicrosoft.com::67a27a72-2420-4d38-b745-316a53f4b99a" providerId="AD" clId="Web-{C2525DC1-AD49-4805-9A67-C03488954F44}" dt="2022-01-10T10:59:39.304" v="31"/>
          <ac:spMkLst>
            <pc:docMk/>
            <pc:sldMk cId="3531645893" sldId="360"/>
            <ac:spMk id="38" creationId="{CB428AE9-51B3-41CB-A62A-62EA6128CCE3}"/>
          </ac:spMkLst>
        </pc:spChg>
        <pc:spChg chg="mod">
          <ac:chgData name="EVELYNSM.YONG" userId="S::evelynsm.yong_gmail.com#ext#@risebcg.onmicrosoft.com::67a27a72-2420-4d38-b745-316a53f4b99a" providerId="AD" clId="Web-{C2525DC1-AD49-4805-9A67-C03488954F44}" dt="2022-01-10T12:37:28.393" v="446" actId="14100"/>
          <ac:spMkLst>
            <pc:docMk/>
            <pc:sldMk cId="3531645893" sldId="360"/>
            <ac:spMk id="40" creationId="{ECF14FD3-8E08-4762-B1DE-BECAD18D177B}"/>
          </ac:spMkLst>
        </pc:spChg>
        <pc:cxnChg chg="mod">
          <ac:chgData name="EVELYNSM.YONG" userId="S::evelynsm.yong_gmail.com#ext#@risebcg.onmicrosoft.com::67a27a72-2420-4d38-b745-316a53f4b99a" providerId="AD" clId="Web-{C2525DC1-AD49-4805-9A67-C03488954F44}" dt="2022-01-10T10:59:58.102" v="33"/>
          <ac:cxnSpMkLst>
            <pc:docMk/>
            <pc:sldMk cId="3531645893" sldId="360"/>
            <ac:cxnSpMk id="31" creationId="{F4074082-46FF-4E13-BA1B-8AFDF7803860}"/>
          </ac:cxnSpMkLst>
        </pc:cxnChg>
        <pc:cxnChg chg="mod">
          <ac:chgData name="EVELYNSM.YONG" userId="S::evelynsm.yong_gmail.com#ext#@risebcg.onmicrosoft.com::67a27a72-2420-4d38-b745-316a53f4b99a" providerId="AD" clId="Web-{C2525DC1-AD49-4805-9A67-C03488954F44}" dt="2022-01-10T10:59:55.523" v="32"/>
          <ac:cxnSpMkLst>
            <pc:docMk/>
            <pc:sldMk cId="3531645893" sldId="360"/>
            <ac:cxnSpMk id="39" creationId="{C02C1C41-DC87-44F6-B172-862875871040}"/>
          </ac:cxnSpMkLst>
        </pc:cxnChg>
      </pc:sldChg>
      <pc:sldChg chg="modNotes">
        <pc:chgData name="EVELYNSM.YONG" userId="S::evelynsm.yong_gmail.com#ext#@risebcg.onmicrosoft.com::67a27a72-2420-4d38-b745-316a53f4b99a" providerId="AD" clId="Web-{C2525DC1-AD49-4805-9A67-C03488954F44}" dt="2022-01-10T11:04:24.664" v="69"/>
        <pc:sldMkLst>
          <pc:docMk/>
          <pc:sldMk cId="1638764710" sldId="382"/>
        </pc:sldMkLst>
      </pc:sldChg>
    </pc:docChg>
  </pc:docChgLst>
  <pc:docChgLst>
    <pc:chgData name="EVELYNSM.YONG" userId="S::evelynsm.yong_gmail.com#ext#@risebcg.onmicrosoft.com::67a27a72-2420-4d38-b745-316a53f4b99a" providerId="AD" clId="Web-{F7F9ED99-F543-40A2-8A6C-8021AD617F06}"/>
    <pc:docChg chg="addSld delSld modSld sldOrd">
      <pc:chgData name="EVELYNSM.YONG" userId="S::evelynsm.yong_gmail.com#ext#@risebcg.onmicrosoft.com::67a27a72-2420-4d38-b745-316a53f4b99a" providerId="AD" clId="Web-{F7F9ED99-F543-40A2-8A6C-8021AD617F06}" dt="2022-01-11T03:32:22.964" v="998" actId="1076"/>
      <pc:docMkLst>
        <pc:docMk/>
      </pc:docMkLst>
      <pc:sldChg chg="addSp modSp ord">
        <pc:chgData name="EVELYNSM.YONG" userId="S::evelynsm.yong_gmail.com#ext#@risebcg.onmicrosoft.com::67a27a72-2420-4d38-b745-316a53f4b99a" providerId="AD" clId="Web-{F7F9ED99-F543-40A2-8A6C-8021AD617F06}" dt="2022-01-11T02:59:43.378" v="291" actId="20577"/>
        <pc:sldMkLst>
          <pc:docMk/>
          <pc:sldMk cId="2761597836" sldId="317"/>
        </pc:sldMkLst>
        <pc:spChg chg="mod">
          <ac:chgData name="EVELYNSM.YONG" userId="S::evelynsm.yong_gmail.com#ext#@risebcg.onmicrosoft.com::67a27a72-2420-4d38-b745-316a53f4b99a" providerId="AD" clId="Web-{F7F9ED99-F543-40A2-8A6C-8021AD617F06}" dt="2022-01-11T02:59:32.300" v="290"/>
          <ac:spMkLst>
            <pc:docMk/>
            <pc:sldMk cId="2761597836" sldId="317"/>
            <ac:spMk id="2" creationId="{1CAEE4F4-60D4-46CA-A79F-1CD22235EEA0}"/>
          </ac:spMkLst>
        </pc:spChg>
        <pc:spChg chg="mod">
          <ac:chgData name="EVELYNSM.YONG" userId="S::evelynsm.yong_gmail.com#ext#@risebcg.onmicrosoft.com::67a27a72-2420-4d38-b745-316a53f4b99a" providerId="AD" clId="Web-{F7F9ED99-F543-40A2-8A6C-8021AD617F06}" dt="2022-01-11T02:59:43.378" v="291" actId="20577"/>
          <ac:spMkLst>
            <pc:docMk/>
            <pc:sldMk cId="2761597836" sldId="317"/>
            <ac:spMk id="3" creationId="{3AAD55FA-63B7-4DBA-8DC0-293DEF7C309C}"/>
          </ac:spMkLst>
        </pc:spChg>
        <pc:spChg chg="add">
          <ac:chgData name="EVELYNSM.YONG" userId="S::evelynsm.yong_gmail.com#ext#@risebcg.onmicrosoft.com::67a27a72-2420-4d38-b745-316a53f4b99a" providerId="AD" clId="Web-{F7F9ED99-F543-40A2-8A6C-8021AD617F06}" dt="2022-01-11T02:59:23.565" v="286"/>
          <ac:spMkLst>
            <pc:docMk/>
            <pc:sldMk cId="2761597836" sldId="317"/>
            <ac:spMk id="4" creationId="{47FBA980-748F-45F3-A601-867538EAE4C8}"/>
          </ac:spMkLst>
        </pc:spChg>
        <pc:picChg chg="mod">
          <ac:chgData name="EVELYNSM.YONG" userId="S::evelynsm.yong_gmail.com#ext#@risebcg.onmicrosoft.com::67a27a72-2420-4d38-b745-316a53f4b99a" providerId="AD" clId="Web-{F7F9ED99-F543-40A2-8A6C-8021AD617F06}" dt="2022-01-11T02:59:25.362" v="288" actId="1076"/>
          <ac:picMkLst>
            <pc:docMk/>
            <pc:sldMk cId="2761597836" sldId="317"/>
            <ac:picMk id="5" creationId="{EFAB945F-9334-4743-9C72-A318D57D242D}"/>
          </ac:picMkLst>
        </pc:picChg>
        <pc:picChg chg="add">
          <ac:chgData name="EVELYNSM.YONG" userId="S::evelynsm.yong_gmail.com#ext#@risebcg.onmicrosoft.com::67a27a72-2420-4d38-b745-316a53f4b99a" providerId="AD" clId="Web-{F7F9ED99-F543-40A2-8A6C-8021AD617F06}" dt="2022-01-11T02:59:23.581" v="287"/>
          <ac:picMkLst>
            <pc:docMk/>
            <pc:sldMk cId="2761597836" sldId="317"/>
            <ac:picMk id="9" creationId="{D1197DB7-AECA-45D2-B625-C5A366E0F15B}"/>
          </ac:picMkLst>
        </pc:picChg>
      </pc:sldChg>
      <pc:sldChg chg="addSp modSp">
        <pc:chgData name="EVELYNSM.YONG" userId="S::evelynsm.yong_gmail.com#ext#@risebcg.onmicrosoft.com::67a27a72-2420-4d38-b745-316a53f4b99a" providerId="AD" clId="Web-{F7F9ED99-F543-40A2-8A6C-8021AD617F06}" dt="2022-01-11T03:32:22.964" v="998" actId="1076"/>
        <pc:sldMkLst>
          <pc:docMk/>
          <pc:sldMk cId="3666302761" sldId="324"/>
        </pc:sldMkLst>
        <pc:spChg chg="mod">
          <ac:chgData name="EVELYNSM.YONG" userId="S::evelynsm.yong_gmail.com#ext#@risebcg.onmicrosoft.com::67a27a72-2420-4d38-b745-316a53f4b99a" providerId="AD" clId="Web-{F7F9ED99-F543-40A2-8A6C-8021AD617F06}" dt="2022-01-11T03:32:07.417" v="991" actId="20577"/>
          <ac:spMkLst>
            <pc:docMk/>
            <pc:sldMk cId="3666302761" sldId="324"/>
            <ac:spMk id="28" creationId="{5BEF8CBE-6A99-4BE1-8789-ABAC27A176FF}"/>
          </ac:spMkLst>
        </pc:spChg>
        <pc:cxnChg chg="add mod">
          <ac:chgData name="EVELYNSM.YONG" userId="S::evelynsm.yong_gmail.com#ext#@risebcg.onmicrosoft.com::67a27a72-2420-4d38-b745-316a53f4b99a" providerId="AD" clId="Web-{F7F9ED99-F543-40A2-8A6C-8021AD617F06}" dt="2022-01-11T03:32:22.964" v="998" actId="1076"/>
          <ac:cxnSpMkLst>
            <pc:docMk/>
            <pc:sldMk cId="3666302761" sldId="324"/>
            <ac:cxnSpMk id="2" creationId="{B63EFFEA-9E3A-4A13-9654-5C684A6E316D}"/>
          </ac:cxnSpMkLst>
        </pc:cxnChg>
      </pc:sldChg>
      <pc:sldChg chg="delSp modSp">
        <pc:chgData name="EVELYNSM.YONG" userId="S::evelynsm.yong_gmail.com#ext#@risebcg.onmicrosoft.com::67a27a72-2420-4d38-b745-316a53f4b99a" providerId="AD" clId="Web-{F7F9ED99-F543-40A2-8A6C-8021AD617F06}" dt="2022-01-11T03:03:23.742" v="359" actId="1076"/>
        <pc:sldMkLst>
          <pc:docMk/>
          <pc:sldMk cId="2160415509" sldId="326"/>
        </pc:sldMkLst>
        <pc:spChg chg="mod">
          <ac:chgData name="EVELYNSM.YONG" userId="S::evelynsm.yong_gmail.com#ext#@risebcg.onmicrosoft.com::67a27a72-2420-4d38-b745-316a53f4b99a" providerId="AD" clId="Web-{F7F9ED99-F543-40A2-8A6C-8021AD617F06}" dt="2022-01-11T03:03:19.258" v="357" actId="1076"/>
          <ac:spMkLst>
            <pc:docMk/>
            <pc:sldMk cId="2160415509" sldId="326"/>
            <ac:spMk id="3" creationId="{A06E2C6C-AA2D-4DBA-B448-457815C4CAD3}"/>
          </ac:spMkLst>
        </pc:spChg>
        <pc:spChg chg="mod">
          <ac:chgData name="EVELYNSM.YONG" userId="S::evelynsm.yong_gmail.com#ext#@risebcg.onmicrosoft.com::67a27a72-2420-4d38-b745-316a53f4b99a" providerId="AD" clId="Web-{F7F9ED99-F543-40A2-8A6C-8021AD617F06}" dt="2022-01-11T02:44:40.798" v="35" actId="14100"/>
          <ac:spMkLst>
            <pc:docMk/>
            <pc:sldMk cId="2160415509" sldId="326"/>
            <ac:spMk id="4" creationId="{215644EC-E1A2-4B5F-BA53-79EB189605EC}"/>
          </ac:spMkLst>
        </pc:spChg>
        <pc:spChg chg="mod">
          <ac:chgData name="EVELYNSM.YONG" userId="S::evelynsm.yong_gmail.com#ext#@risebcg.onmicrosoft.com::67a27a72-2420-4d38-b745-316a53f4b99a" providerId="AD" clId="Web-{F7F9ED99-F543-40A2-8A6C-8021AD617F06}" dt="2022-01-11T03:03:15.507" v="356" actId="14100"/>
          <ac:spMkLst>
            <pc:docMk/>
            <pc:sldMk cId="2160415509" sldId="326"/>
            <ac:spMk id="7" creationId="{EE72E06D-8EAE-4242-B1FE-DB5A60BCC68C}"/>
          </ac:spMkLst>
        </pc:spChg>
        <pc:spChg chg="mod">
          <ac:chgData name="EVELYNSM.YONG" userId="S::evelynsm.yong_gmail.com#ext#@risebcg.onmicrosoft.com::67a27a72-2420-4d38-b745-316a53f4b99a" providerId="AD" clId="Web-{F7F9ED99-F543-40A2-8A6C-8021AD617F06}" dt="2022-01-11T03:03:21.101" v="358" actId="1076"/>
          <ac:spMkLst>
            <pc:docMk/>
            <pc:sldMk cId="2160415509" sldId="326"/>
            <ac:spMk id="10" creationId="{F403E5AA-CAF9-429E-AF8A-D6CAE94AE104}"/>
          </ac:spMkLst>
        </pc:spChg>
        <pc:spChg chg="mod">
          <ac:chgData name="EVELYNSM.YONG" userId="S::evelynsm.yong_gmail.com#ext#@risebcg.onmicrosoft.com::67a27a72-2420-4d38-b745-316a53f4b99a" providerId="AD" clId="Web-{F7F9ED99-F543-40A2-8A6C-8021AD617F06}" dt="2022-01-11T03:03:23.742" v="359" actId="1076"/>
          <ac:spMkLst>
            <pc:docMk/>
            <pc:sldMk cId="2160415509" sldId="326"/>
            <ac:spMk id="12" creationId="{E8C9A459-A11F-4DB3-BC61-E14A0DC903CB}"/>
          </ac:spMkLst>
        </pc:spChg>
        <pc:spChg chg="del">
          <ac:chgData name="EVELYNSM.YONG" userId="S::evelynsm.yong_gmail.com#ext#@risebcg.onmicrosoft.com::67a27a72-2420-4d38-b745-316a53f4b99a" providerId="AD" clId="Web-{F7F9ED99-F543-40A2-8A6C-8021AD617F06}" dt="2022-01-11T02:43:33.828" v="8"/>
          <ac:spMkLst>
            <pc:docMk/>
            <pc:sldMk cId="2160415509" sldId="326"/>
            <ac:spMk id="14" creationId="{12CD60CA-AC80-48C2-9831-7C24A5BBDBE7}"/>
          </ac:spMkLst>
        </pc:spChg>
        <pc:spChg chg="del">
          <ac:chgData name="EVELYNSM.YONG" userId="S::evelynsm.yong_gmail.com#ext#@risebcg.onmicrosoft.com::67a27a72-2420-4d38-b745-316a53f4b99a" providerId="AD" clId="Web-{F7F9ED99-F543-40A2-8A6C-8021AD617F06}" dt="2022-01-11T02:43:34.906" v="9"/>
          <ac:spMkLst>
            <pc:docMk/>
            <pc:sldMk cId="2160415509" sldId="326"/>
            <ac:spMk id="15" creationId="{1F2C1FDF-EED7-4160-A26E-17CDC484D1F4}"/>
          </ac:spMkLst>
        </pc:spChg>
        <pc:spChg chg="del">
          <ac:chgData name="EVELYNSM.YONG" userId="S::evelynsm.yong_gmail.com#ext#@risebcg.onmicrosoft.com::67a27a72-2420-4d38-b745-316a53f4b99a" providerId="AD" clId="Web-{F7F9ED99-F543-40A2-8A6C-8021AD617F06}" dt="2022-01-11T02:43:35.672" v="10"/>
          <ac:spMkLst>
            <pc:docMk/>
            <pc:sldMk cId="2160415509" sldId="326"/>
            <ac:spMk id="16" creationId="{61F108A6-436D-4F03-92A9-5601D56E72A0}"/>
          </ac:spMkLst>
        </pc:spChg>
        <pc:spChg chg="del">
          <ac:chgData name="EVELYNSM.YONG" userId="S::evelynsm.yong_gmail.com#ext#@risebcg.onmicrosoft.com::67a27a72-2420-4d38-b745-316a53f4b99a" providerId="AD" clId="Web-{F7F9ED99-F543-40A2-8A6C-8021AD617F06}" dt="2022-01-11T02:43:37.062" v="11"/>
          <ac:spMkLst>
            <pc:docMk/>
            <pc:sldMk cId="2160415509" sldId="326"/>
            <ac:spMk id="17" creationId="{DDF5B590-7633-4FDD-B31B-61FFF495E327}"/>
          </ac:spMkLst>
        </pc:spChg>
        <pc:picChg chg="del">
          <ac:chgData name="EVELYNSM.YONG" userId="S::evelynsm.yong_gmail.com#ext#@risebcg.onmicrosoft.com::67a27a72-2420-4d38-b745-316a53f4b99a" providerId="AD" clId="Web-{F7F9ED99-F543-40A2-8A6C-8021AD617F06}" dt="2022-01-11T03:02:49.710" v="347"/>
          <ac:picMkLst>
            <pc:docMk/>
            <pc:sldMk cId="2160415509" sldId="326"/>
            <ac:picMk id="5" creationId="{3739471E-5215-49A8-8746-A476792E3348}"/>
          </ac:picMkLst>
        </pc:picChg>
        <pc:picChg chg="del">
          <ac:chgData name="EVELYNSM.YONG" userId="S::evelynsm.yong_gmail.com#ext#@risebcg.onmicrosoft.com::67a27a72-2420-4d38-b745-316a53f4b99a" providerId="AD" clId="Web-{F7F9ED99-F543-40A2-8A6C-8021AD617F06}" dt="2022-01-11T02:43:31.484" v="6"/>
          <ac:picMkLst>
            <pc:docMk/>
            <pc:sldMk cId="2160415509" sldId="326"/>
            <ac:picMk id="5" creationId="{8751F432-9B55-4E93-BF75-FB00FEACF1B2}"/>
          </ac:picMkLst>
        </pc:picChg>
        <pc:picChg chg="del mod ord">
          <ac:chgData name="EVELYNSM.YONG" userId="S::evelynsm.yong_gmail.com#ext#@risebcg.onmicrosoft.com::67a27a72-2420-4d38-b745-316a53f4b99a" providerId="AD" clId="Web-{F7F9ED99-F543-40A2-8A6C-8021AD617F06}" dt="2022-01-11T03:02:48.960" v="346"/>
          <ac:picMkLst>
            <pc:docMk/>
            <pc:sldMk cId="2160415509" sldId="326"/>
            <ac:picMk id="6" creationId="{7B905E0D-985A-447D-B4B6-DCCB0FA62F2A}"/>
          </ac:picMkLst>
        </pc:picChg>
        <pc:picChg chg="del mod">
          <ac:chgData name="EVELYNSM.YONG" userId="S::evelynsm.yong_gmail.com#ext#@risebcg.onmicrosoft.com::67a27a72-2420-4d38-b745-316a53f4b99a" providerId="AD" clId="Web-{F7F9ED99-F543-40A2-8A6C-8021AD617F06}" dt="2022-01-11T02:43:32.359" v="7"/>
          <ac:picMkLst>
            <pc:docMk/>
            <pc:sldMk cId="2160415509" sldId="326"/>
            <ac:picMk id="8" creationId="{1F3B5E8D-69F3-429F-8C72-BA870189EF2F}"/>
          </ac:picMkLst>
        </pc:picChg>
        <pc:picChg chg="mod ord">
          <ac:chgData name="EVELYNSM.YONG" userId="S::evelynsm.yong_gmail.com#ext#@risebcg.onmicrosoft.com::67a27a72-2420-4d38-b745-316a53f4b99a" providerId="AD" clId="Web-{F7F9ED99-F543-40A2-8A6C-8021AD617F06}" dt="2022-01-11T03:03:09.414" v="354" actId="1076"/>
          <ac:picMkLst>
            <pc:docMk/>
            <pc:sldMk cId="2160415509" sldId="326"/>
            <ac:picMk id="8" creationId="{BF88B153-D379-4AEB-882A-4640F4183E92}"/>
          </ac:picMkLst>
        </pc:picChg>
      </pc:sldChg>
      <pc:sldChg chg="addSp delSp modSp ord">
        <pc:chgData name="EVELYNSM.YONG" userId="S::evelynsm.yong_gmail.com#ext#@risebcg.onmicrosoft.com::67a27a72-2420-4d38-b745-316a53f4b99a" providerId="AD" clId="Web-{F7F9ED99-F543-40A2-8A6C-8021AD617F06}" dt="2022-01-11T03:05:17.979" v="386" actId="1076"/>
        <pc:sldMkLst>
          <pc:docMk/>
          <pc:sldMk cId="855648020" sldId="337"/>
        </pc:sldMkLst>
        <pc:spChg chg="del mod">
          <ac:chgData name="EVELYNSM.YONG" userId="S::evelynsm.yong_gmail.com#ext#@risebcg.onmicrosoft.com::67a27a72-2420-4d38-b745-316a53f4b99a" providerId="AD" clId="Web-{F7F9ED99-F543-40A2-8A6C-8021AD617F06}" dt="2022-01-11T03:04:25.759" v="374"/>
          <ac:spMkLst>
            <pc:docMk/>
            <pc:sldMk cId="855648020" sldId="337"/>
            <ac:spMk id="10" creationId="{07073218-5F15-4EF5-A452-773E04940AE9}"/>
          </ac:spMkLst>
        </pc:spChg>
        <pc:spChg chg="mod">
          <ac:chgData name="EVELYNSM.YONG" userId="S::evelynsm.yong_gmail.com#ext#@risebcg.onmicrosoft.com::67a27a72-2420-4d38-b745-316a53f4b99a" providerId="AD" clId="Web-{F7F9ED99-F543-40A2-8A6C-8021AD617F06}" dt="2022-01-11T03:05:17.932" v="383" actId="1076"/>
          <ac:spMkLst>
            <pc:docMk/>
            <pc:sldMk cId="855648020" sldId="337"/>
            <ac:spMk id="11" creationId="{F659B4BD-50AD-4CA3-95ED-DEC3DABB4313}"/>
          </ac:spMkLst>
        </pc:spChg>
        <pc:spChg chg="add mod">
          <ac:chgData name="EVELYNSM.YONG" userId="S::evelynsm.yong_gmail.com#ext#@risebcg.onmicrosoft.com::67a27a72-2420-4d38-b745-316a53f4b99a" providerId="AD" clId="Web-{F7F9ED99-F543-40A2-8A6C-8021AD617F06}" dt="2022-01-11T03:05:17.979" v="386" actId="1076"/>
          <ac:spMkLst>
            <pc:docMk/>
            <pc:sldMk cId="855648020" sldId="337"/>
            <ac:spMk id="12" creationId="{67BF33BE-CD6B-41F5-B7CD-03406329964D}"/>
          </ac:spMkLst>
        </pc:spChg>
        <pc:spChg chg="mod">
          <ac:chgData name="EVELYNSM.YONG" userId="S::evelynsm.yong_gmail.com#ext#@risebcg.onmicrosoft.com::67a27a72-2420-4d38-b745-316a53f4b99a" providerId="AD" clId="Web-{F7F9ED99-F543-40A2-8A6C-8021AD617F06}" dt="2022-01-11T03:05:17.947" v="384" actId="1076"/>
          <ac:spMkLst>
            <pc:docMk/>
            <pc:sldMk cId="855648020" sldId="337"/>
            <ac:spMk id="16" creationId="{E9F09C74-B1ED-48F0-B094-FCB61FD07FD8}"/>
          </ac:spMkLst>
        </pc:spChg>
        <pc:picChg chg="mod">
          <ac:chgData name="EVELYNSM.YONG" userId="S::evelynsm.yong_gmail.com#ext#@risebcg.onmicrosoft.com::67a27a72-2420-4d38-b745-316a53f4b99a" providerId="AD" clId="Web-{F7F9ED99-F543-40A2-8A6C-8021AD617F06}" dt="2022-01-11T03:05:17.963" v="385" actId="1076"/>
          <ac:picMkLst>
            <pc:docMk/>
            <pc:sldMk cId="855648020" sldId="337"/>
            <ac:picMk id="4" creationId="{D1E8906C-F7B4-4B64-A4F6-A75BD1D8E774}"/>
          </ac:picMkLst>
        </pc:picChg>
        <pc:picChg chg="mod">
          <ac:chgData name="EVELYNSM.YONG" userId="S::evelynsm.yong_gmail.com#ext#@risebcg.onmicrosoft.com::67a27a72-2420-4d38-b745-316a53f4b99a" providerId="AD" clId="Web-{F7F9ED99-F543-40A2-8A6C-8021AD617F06}" dt="2022-01-11T03:05:17.901" v="381" actId="1076"/>
          <ac:picMkLst>
            <pc:docMk/>
            <pc:sldMk cId="855648020" sldId="337"/>
            <ac:picMk id="6" creationId="{3476209F-81B0-4A6C-8B12-F6D764D3E106}"/>
          </ac:picMkLst>
        </pc:picChg>
        <pc:picChg chg="mod">
          <ac:chgData name="EVELYNSM.YONG" userId="S::evelynsm.yong_gmail.com#ext#@risebcg.onmicrosoft.com::67a27a72-2420-4d38-b745-316a53f4b99a" providerId="AD" clId="Web-{F7F9ED99-F543-40A2-8A6C-8021AD617F06}" dt="2022-01-11T03:05:17.932" v="382" actId="1076"/>
          <ac:picMkLst>
            <pc:docMk/>
            <pc:sldMk cId="855648020" sldId="337"/>
            <ac:picMk id="9" creationId="{A76048B9-7E18-4DEE-8C9E-48B93DFE3F73}"/>
          </ac:picMkLst>
        </pc:picChg>
      </pc:sldChg>
      <pc:sldChg chg="ord">
        <pc:chgData name="EVELYNSM.YONG" userId="S::evelynsm.yong_gmail.com#ext#@risebcg.onmicrosoft.com::67a27a72-2420-4d38-b745-316a53f4b99a" providerId="AD" clId="Web-{F7F9ED99-F543-40A2-8A6C-8021AD617F06}" dt="2022-01-11T02:46:27.347" v="57"/>
        <pc:sldMkLst>
          <pc:docMk/>
          <pc:sldMk cId="3971465157" sldId="345"/>
        </pc:sldMkLst>
      </pc:sldChg>
      <pc:sldChg chg="ord">
        <pc:chgData name="EVELYNSM.YONG" userId="S::evelynsm.yong_gmail.com#ext#@risebcg.onmicrosoft.com::67a27a72-2420-4d38-b745-316a53f4b99a" providerId="AD" clId="Web-{F7F9ED99-F543-40A2-8A6C-8021AD617F06}" dt="2022-01-11T02:46:27.347" v="58"/>
        <pc:sldMkLst>
          <pc:docMk/>
          <pc:sldMk cId="2149037765" sldId="346"/>
        </pc:sldMkLst>
      </pc:sldChg>
      <pc:sldChg chg="addSp delSp modSp">
        <pc:chgData name="EVELYNSM.YONG" userId="S::evelynsm.yong_gmail.com#ext#@risebcg.onmicrosoft.com::67a27a72-2420-4d38-b745-316a53f4b99a" providerId="AD" clId="Web-{F7F9ED99-F543-40A2-8A6C-8021AD617F06}" dt="2022-01-11T03:26:38.238" v="911" actId="1076"/>
        <pc:sldMkLst>
          <pc:docMk/>
          <pc:sldMk cId="426360798" sldId="347"/>
        </pc:sldMkLst>
        <pc:spChg chg="del">
          <ac:chgData name="EVELYNSM.YONG" userId="S::evelynsm.yong_gmail.com#ext#@risebcg.onmicrosoft.com::67a27a72-2420-4d38-b745-316a53f4b99a" providerId="AD" clId="Web-{F7F9ED99-F543-40A2-8A6C-8021AD617F06}" dt="2022-01-11T03:23:25.031" v="791"/>
          <ac:spMkLst>
            <pc:docMk/>
            <pc:sldMk cId="426360798" sldId="347"/>
            <ac:spMk id="2" creationId="{539C9826-9E79-4999-9783-F530944DD31E}"/>
          </ac:spMkLst>
        </pc:spChg>
        <pc:spChg chg="add del mod">
          <ac:chgData name="EVELYNSM.YONG" userId="S::evelynsm.yong_gmail.com#ext#@risebcg.onmicrosoft.com::67a27a72-2420-4d38-b745-316a53f4b99a" providerId="AD" clId="Web-{F7F9ED99-F543-40A2-8A6C-8021AD617F06}" dt="2022-01-11T03:23:29.875" v="794"/>
          <ac:spMkLst>
            <pc:docMk/>
            <pc:sldMk cId="426360798" sldId="347"/>
            <ac:spMk id="9" creationId="{05B3BD9C-4D9F-492C-8495-E1F99AB14BF6}"/>
          </ac:spMkLst>
        </pc:spChg>
        <pc:spChg chg="add mod">
          <ac:chgData name="EVELYNSM.YONG" userId="S::evelynsm.yong_gmail.com#ext#@risebcg.onmicrosoft.com::67a27a72-2420-4d38-b745-316a53f4b99a" providerId="AD" clId="Web-{F7F9ED99-F543-40A2-8A6C-8021AD617F06}" dt="2022-01-11T03:26:33.223" v="908" actId="20577"/>
          <ac:spMkLst>
            <pc:docMk/>
            <pc:sldMk cId="426360798" sldId="347"/>
            <ac:spMk id="12" creationId="{3502CFB6-6A40-4F07-8AA1-9E63A659ADA0}"/>
          </ac:spMkLst>
        </pc:spChg>
        <pc:grpChg chg="add">
          <ac:chgData name="EVELYNSM.YONG" userId="S::evelynsm.yong_gmail.com#ext#@risebcg.onmicrosoft.com::67a27a72-2420-4d38-b745-316a53f4b99a" providerId="AD" clId="Web-{F7F9ED99-F543-40A2-8A6C-8021AD617F06}" dt="2022-01-11T03:09:19.405" v="453"/>
          <ac:grpSpMkLst>
            <pc:docMk/>
            <pc:sldMk cId="426360798" sldId="347"/>
            <ac:grpSpMk id="3" creationId="{4455BCB6-14D7-48F3-BD0E-54E7F3C808D5}"/>
          </ac:grpSpMkLst>
        </pc:grpChg>
        <pc:picChg chg="mod">
          <ac:chgData name="EVELYNSM.YONG" userId="S::evelynsm.yong_gmail.com#ext#@risebcg.onmicrosoft.com::67a27a72-2420-4d38-b745-316a53f4b99a" providerId="AD" clId="Web-{F7F9ED99-F543-40A2-8A6C-8021AD617F06}" dt="2022-01-11T03:26:38.238" v="911" actId="1076"/>
          <ac:picMkLst>
            <pc:docMk/>
            <pc:sldMk cId="426360798" sldId="347"/>
            <ac:picMk id="10" creationId="{676266AD-39DD-4C63-AC43-FBDA958C8BFA}"/>
          </ac:picMkLst>
        </pc:picChg>
      </pc:sldChg>
      <pc:sldChg chg="addSp delSp modSp">
        <pc:chgData name="EVELYNSM.YONG" userId="S::evelynsm.yong_gmail.com#ext#@risebcg.onmicrosoft.com::67a27a72-2420-4d38-b745-316a53f4b99a" providerId="AD" clId="Web-{F7F9ED99-F543-40A2-8A6C-8021AD617F06}" dt="2022-01-11T03:26:09.332" v="888" actId="20577"/>
        <pc:sldMkLst>
          <pc:docMk/>
          <pc:sldMk cId="2528704326" sldId="349"/>
        </pc:sldMkLst>
        <pc:spChg chg="del">
          <ac:chgData name="EVELYNSM.YONG" userId="S::evelynsm.yong_gmail.com#ext#@risebcg.onmicrosoft.com::67a27a72-2420-4d38-b745-316a53f4b99a" providerId="AD" clId="Web-{F7F9ED99-F543-40A2-8A6C-8021AD617F06}" dt="2022-01-11T03:24:21.298" v="818"/>
          <ac:spMkLst>
            <pc:docMk/>
            <pc:sldMk cId="2528704326" sldId="349"/>
            <ac:spMk id="2" creationId="{539C9826-9E79-4999-9783-F530944DD31E}"/>
          </ac:spMkLst>
        </pc:spChg>
        <pc:spChg chg="add del mod">
          <ac:chgData name="EVELYNSM.YONG" userId="S::evelynsm.yong_gmail.com#ext#@risebcg.onmicrosoft.com::67a27a72-2420-4d38-b745-316a53f4b99a" providerId="AD" clId="Web-{F7F9ED99-F543-40A2-8A6C-8021AD617F06}" dt="2022-01-11T03:24:23.845" v="820"/>
          <ac:spMkLst>
            <pc:docMk/>
            <pc:sldMk cId="2528704326" sldId="349"/>
            <ac:spMk id="10" creationId="{8CDD973F-4CEF-425B-BB97-30D46FEFDC37}"/>
          </ac:spMkLst>
        </pc:spChg>
        <pc:spChg chg="add del">
          <ac:chgData name="EVELYNSM.YONG" userId="S::evelynsm.yong_gmail.com#ext#@risebcg.onmicrosoft.com::67a27a72-2420-4d38-b745-316a53f4b99a" providerId="AD" clId="Web-{F7F9ED99-F543-40A2-8A6C-8021AD617F06}" dt="2022-01-11T03:25:21.877" v="851"/>
          <ac:spMkLst>
            <pc:docMk/>
            <pc:sldMk cId="2528704326" sldId="349"/>
            <ac:spMk id="12" creationId="{1977524D-923A-4D6B-8780-559A2F9631B4}"/>
          </ac:spMkLst>
        </pc:spChg>
        <pc:spChg chg="add mod">
          <ac:chgData name="EVELYNSM.YONG" userId="S::evelynsm.yong_gmail.com#ext#@risebcg.onmicrosoft.com::67a27a72-2420-4d38-b745-316a53f4b99a" providerId="AD" clId="Web-{F7F9ED99-F543-40A2-8A6C-8021AD617F06}" dt="2022-01-11T03:26:09.332" v="888" actId="20577"/>
          <ac:spMkLst>
            <pc:docMk/>
            <pc:sldMk cId="2528704326" sldId="349"/>
            <ac:spMk id="14" creationId="{85E500D2-959C-4EBE-9F3F-2DFE370E9E2B}"/>
          </ac:spMkLst>
        </pc:spChg>
        <pc:grpChg chg="add">
          <ac:chgData name="EVELYNSM.YONG" userId="S::evelynsm.yong_gmail.com#ext#@risebcg.onmicrosoft.com::67a27a72-2420-4d38-b745-316a53f4b99a" providerId="AD" clId="Web-{F7F9ED99-F543-40A2-8A6C-8021AD617F06}" dt="2022-01-11T03:09:22.233" v="455"/>
          <ac:grpSpMkLst>
            <pc:docMk/>
            <pc:sldMk cId="2528704326" sldId="349"/>
            <ac:grpSpMk id="3" creationId="{57C87872-B27F-4BC8-B498-E61B67FA18BB}"/>
          </ac:grpSpMkLst>
        </pc:grpChg>
        <pc:picChg chg="mod">
          <ac:chgData name="EVELYNSM.YONG" userId="S::evelynsm.yong_gmail.com#ext#@risebcg.onmicrosoft.com::67a27a72-2420-4d38-b745-316a53f4b99a" providerId="AD" clId="Web-{F7F9ED99-F543-40A2-8A6C-8021AD617F06}" dt="2022-01-11T03:25:26.378" v="853" actId="14100"/>
          <ac:picMkLst>
            <pc:docMk/>
            <pc:sldMk cId="2528704326" sldId="349"/>
            <ac:picMk id="4" creationId="{5077707B-414C-42AA-B330-0167CEF42AD3}"/>
          </ac:picMkLst>
        </pc:picChg>
      </pc:sldChg>
      <pc:sldChg chg="addSp delSp modSp">
        <pc:chgData name="EVELYNSM.YONG" userId="S::evelynsm.yong_gmail.com#ext#@risebcg.onmicrosoft.com::67a27a72-2420-4d38-b745-316a53f4b99a" providerId="AD" clId="Web-{F7F9ED99-F543-40A2-8A6C-8021AD617F06}" dt="2022-01-11T03:25:54.925" v="873" actId="14100"/>
        <pc:sldMkLst>
          <pc:docMk/>
          <pc:sldMk cId="3685283696" sldId="350"/>
        </pc:sldMkLst>
        <pc:spChg chg="del">
          <ac:chgData name="EVELYNSM.YONG" userId="S::evelynsm.yong_gmail.com#ext#@risebcg.onmicrosoft.com::67a27a72-2420-4d38-b745-316a53f4b99a" providerId="AD" clId="Web-{F7F9ED99-F543-40A2-8A6C-8021AD617F06}" dt="2022-01-11T03:25:34.893" v="855"/>
          <ac:spMkLst>
            <pc:docMk/>
            <pc:sldMk cId="3685283696" sldId="350"/>
            <ac:spMk id="10" creationId="{5867374F-5434-4E13-812F-03FB0E588491}"/>
          </ac:spMkLst>
        </pc:spChg>
        <pc:spChg chg="add del mod">
          <ac:chgData name="EVELYNSM.YONG" userId="S::evelynsm.yong_gmail.com#ext#@risebcg.onmicrosoft.com::67a27a72-2420-4d38-b745-316a53f4b99a" providerId="AD" clId="Web-{F7F9ED99-F543-40A2-8A6C-8021AD617F06}" dt="2022-01-11T03:25:40.159" v="858"/>
          <ac:spMkLst>
            <pc:docMk/>
            <pc:sldMk cId="3685283696" sldId="350"/>
            <ac:spMk id="14" creationId="{57579E56-79CF-470F-AA02-2C90AB7D396D}"/>
          </ac:spMkLst>
        </pc:spChg>
        <pc:spChg chg="add mod">
          <ac:chgData name="EVELYNSM.YONG" userId="S::evelynsm.yong_gmail.com#ext#@risebcg.onmicrosoft.com::67a27a72-2420-4d38-b745-316a53f4b99a" providerId="AD" clId="Web-{F7F9ED99-F543-40A2-8A6C-8021AD617F06}" dt="2022-01-11T03:25:51.534" v="872" actId="20577"/>
          <ac:spMkLst>
            <pc:docMk/>
            <pc:sldMk cId="3685283696" sldId="350"/>
            <ac:spMk id="16" creationId="{D0C7EA6D-0914-4FA0-A4FB-86761188BAEE}"/>
          </ac:spMkLst>
        </pc:spChg>
        <pc:grpChg chg="add">
          <ac:chgData name="EVELYNSM.YONG" userId="S::evelynsm.yong_gmail.com#ext#@risebcg.onmicrosoft.com::67a27a72-2420-4d38-b745-316a53f4b99a" providerId="AD" clId="Web-{F7F9ED99-F543-40A2-8A6C-8021AD617F06}" dt="2022-01-11T03:09:23.702" v="456"/>
          <ac:grpSpMkLst>
            <pc:docMk/>
            <pc:sldMk cId="3685283696" sldId="350"/>
            <ac:grpSpMk id="2" creationId="{C4F68649-A620-4D16-A848-ACF857401516}"/>
          </ac:grpSpMkLst>
        </pc:grpChg>
        <pc:picChg chg="mod">
          <ac:chgData name="EVELYNSM.YONG" userId="S::evelynsm.yong_gmail.com#ext#@risebcg.onmicrosoft.com::67a27a72-2420-4d38-b745-316a53f4b99a" providerId="AD" clId="Web-{F7F9ED99-F543-40A2-8A6C-8021AD617F06}" dt="2022-01-11T03:25:54.925" v="873" actId="14100"/>
          <ac:picMkLst>
            <pc:docMk/>
            <pc:sldMk cId="3685283696" sldId="350"/>
            <ac:picMk id="5" creationId="{B95C723D-080B-423A-BEDF-8046FB191CAA}"/>
          </ac:picMkLst>
        </pc:picChg>
      </pc:sldChg>
      <pc:sldChg chg="addSp delSp modSp">
        <pc:chgData name="EVELYNSM.YONG" userId="S::evelynsm.yong_gmail.com#ext#@risebcg.onmicrosoft.com::67a27a72-2420-4d38-b745-316a53f4b99a" providerId="AD" clId="Web-{F7F9ED99-F543-40A2-8A6C-8021AD617F06}" dt="2022-01-11T03:25:12.393" v="850" actId="20577"/>
        <pc:sldMkLst>
          <pc:docMk/>
          <pc:sldMk cId="1823296178" sldId="351"/>
        </pc:sldMkLst>
        <pc:spChg chg="del">
          <ac:chgData name="EVELYNSM.YONG" userId="S::evelynsm.yong_gmail.com#ext#@risebcg.onmicrosoft.com::67a27a72-2420-4d38-b745-316a53f4b99a" providerId="AD" clId="Web-{F7F9ED99-F543-40A2-8A6C-8021AD617F06}" dt="2022-01-11T03:23:44.501" v="800"/>
          <ac:spMkLst>
            <pc:docMk/>
            <pc:sldMk cId="1823296178" sldId="351"/>
            <ac:spMk id="8" creationId="{38EF7586-1E62-49DF-BFC5-73CC01BB83D6}"/>
          </ac:spMkLst>
        </pc:spChg>
        <pc:spChg chg="add del mod">
          <ac:chgData name="EVELYNSM.YONG" userId="S::evelynsm.yong_gmail.com#ext#@risebcg.onmicrosoft.com::67a27a72-2420-4d38-b745-316a53f4b99a" providerId="AD" clId="Web-{F7F9ED99-F543-40A2-8A6C-8021AD617F06}" dt="2022-01-11T03:23:52.501" v="802"/>
          <ac:spMkLst>
            <pc:docMk/>
            <pc:sldMk cId="1823296178" sldId="351"/>
            <ac:spMk id="11" creationId="{DDDF532F-18ED-41DE-8233-6B150CA2B7C7}"/>
          </ac:spMkLst>
        </pc:spChg>
        <pc:spChg chg="add del">
          <ac:chgData name="EVELYNSM.YONG" userId="S::evelynsm.yong_gmail.com#ext#@risebcg.onmicrosoft.com::67a27a72-2420-4d38-b745-316a53f4b99a" providerId="AD" clId="Web-{F7F9ED99-F543-40A2-8A6C-8021AD617F06}" dt="2022-01-11T03:23:54.126" v="803"/>
          <ac:spMkLst>
            <pc:docMk/>
            <pc:sldMk cId="1823296178" sldId="351"/>
            <ac:spMk id="13" creationId="{03C72E87-D20E-42FD-8B67-D9EDCFC8CC22}"/>
          </ac:spMkLst>
        </pc:spChg>
        <pc:spChg chg="add mod">
          <ac:chgData name="EVELYNSM.YONG" userId="S::evelynsm.yong_gmail.com#ext#@risebcg.onmicrosoft.com::67a27a72-2420-4d38-b745-316a53f4b99a" providerId="AD" clId="Web-{F7F9ED99-F543-40A2-8A6C-8021AD617F06}" dt="2022-01-11T03:25:12.393" v="850" actId="20577"/>
          <ac:spMkLst>
            <pc:docMk/>
            <pc:sldMk cId="1823296178" sldId="351"/>
            <ac:spMk id="15" creationId="{42598CE5-1CF1-401F-9EC8-146FA6EFC0EE}"/>
          </ac:spMkLst>
        </pc:spChg>
        <pc:grpChg chg="add">
          <ac:chgData name="EVELYNSM.YONG" userId="S::evelynsm.yong_gmail.com#ext#@risebcg.onmicrosoft.com::67a27a72-2420-4d38-b745-316a53f4b99a" providerId="AD" clId="Web-{F7F9ED99-F543-40A2-8A6C-8021AD617F06}" dt="2022-01-11T03:09:20.515" v="454"/>
          <ac:grpSpMkLst>
            <pc:docMk/>
            <pc:sldMk cId="1823296178" sldId="351"/>
            <ac:grpSpMk id="2" creationId="{906CB9A3-F9BB-42AA-B2BA-7AABFD3D8BBA}"/>
          </ac:grpSpMkLst>
        </pc:grpChg>
        <pc:picChg chg="mod">
          <ac:chgData name="EVELYNSM.YONG" userId="S::evelynsm.yong_gmail.com#ext#@risebcg.onmicrosoft.com::67a27a72-2420-4d38-b745-316a53f4b99a" providerId="AD" clId="Web-{F7F9ED99-F543-40A2-8A6C-8021AD617F06}" dt="2022-01-11T03:24:44.970" v="823" actId="1076"/>
          <ac:picMkLst>
            <pc:docMk/>
            <pc:sldMk cId="1823296178" sldId="351"/>
            <ac:picMk id="4" creationId="{809C533A-AFC0-4A50-BB53-AD1A504EB8AA}"/>
          </ac:picMkLst>
        </pc:picChg>
        <pc:picChg chg="mod">
          <ac:chgData name="EVELYNSM.YONG" userId="S::evelynsm.yong_gmail.com#ext#@risebcg.onmicrosoft.com::67a27a72-2420-4d38-b745-316a53f4b99a" providerId="AD" clId="Web-{F7F9ED99-F543-40A2-8A6C-8021AD617F06}" dt="2022-01-11T03:24:44.924" v="822" actId="1076"/>
          <ac:picMkLst>
            <pc:docMk/>
            <pc:sldMk cId="1823296178" sldId="351"/>
            <ac:picMk id="6" creationId="{6A9FCBE7-1CC3-44E4-81F0-428DD3F70CFC}"/>
          </ac:picMkLst>
        </pc:picChg>
      </pc:sldChg>
      <pc:sldChg chg="addSp modSp ord">
        <pc:chgData name="EVELYNSM.YONG" userId="S::evelynsm.yong_gmail.com#ext#@risebcg.onmicrosoft.com::67a27a72-2420-4d38-b745-316a53f4b99a" providerId="AD" clId="Web-{F7F9ED99-F543-40A2-8A6C-8021AD617F06}" dt="2022-01-11T03:22:54.406" v="784" actId="1076"/>
        <pc:sldMkLst>
          <pc:docMk/>
          <pc:sldMk cId="1602317283" sldId="352"/>
        </pc:sldMkLst>
        <pc:spChg chg="mod">
          <ac:chgData name="EVELYNSM.YONG" userId="S::evelynsm.yong_gmail.com#ext#@risebcg.onmicrosoft.com::67a27a72-2420-4d38-b745-316a53f4b99a" providerId="AD" clId="Web-{F7F9ED99-F543-40A2-8A6C-8021AD617F06}" dt="2022-01-11T03:22:54.406" v="784" actId="1076"/>
          <ac:spMkLst>
            <pc:docMk/>
            <pc:sldMk cId="1602317283" sldId="352"/>
            <ac:spMk id="2" creationId="{539C9826-9E79-4999-9783-F530944DD31E}"/>
          </ac:spMkLst>
        </pc:spChg>
        <pc:grpChg chg="add">
          <ac:chgData name="EVELYNSM.YONG" userId="S::evelynsm.yong_gmail.com#ext#@risebcg.onmicrosoft.com::67a27a72-2420-4d38-b745-316a53f4b99a" providerId="AD" clId="Web-{F7F9ED99-F543-40A2-8A6C-8021AD617F06}" dt="2022-01-11T03:09:16.530" v="452"/>
          <ac:grpSpMkLst>
            <pc:docMk/>
            <pc:sldMk cId="1602317283" sldId="352"/>
            <ac:grpSpMk id="9" creationId="{D36EA632-07B3-4295-BE67-774163081217}"/>
          </ac:grpSpMkLst>
        </pc:grpChg>
        <pc:picChg chg="mod">
          <ac:chgData name="EVELYNSM.YONG" userId="S::evelynsm.yong_gmail.com#ext#@risebcg.onmicrosoft.com::67a27a72-2420-4d38-b745-316a53f4b99a" providerId="AD" clId="Web-{F7F9ED99-F543-40A2-8A6C-8021AD617F06}" dt="2022-01-11T03:20:46.310" v="741" actId="1076"/>
          <ac:picMkLst>
            <pc:docMk/>
            <pc:sldMk cId="1602317283" sldId="352"/>
            <ac:picMk id="3" creationId="{20B35CB3-36DD-49EE-954D-E122673D5070}"/>
          </ac:picMkLst>
        </pc:picChg>
        <pc:picChg chg="mod">
          <ac:chgData name="EVELYNSM.YONG" userId="S::evelynsm.yong_gmail.com#ext#@risebcg.onmicrosoft.com::67a27a72-2420-4d38-b745-316a53f4b99a" providerId="AD" clId="Web-{F7F9ED99-F543-40A2-8A6C-8021AD617F06}" dt="2022-01-11T03:20:48.794" v="742" actId="1076"/>
          <ac:picMkLst>
            <pc:docMk/>
            <pc:sldMk cId="1602317283" sldId="352"/>
            <ac:picMk id="4" creationId="{77A06809-46E8-4104-8CC2-39B3E44D4271}"/>
          </ac:picMkLst>
        </pc:picChg>
      </pc:sldChg>
      <pc:sldChg chg="addSp delSp modSp">
        <pc:chgData name="EVELYNSM.YONG" userId="S::evelynsm.yong_gmail.com#ext#@risebcg.onmicrosoft.com::67a27a72-2420-4d38-b745-316a53f4b99a" providerId="AD" clId="Web-{F7F9ED99-F543-40A2-8A6C-8021AD617F06}" dt="2022-01-11T03:23:09.234" v="790" actId="1076"/>
        <pc:sldMkLst>
          <pc:docMk/>
          <pc:sldMk cId="1042141491" sldId="353"/>
        </pc:sldMkLst>
        <pc:spChg chg="del mod">
          <ac:chgData name="EVELYNSM.YONG" userId="S::evelynsm.yong_gmail.com#ext#@risebcg.onmicrosoft.com::67a27a72-2420-4d38-b745-316a53f4b99a" providerId="AD" clId="Web-{F7F9ED99-F543-40A2-8A6C-8021AD617F06}" dt="2022-01-11T03:23:00.968" v="787"/>
          <ac:spMkLst>
            <pc:docMk/>
            <pc:sldMk cId="1042141491" sldId="353"/>
            <ac:spMk id="2" creationId="{539C9826-9E79-4999-9783-F530944DD31E}"/>
          </ac:spMkLst>
        </pc:spChg>
        <pc:spChg chg="add mod">
          <ac:chgData name="EVELYNSM.YONG" userId="S::evelynsm.yong_gmail.com#ext#@risebcg.onmicrosoft.com::67a27a72-2420-4d38-b745-316a53f4b99a" providerId="AD" clId="Web-{F7F9ED99-F543-40A2-8A6C-8021AD617F06}" dt="2022-01-11T03:23:07.562" v="789" actId="1076"/>
          <ac:spMkLst>
            <pc:docMk/>
            <pc:sldMk cId="1042141491" sldId="353"/>
            <ac:spMk id="11" creationId="{17A790A2-3A10-4637-9B2F-3CD458BC0EF1}"/>
          </ac:spMkLst>
        </pc:spChg>
        <pc:spChg chg="add del mod">
          <ac:chgData name="EVELYNSM.YONG" userId="S::evelynsm.yong_gmail.com#ext#@risebcg.onmicrosoft.com::67a27a72-2420-4d38-b745-316a53f4b99a" providerId="AD" clId="Web-{F7F9ED99-F543-40A2-8A6C-8021AD617F06}" dt="2022-01-11T03:23:04.390" v="788"/>
          <ac:spMkLst>
            <pc:docMk/>
            <pc:sldMk cId="1042141491" sldId="353"/>
            <ac:spMk id="13" creationId="{1651A933-6726-49DA-866C-AC546EE6F798}"/>
          </ac:spMkLst>
        </pc:spChg>
        <pc:grpChg chg="add">
          <ac:chgData name="EVELYNSM.YONG" userId="S::evelynsm.yong_gmail.com#ext#@risebcg.onmicrosoft.com::67a27a72-2420-4d38-b745-316a53f4b99a" providerId="AD" clId="Web-{F7F9ED99-F543-40A2-8A6C-8021AD617F06}" dt="2022-01-11T03:09:15.171" v="451"/>
          <ac:grpSpMkLst>
            <pc:docMk/>
            <pc:sldMk cId="1042141491" sldId="353"/>
            <ac:grpSpMk id="3" creationId="{A22A9F86-5576-4C0E-83B2-91D832BD93F8}"/>
          </ac:grpSpMkLst>
        </pc:grpChg>
        <pc:picChg chg="mod">
          <ac:chgData name="EVELYNSM.YONG" userId="S::evelynsm.yong_gmail.com#ext#@risebcg.onmicrosoft.com::67a27a72-2420-4d38-b745-316a53f4b99a" providerId="AD" clId="Web-{F7F9ED99-F543-40A2-8A6C-8021AD617F06}" dt="2022-01-11T03:23:09.234" v="790" actId="1076"/>
          <ac:picMkLst>
            <pc:docMk/>
            <pc:sldMk cId="1042141491" sldId="353"/>
            <ac:picMk id="4" creationId="{0633DDFD-C6E4-49AC-8FC0-3B3F14495A9E}"/>
          </ac:picMkLst>
        </pc:picChg>
      </pc:sldChg>
      <pc:sldChg chg="modSp ord">
        <pc:chgData name="EVELYNSM.YONG" userId="S::evelynsm.yong_gmail.com#ext#@risebcg.onmicrosoft.com::67a27a72-2420-4d38-b745-316a53f4b99a" providerId="AD" clId="Web-{F7F9ED99-F543-40A2-8A6C-8021AD617F06}" dt="2022-01-11T03:05:49.620" v="394" actId="1076"/>
        <pc:sldMkLst>
          <pc:docMk/>
          <pc:sldMk cId="165658709" sldId="355"/>
        </pc:sldMkLst>
        <pc:spChg chg="mod">
          <ac:chgData name="EVELYNSM.YONG" userId="S::evelynsm.yong_gmail.com#ext#@risebcg.onmicrosoft.com::67a27a72-2420-4d38-b745-316a53f4b99a" providerId="AD" clId="Web-{F7F9ED99-F543-40A2-8A6C-8021AD617F06}" dt="2022-01-11T02:46:36.113" v="63"/>
          <ac:spMkLst>
            <pc:docMk/>
            <pc:sldMk cId="165658709" sldId="355"/>
            <ac:spMk id="7" creationId="{5040411B-0A54-429E-94AB-0F4DA7C1917E}"/>
          </ac:spMkLst>
        </pc:spChg>
        <pc:spChg chg="mod">
          <ac:chgData name="EVELYNSM.YONG" userId="S::evelynsm.yong_gmail.com#ext#@risebcg.onmicrosoft.com::67a27a72-2420-4d38-b745-316a53f4b99a" providerId="AD" clId="Web-{F7F9ED99-F543-40A2-8A6C-8021AD617F06}" dt="2022-01-11T02:46:57.207" v="83" actId="1076"/>
          <ac:spMkLst>
            <pc:docMk/>
            <pc:sldMk cId="165658709" sldId="355"/>
            <ac:spMk id="13" creationId="{003E35E4-DB87-4D35-8663-60FF12DD7B69}"/>
          </ac:spMkLst>
        </pc:spChg>
        <pc:spChg chg="mod">
          <ac:chgData name="EVELYNSM.YONG" userId="S::evelynsm.yong_gmail.com#ext#@risebcg.onmicrosoft.com::67a27a72-2420-4d38-b745-316a53f4b99a" providerId="AD" clId="Web-{F7F9ED99-F543-40A2-8A6C-8021AD617F06}" dt="2022-01-11T02:47:01.410" v="86" actId="1076"/>
          <ac:spMkLst>
            <pc:docMk/>
            <pc:sldMk cId="165658709" sldId="355"/>
            <ac:spMk id="14" creationId="{CD92118D-BCDA-4C90-B9D2-09972FA65EE3}"/>
          </ac:spMkLst>
        </pc:spChg>
        <pc:spChg chg="mod">
          <ac:chgData name="EVELYNSM.YONG" userId="S::evelynsm.yong_gmail.com#ext#@risebcg.onmicrosoft.com::67a27a72-2420-4d38-b745-316a53f4b99a" providerId="AD" clId="Web-{F7F9ED99-F543-40A2-8A6C-8021AD617F06}" dt="2022-01-11T02:47:08.035" v="90" actId="1076"/>
          <ac:spMkLst>
            <pc:docMk/>
            <pc:sldMk cId="165658709" sldId="355"/>
            <ac:spMk id="21" creationId="{46156451-ECB4-4520-895C-009D1F9E8343}"/>
          </ac:spMkLst>
        </pc:spChg>
        <pc:spChg chg="mod">
          <ac:chgData name="EVELYNSM.YONG" userId="S::evelynsm.yong_gmail.com#ext#@risebcg.onmicrosoft.com::67a27a72-2420-4d38-b745-316a53f4b99a" providerId="AD" clId="Web-{F7F9ED99-F543-40A2-8A6C-8021AD617F06}" dt="2022-01-11T02:47:09.660" v="91" actId="1076"/>
          <ac:spMkLst>
            <pc:docMk/>
            <pc:sldMk cId="165658709" sldId="355"/>
            <ac:spMk id="23" creationId="{437837FB-28C6-4D49-A0CB-199C96E6B187}"/>
          </ac:spMkLst>
        </pc:spChg>
        <pc:spChg chg="mod">
          <ac:chgData name="EVELYNSM.YONG" userId="S::evelynsm.yong_gmail.com#ext#@risebcg.onmicrosoft.com::67a27a72-2420-4d38-b745-316a53f4b99a" providerId="AD" clId="Web-{F7F9ED99-F543-40A2-8A6C-8021AD617F06}" dt="2022-01-11T02:46:51.035" v="81" actId="1076"/>
          <ac:spMkLst>
            <pc:docMk/>
            <pc:sldMk cId="165658709" sldId="355"/>
            <ac:spMk id="26" creationId="{22DD1760-D9EC-405F-9AAD-63EC690DC033}"/>
          </ac:spMkLst>
        </pc:spChg>
        <pc:spChg chg="mod">
          <ac:chgData name="EVELYNSM.YONG" userId="S::evelynsm.yong_gmail.com#ext#@risebcg.onmicrosoft.com::67a27a72-2420-4d38-b745-316a53f4b99a" providerId="AD" clId="Web-{F7F9ED99-F543-40A2-8A6C-8021AD617F06}" dt="2022-01-11T03:05:49.620" v="394" actId="1076"/>
          <ac:spMkLst>
            <pc:docMk/>
            <pc:sldMk cId="165658709" sldId="355"/>
            <ac:spMk id="27" creationId="{B2BF4484-08EE-483A-BA89-BC8EDC410538}"/>
          </ac:spMkLst>
        </pc:spChg>
        <pc:picChg chg="mod">
          <ac:chgData name="EVELYNSM.YONG" userId="S::evelynsm.yong_gmail.com#ext#@risebcg.onmicrosoft.com::67a27a72-2420-4d38-b745-316a53f4b99a" providerId="AD" clId="Web-{F7F9ED99-F543-40A2-8A6C-8021AD617F06}" dt="2022-01-11T02:46:42.269" v="66" actId="1076"/>
          <ac:picMkLst>
            <pc:docMk/>
            <pc:sldMk cId="165658709" sldId="355"/>
            <ac:picMk id="2" creationId="{BD070F67-C046-4FA4-BC49-57AF06A15A77}"/>
          </ac:picMkLst>
        </pc:picChg>
        <pc:picChg chg="mod">
          <ac:chgData name="EVELYNSM.YONG" userId="S::evelynsm.yong_gmail.com#ext#@risebcg.onmicrosoft.com::67a27a72-2420-4d38-b745-316a53f4b99a" providerId="AD" clId="Web-{F7F9ED99-F543-40A2-8A6C-8021AD617F06}" dt="2022-01-11T02:46:48.394" v="74" actId="1076"/>
          <ac:picMkLst>
            <pc:docMk/>
            <pc:sldMk cId="165658709" sldId="355"/>
            <ac:picMk id="11" creationId="{CD86A313-65D2-4D12-B76F-922156737525}"/>
          </ac:picMkLst>
        </pc:picChg>
      </pc:sldChg>
      <pc:sldChg chg="modSp del ord">
        <pc:chgData name="EVELYNSM.YONG" userId="S::evelynsm.yong_gmail.com#ext#@risebcg.onmicrosoft.com::67a27a72-2420-4d38-b745-316a53f4b99a" providerId="AD" clId="Web-{F7F9ED99-F543-40A2-8A6C-8021AD617F06}" dt="2022-01-11T03:02:17.116" v="342"/>
        <pc:sldMkLst>
          <pc:docMk/>
          <pc:sldMk cId="744992136" sldId="357"/>
        </pc:sldMkLst>
        <pc:spChg chg="mod">
          <ac:chgData name="EVELYNSM.YONG" userId="S::evelynsm.yong_gmail.com#ext#@risebcg.onmicrosoft.com::67a27a72-2420-4d38-b745-316a53f4b99a" providerId="AD" clId="Web-{F7F9ED99-F543-40A2-8A6C-8021AD617F06}" dt="2022-01-11T03:01:57.225" v="340" actId="14100"/>
          <ac:spMkLst>
            <pc:docMk/>
            <pc:sldMk cId="744992136" sldId="357"/>
            <ac:spMk id="3" creationId="{3AAD55FA-63B7-4DBA-8DC0-293DEF7C309C}"/>
          </ac:spMkLst>
        </pc:spChg>
        <pc:picChg chg="mod">
          <ac:chgData name="EVELYNSM.YONG" userId="S::evelynsm.yong_gmail.com#ext#@risebcg.onmicrosoft.com::67a27a72-2420-4d38-b745-316a53f4b99a" providerId="AD" clId="Web-{F7F9ED99-F543-40A2-8A6C-8021AD617F06}" dt="2022-01-11T03:01:54.537" v="339" actId="1076"/>
          <ac:picMkLst>
            <pc:docMk/>
            <pc:sldMk cId="744992136" sldId="357"/>
            <ac:picMk id="4" creationId="{46E58862-E3FD-4841-8757-18ED8AB46909}"/>
          </ac:picMkLst>
        </pc:picChg>
      </pc:sldChg>
      <pc:sldChg chg="addSp modSp">
        <pc:chgData name="EVELYNSM.YONG" userId="S::evelynsm.yong_gmail.com#ext#@risebcg.onmicrosoft.com::67a27a72-2420-4d38-b745-316a53f4b99a" providerId="AD" clId="Web-{F7F9ED99-F543-40A2-8A6C-8021AD617F06}" dt="2022-01-11T03:29:11.663" v="961" actId="1076"/>
        <pc:sldMkLst>
          <pc:docMk/>
          <pc:sldMk cId="1240857227" sldId="361"/>
        </pc:sldMkLst>
        <pc:spChg chg="mod">
          <ac:chgData name="EVELYNSM.YONG" userId="S::evelynsm.yong_gmail.com#ext#@risebcg.onmicrosoft.com::67a27a72-2420-4d38-b745-316a53f4b99a" providerId="AD" clId="Web-{F7F9ED99-F543-40A2-8A6C-8021AD617F06}" dt="2022-01-11T03:29:05.460" v="959" actId="1076"/>
          <ac:spMkLst>
            <pc:docMk/>
            <pc:sldMk cId="1240857227" sldId="361"/>
            <ac:spMk id="2" creationId="{12D3493F-F903-4297-A83F-FCC5CC0BF756}"/>
          </ac:spMkLst>
        </pc:spChg>
        <pc:spChg chg="mod">
          <ac:chgData name="EVELYNSM.YONG" userId="S::evelynsm.yong_gmail.com#ext#@risebcg.onmicrosoft.com::67a27a72-2420-4d38-b745-316a53f4b99a" providerId="AD" clId="Web-{F7F9ED99-F543-40A2-8A6C-8021AD617F06}" dt="2022-01-11T03:29:11.663" v="961" actId="1076"/>
          <ac:spMkLst>
            <pc:docMk/>
            <pc:sldMk cId="1240857227" sldId="361"/>
            <ac:spMk id="5" creationId="{09C603B1-83E3-40C7-AD23-240A45A6713E}"/>
          </ac:spMkLst>
        </pc:spChg>
        <pc:spChg chg="mod">
          <ac:chgData name="EVELYNSM.YONG" userId="S::evelynsm.yong_gmail.com#ext#@risebcg.onmicrosoft.com::67a27a72-2420-4d38-b745-316a53f4b99a" providerId="AD" clId="Web-{F7F9ED99-F543-40A2-8A6C-8021AD617F06}" dt="2022-01-11T03:28:45.397" v="956" actId="1076"/>
          <ac:spMkLst>
            <pc:docMk/>
            <pc:sldMk cId="1240857227" sldId="361"/>
            <ac:spMk id="9" creationId="{3179ADB1-85CE-4DE6-A4AE-524B8EB2D41D}"/>
          </ac:spMkLst>
        </pc:spChg>
        <pc:grpChg chg="add">
          <ac:chgData name="EVELYNSM.YONG" userId="S::evelynsm.yong_gmail.com#ext#@risebcg.onmicrosoft.com::67a27a72-2420-4d38-b745-316a53f4b99a" providerId="AD" clId="Web-{F7F9ED99-F543-40A2-8A6C-8021AD617F06}" dt="2022-01-11T03:08:21.670" v="432"/>
          <ac:grpSpMkLst>
            <pc:docMk/>
            <pc:sldMk cId="1240857227" sldId="361"/>
            <ac:grpSpMk id="3" creationId="{E9266EB4-E081-4093-AF07-5B4F8ADB0019}"/>
          </ac:grpSpMkLst>
        </pc:grpChg>
        <pc:picChg chg="mod">
          <ac:chgData name="EVELYNSM.YONG" userId="S::evelynsm.yong_gmail.com#ext#@risebcg.onmicrosoft.com::67a27a72-2420-4d38-b745-316a53f4b99a" providerId="AD" clId="Web-{F7F9ED99-F543-40A2-8A6C-8021AD617F06}" dt="2022-01-11T03:29:08.663" v="960" actId="1076"/>
          <ac:picMkLst>
            <pc:docMk/>
            <pc:sldMk cId="1240857227" sldId="361"/>
            <ac:picMk id="4" creationId="{A0243221-DFB5-465E-ADC6-F46920AB8BAD}"/>
          </ac:picMkLst>
        </pc:picChg>
        <pc:picChg chg="mod">
          <ac:chgData name="EVELYNSM.YONG" userId="S::evelynsm.yong_gmail.com#ext#@risebcg.onmicrosoft.com::67a27a72-2420-4d38-b745-316a53f4b99a" providerId="AD" clId="Web-{F7F9ED99-F543-40A2-8A6C-8021AD617F06}" dt="2022-01-11T03:08:39.467" v="438" actId="688"/>
          <ac:picMkLst>
            <pc:docMk/>
            <pc:sldMk cId="1240857227" sldId="361"/>
            <ac:picMk id="6" creationId="{0A4441F9-3BF1-4F69-A316-B658D09F3EE0}"/>
          </ac:picMkLst>
        </pc:picChg>
        <pc:picChg chg="mod">
          <ac:chgData name="EVELYNSM.YONG" userId="S::evelynsm.yong_gmail.com#ext#@risebcg.onmicrosoft.com::67a27a72-2420-4d38-b745-316a53f4b99a" providerId="AD" clId="Web-{F7F9ED99-F543-40A2-8A6C-8021AD617F06}" dt="2022-01-11T03:28:40.803" v="954" actId="1076"/>
          <ac:picMkLst>
            <pc:docMk/>
            <pc:sldMk cId="1240857227" sldId="361"/>
            <ac:picMk id="7" creationId="{BAACB8E4-69DD-479F-80D3-67E0293AB487}"/>
          </ac:picMkLst>
        </pc:picChg>
        <pc:picChg chg="mod modCrop">
          <ac:chgData name="EVELYNSM.YONG" userId="S::evelynsm.yong_gmail.com#ext#@risebcg.onmicrosoft.com::67a27a72-2420-4d38-b745-316a53f4b99a" providerId="AD" clId="Web-{F7F9ED99-F543-40A2-8A6C-8021AD617F06}" dt="2022-01-11T03:28:38.772" v="953" actId="1076"/>
          <ac:picMkLst>
            <pc:docMk/>
            <pc:sldMk cId="1240857227" sldId="361"/>
            <ac:picMk id="8" creationId="{2D9F6303-CB72-4F30-934B-2477D027F983}"/>
          </ac:picMkLst>
        </pc:picChg>
      </pc:sldChg>
      <pc:sldChg chg="addSp delSp modSp">
        <pc:chgData name="EVELYNSM.YONG" userId="S::evelynsm.yong_gmail.com#ext#@risebcg.onmicrosoft.com::67a27a72-2420-4d38-b745-316a53f4b99a" providerId="AD" clId="Web-{F7F9ED99-F543-40A2-8A6C-8021AD617F06}" dt="2022-01-11T03:28:30.209" v="949" actId="1076"/>
        <pc:sldMkLst>
          <pc:docMk/>
          <pc:sldMk cId="1435943691" sldId="362"/>
        </pc:sldMkLst>
        <pc:spChg chg="del mod">
          <ac:chgData name="EVELYNSM.YONG" userId="S::evelynsm.yong_gmail.com#ext#@risebcg.onmicrosoft.com::67a27a72-2420-4d38-b745-316a53f4b99a" providerId="AD" clId="Web-{F7F9ED99-F543-40A2-8A6C-8021AD617F06}" dt="2022-01-11T03:11:27.252" v="500"/>
          <ac:spMkLst>
            <pc:docMk/>
            <pc:sldMk cId="1435943691" sldId="362"/>
            <ac:spMk id="2" creationId="{12D3493F-F903-4297-A83F-FCC5CC0BF756}"/>
          </ac:spMkLst>
        </pc:spChg>
        <pc:spChg chg="mod">
          <ac:chgData name="EVELYNSM.YONG" userId="S::evelynsm.yong_gmail.com#ext#@risebcg.onmicrosoft.com::67a27a72-2420-4d38-b745-316a53f4b99a" providerId="AD" clId="Web-{F7F9ED99-F543-40A2-8A6C-8021AD617F06}" dt="2022-01-11T03:27:26.974" v="924" actId="1076"/>
          <ac:spMkLst>
            <pc:docMk/>
            <pc:sldMk cId="1435943691" sldId="362"/>
            <ac:spMk id="5" creationId="{09C603B1-83E3-40C7-AD23-240A45A6713E}"/>
          </ac:spMkLst>
        </pc:spChg>
        <pc:spChg chg="add del mod">
          <ac:chgData name="EVELYNSM.YONG" userId="S::evelynsm.yong_gmail.com#ext#@risebcg.onmicrosoft.com::67a27a72-2420-4d38-b745-316a53f4b99a" providerId="AD" clId="Web-{F7F9ED99-F543-40A2-8A6C-8021AD617F06}" dt="2022-01-11T03:11:30.502" v="502"/>
          <ac:spMkLst>
            <pc:docMk/>
            <pc:sldMk cId="1435943691" sldId="362"/>
            <ac:spMk id="7" creationId="{F354351E-271E-4E5C-8127-ED2B4E813996}"/>
          </ac:spMkLst>
        </pc:spChg>
        <pc:spChg chg="add mod">
          <ac:chgData name="EVELYNSM.YONG" userId="S::evelynsm.yong_gmail.com#ext#@risebcg.onmicrosoft.com::67a27a72-2420-4d38-b745-316a53f4b99a" providerId="AD" clId="Web-{F7F9ED99-F543-40A2-8A6C-8021AD617F06}" dt="2022-01-11T03:28:30.209" v="949" actId="1076"/>
          <ac:spMkLst>
            <pc:docMk/>
            <pc:sldMk cId="1435943691" sldId="362"/>
            <ac:spMk id="8" creationId="{24E0F9B0-3D9B-4F16-8453-BA5E1BEEC67A}"/>
          </ac:spMkLst>
        </pc:spChg>
        <pc:spChg chg="mod">
          <ac:chgData name="EVELYNSM.YONG" userId="S::evelynsm.yong_gmail.com#ext#@risebcg.onmicrosoft.com::67a27a72-2420-4d38-b745-316a53f4b99a" providerId="AD" clId="Web-{F7F9ED99-F543-40A2-8A6C-8021AD617F06}" dt="2022-01-11T03:27:38.099" v="929" actId="1076"/>
          <ac:spMkLst>
            <pc:docMk/>
            <pc:sldMk cId="1435943691" sldId="362"/>
            <ac:spMk id="9" creationId="{3179ADB1-85CE-4DE6-A4AE-524B8EB2D41D}"/>
          </ac:spMkLst>
        </pc:spChg>
        <pc:grpChg chg="add">
          <ac:chgData name="EVELYNSM.YONG" userId="S::evelynsm.yong_gmail.com#ext#@risebcg.onmicrosoft.com::67a27a72-2420-4d38-b745-316a53f4b99a" providerId="AD" clId="Web-{F7F9ED99-F543-40A2-8A6C-8021AD617F06}" dt="2022-01-11T03:09:02.108" v="444"/>
          <ac:grpSpMkLst>
            <pc:docMk/>
            <pc:sldMk cId="1435943691" sldId="362"/>
            <ac:grpSpMk id="4" creationId="{544D715A-8263-44CD-B9C9-79985E548F45}"/>
          </ac:grpSpMkLst>
        </pc:grpChg>
        <pc:picChg chg="mod">
          <ac:chgData name="EVELYNSM.YONG" userId="S::evelynsm.yong_gmail.com#ext#@risebcg.onmicrosoft.com::67a27a72-2420-4d38-b745-316a53f4b99a" providerId="AD" clId="Web-{F7F9ED99-F543-40A2-8A6C-8021AD617F06}" dt="2022-01-11T03:28:21.600" v="943" actId="1076"/>
          <ac:picMkLst>
            <pc:docMk/>
            <pc:sldMk cId="1435943691" sldId="362"/>
            <ac:picMk id="3" creationId="{F490B9E4-E4C6-44FE-92D7-DFF88C9C04E8}"/>
          </ac:picMkLst>
        </pc:picChg>
        <pc:picChg chg="mod">
          <ac:chgData name="EVELYNSM.YONG" userId="S::evelynsm.yong_gmail.com#ext#@risebcg.onmicrosoft.com::67a27a72-2420-4d38-b745-316a53f4b99a" providerId="AD" clId="Web-{F7F9ED99-F543-40A2-8A6C-8021AD617F06}" dt="2022-01-11T03:27:29.912" v="925" actId="1076"/>
          <ac:picMkLst>
            <pc:docMk/>
            <pc:sldMk cId="1435943691" sldId="362"/>
            <ac:picMk id="10" creationId="{A4589F60-54A0-4840-83C8-3CA2E9115C9D}"/>
          </ac:picMkLst>
        </pc:picChg>
        <pc:picChg chg="mod">
          <ac:chgData name="EVELYNSM.YONG" userId="S::evelynsm.yong_gmail.com#ext#@risebcg.onmicrosoft.com::67a27a72-2420-4d38-b745-316a53f4b99a" providerId="AD" clId="Web-{F7F9ED99-F543-40A2-8A6C-8021AD617F06}" dt="2022-01-11T03:27:31.114" v="926" actId="1076"/>
          <ac:picMkLst>
            <pc:docMk/>
            <pc:sldMk cId="1435943691" sldId="362"/>
            <ac:picMk id="11" creationId="{CF98E824-4F82-4929-9719-C647B13D1C49}"/>
          </ac:picMkLst>
        </pc:picChg>
      </pc:sldChg>
      <pc:sldChg chg="addSp delSp modSp">
        <pc:chgData name="EVELYNSM.YONG" userId="S::evelynsm.yong_gmail.com#ext#@risebcg.onmicrosoft.com::67a27a72-2420-4d38-b745-316a53f4b99a" providerId="AD" clId="Web-{F7F9ED99-F543-40A2-8A6C-8021AD617F06}" dt="2022-01-11T03:28:16.537" v="942" actId="1076"/>
        <pc:sldMkLst>
          <pc:docMk/>
          <pc:sldMk cId="3116244911" sldId="363"/>
        </pc:sldMkLst>
        <pc:spChg chg="del">
          <ac:chgData name="EVELYNSM.YONG" userId="S::evelynsm.yong_gmail.com#ext#@risebcg.onmicrosoft.com::67a27a72-2420-4d38-b745-316a53f4b99a" providerId="AD" clId="Web-{F7F9ED99-F543-40A2-8A6C-8021AD617F06}" dt="2022-01-11T03:11:36.283" v="503"/>
          <ac:spMkLst>
            <pc:docMk/>
            <pc:sldMk cId="3116244911" sldId="363"/>
            <ac:spMk id="2" creationId="{12D3493F-F903-4297-A83F-FCC5CC0BF756}"/>
          </ac:spMkLst>
        </pc:spChg>
        <pc:spChg chg="mod">
          <ac:chgData name="EVELYNSM.YONG" userId="S::evelynsm.yong_gmail.com#ext#@risebcg.onmicrosoft.com::67a27a72-2420-4d38-b745-316a53f4b99a" providerId="AD" clId="Web-{F7F9ED99-F543-40A2-8A6C-8021AD617F06}" dt="2022-01-11T03:28:12.396" v="940" actId="1076"/>
          <ac:spMkLst>
            <pc:docMk/>
            <pc:sldMk cId="3116244911" sldId="363"/>
            <ac:spMk id="5" creationId="{09C603B1-83E3-40C7-AD23-240A45A6713E}"/>
          </ac:spMkLst>
        </pc:spChg>
        <pc:spChg chg="mod">
          <ac:chgData name="EVELYNSM.YONG" userId="S::evelynsm.yong_gmail.com#ext#@risebcg.onmicrosoft.com::67a27a72-2420-4d38-b745-316a53f4b99a" providerId="AD" clId="Web-{F7F9ED99-F543-40A2-8A6C-8021AD617F06}" dt="2022-01-11T03:28:01.303" v="935" actId="1076"/>
          <ac:spMkLst>
            <pc:docMk/>
            <pc:sldMk cId="3116244911" sldId="363"/>
            <ac:spMk id="9" creationId="{3179ADB1-85CE-4DE6-A4AE-524B8EB2D41D}"/>
          </ac:spMkLst>
        </pc:spChg>
        <pc:spChg chg="add del mod">
          <ac:chgData name="EVELYNSM.YONG" userId="S::evelynsm.yong_gmail.com#ext#@risebcg.onmicrosoft.com::67a27a72-2420-4d38-b745-316a53f4b99a" providerId="AD" clId="Web-{F7F9ED99-F543-40A2-8A6C-8021AD617F06}" dt="2022-01-11T03:11:39.299" v="504"/>
          <ac:spMkLst>
            <pc:docMk/>
            <pc:sldMk cId="3116244911" sldId="363"/>
            <ac:spMk id="13" creationId="{9F18F71D-378B-4F51-94BD-6CC7D9C39EB3}"/>
          </ac:spMkLst>
        </pc:spChg>
        <pc:spChg chg="add mod">
          <ac:chgData name="EVELYNSM.YONG" userId="S::evelynsm.yong_gmail.com#ext#@risebcg.onmicrosoft.com::67a27a72-2420-4d38-b745-316a53f4b99a" providerId="AD" clId="Web-{F7F9ED99-F543-40A2-8A6C-8021AD617F06}" dt="2022-01-11T03:28:16.537" v="942" actId="1076"/>
          <ac:spMkLst>
            <pc:docMk/>
            <pc:sldMk cId="3116244911" sldId="363"/>
            <ac:spMk id="15" creationId="{658BFC63-999C-4845-BF27-8CF09DDEF960}"/>
          </ac:spMkLst>
        </pc:spChg>
        <pc:grpChg chg="add">
          <ac:chgData name="EVELYNSM.YONG" userId="S::evelynsm.yong_gmail.com#ext#@risebcg.onmicrosoft.com::67a27a72-2420-4d38-b745-316a53f4b99a" providerId="AD" clId="Web-{F7F9ED99-F543-40A2-8A6C-8021AD617F06}" dt="2022-01-11T03:09:04.014" v="445"/>
          <ac:grpSpMkLst>
            <pc:docMk/>
            <pc:sldMk cId="3116244911" sldId="363"/>
            <ac:grpSpMk id="3" creationId="{A5AD30ED-255D-4ACB-A147-15B24091BD6C}"/>
          </ac:grpSpMkLst>
        </pc:grpChg>
        <pc:picChg chg="mod">
          <ac:chgData name="EVELYNSM.YONG" userId="S::evelynsm.yong_gmail.com#ext#@risebcg.onmicrosoft.com::67a27a72-2420-4d38-b745-316a53f4b99a" providerId="AD" clId="Web-{F7F9ED99-F543-40A2-8A6C-8021AD617F06}" dt="2022-01-11T03:28:04.709" v="937" actId="14100"/>
          <ac:picMkLst>
            <pc:docMk/>
            <pc:sldMk cId="3116244911" sldId="363"/>
            <ac:picMk id="4" creationId="{71974ED0-949D-4F9C-98BF-F953E32EC188}"/>
          </ac:picMkLst>
        </pc:picChg>
        <pc:picChg chg="mod">
          <ac:chgData name="EVELYNSM.YONG" userId="S::evelynsm.yong_gmail.com#ext#@risebcg.onmicrosoft.com::67a27a72-2420-4d38-b745-316a53f4b99a" providerId="AD" clId="Web-{F7F9ED99-F543-40A2-8A6C-8021AD617F06}" dt="2022-01-11T03:28:13.506" v="941" actId="1076"/>
          <ac:picMkLst>
            <pc:docMk/>
            <pc:sldMk cId="3116244911" sldId="363"/>
            <ac:picMk id="6" creationId="{E3ADEC42-E3A8-473D-AE75-070A05E47158}"/>
          </ac:picMkLst>
        </pc:picChg>
      </pc:sldChg>
      <pc:sldChg chg="addSp delSp modSp">
        <pc:chgData name="EVELYNSM.YONG" userId="S::evelynsm.yong_gmail.com#ext#@risebcg.onmicrosoft.com::67a27a72-2420-4d38-b745-316a53f4b99a" providerId="AD" clId="Web-{F7F9ED99-F543-40A2-8A6C-8021AD617F06}" dt="2022-01-11T03:27:07.161" v="917" actId="1076"/>
        <pc:sldMkLst>
          <pc:docMk/>
          <pc:sldMk cId="3544593396" sldId="364"/>
        </pc:sldMkLst>
        <pc:spChg chg="del mod">
          <ac:chgData name="EVELYNSM.YONG" userId="S::evelynsm.yong_gmail.com#ext#@risebcg.onmicrosoft.com::67a27a72-2420-4d38-b745-316a53f4b99a" providerId="AD" clId="Web-{F7F9ED99-F543-40A2-8A6C-8021AD617F06}" dt="2022-01-11T03:12:37.347" v="519"/>
          <ac:spMkLst>
            <pc:docMk/>
            <pc:sldMk cId="3544593396" sldId="364"/>
            <ac:spMk id="2" creationId="{12D3493F-F903-4297-A83F-FCC5CC0BF756}"/>
          </ac:spMkLst>
        </pc:spChg>
        <pc:spChg chg="mod">
          <ac:chgData name="EVELYNSM.YONG" userId="S::evelynsm.yong_gmail.com#ext#@risebcg.onmicrosoft.com::67a27a72-2420-4d38-b745-316a53f4b99a" providerId="AD" clId="Web-{F7F9ED99-F543-40A2-8A6C-8021AD617F06}" dt="2022-01-11T03:27:01.567" v="914" actId="1076"/>
          <ac:spMkLst>
            <pc:docMk/>
            <pc:sldMk cId="3544593396" sldId="364"/>
            <ac:spMk id="5" creationId="{09C603B1-83E3-40C7-AD23-240A45A6713E}"/>
          </ac:spMkLst>
        </pc:spChg>
        <pc:spChg chg="mod">
          <ac:chgData name="EVELYNSM.YONG" userId="S::evelynsm.yong_gmail.com#ext#@risebcg.onmicrosoft.com::67a27a72-2420-4d38-b745-316a53f4b99a" providerId="AD" clId="Web-{F7F9ED99-F543-40A2-8A6C-8021AD617F06}" dt="2022-01-11T03:27:07.161" v="917" actId="1076"/>
          <ac:spMkLst>
            <pc:docMk/>
            <pc:sldMk cId="3544593396" sldId="364"/>
            <ac:spMk id="9" creationId="{3179ADB1-85CE-4DE6-A4AE-524B8EB2D41D}"/>
          </ac:spMkLst>
        </pc:spChg>
        <pc:spChg chg="add del mod">
          <ac:chgData name="EVELYNSM.YONG" userId="S::evelynsm.yong_gmail.com#ext#@risebcg.onmicrosoft.com::67a27a72-2420-4d38-b745-316a53f4b99a" providerId="AD" clId="Web-{F7F9ED99-F543-40A2-8A6C-8021AD617F06}" dt="2022-01-11T03:12:42.019" v="521"/>
          <ac:spMkLst>
            <pc:docMk/>
            <pc:sldMk cId="3544593396" sldId="364"/>
            <ac:spMk id="13" creationId="{D506E518-D0A5-4D24-ADBB-3B9E3459EBCD}"/>
          </ac:spMkLst>
        </pc:spChg>
        <pc:spChg chg="add mod">
          <ac:chgData name="EVELYNSM.YONG" userId="S::evelynsm.yong_gmail.com#ext#@risebcg.onmicrosoft.com::67a27a72-2420-4d38-b745-316a53f4b99a" providerId="AD" clId="Web-{F7F9ED99-F543-40A2-8A6C-8021AD617F06}" dt="2022-01-11T03:13:08.972" v="532" actId="1076"/>
          <ac:spMkLst>
            <pc:docMk/>
            <pc:sldMk cId="3544593396" sldId="364"/>
            <ac:spMk id="15" creationId="{4873594C-8EC3-4605-881E-C1D16C0B8A73}"/>
          </ac:spMkLst>
        </pc:spChg>
        <pc:grpChg chg="add">
          <ac:chgData name="EVELYNSM.YONG" userId="S::evelynsm.yong_gmail.com#ext#@risebcg.onmicrosoft.com::67a27a72-2420-4d38-b745-316a53f4b99a" providerId="AD" clId="Web-{F7F9ED99-F543-40A2-8A6C-8021AD617F06}" dt="2022-01-11T03:09:05.764" v="446"/>
          <ac:grpSpMkLst>
            <pc:docMk/>
            <pc:sldMk cId="3544593396" sldId="364"/>
            <ac:grpSpMk id="4" creationId="{0EA88A3E-121D-406F-903F-AD39A0C87108}"/>
          </ac:grpSpMkLst>
        </pc:grpChg>
        <pc:picChg chg="mod">
          <ac:chgData name="EVELYNSM.YONG" userId="S::evelynsm.yong_gmail.com#ext#@risebcg.onmicrosoft.com::67a27a72-2420-4d38-b745-316a53f4b99a" providerId="AD" clId="Web-{F7F9ED99-F543-40A2-8A6C-8021AD617F06}" dt="2022-01-11T03:26:59.833" v="913" actId="1076"/>
          <ac:picMkLst>
            <pc:docMk/>
            <pc:sldMk cId="3544593396" sldId="364"/>
            <ac:picMk id="3" creationId="{92F2F078-2A64-4F81-AAB6-04F45D935590}"/>
          </ac:picMkLst>
        </pc:picChg>
        <pc:picChg chg="mod">
          <ac:chgData name="EVELYNSM.YONG" userId="S::evelynsm.yong_gmail.com#ext#@risebcg.onmicrosoft.com::67a27a72-2420-4d38-b745-316a53f4b99a" providerId="AD" clId="Web-{F7F9ED99-F543-40A2-8A6C-8021AD617F06}" dt="2022-01-11T03:27:05.317" v="916" actId="1076"/>
          <ac:picMkLst>
            <pc:docMk/>
            <pc:sldMk cId="3544593396" sldId="364"/>
            <ac:picMk id="7" creationId="{32A083E4-1136-43B2-AA61-204C83559131}"/>
          </ac:picMkLst>
        </pc:picChg>
      </pc:sldChg>
      <pc:sldChg chg="addSp delSp modSp">
        <pc:chgData name="EVELYNSM.YONG" userId="S::evelynsm.yong_gmail.com#ext#@risebcg.onmicrosoft.com::67a27a72-2420-4d38-b745-316a53f4b99a" providerId="AD" clId="Web-{F7F9ED99-F543-40A2-8A6C-8021AD617F06}" dt="2022-01-11T03:20:08.731" v="709" actId="1076"/>
        <pc:sldMkLst>
          <pc:docMk/>
          <pc:sldMk cId="1368706879" sldId="365"/>
        </pc:sldMkLst>
        <pc:spChg chg="del">
          <ac:chgData name="EVELYNSM.YONG" userId="S::evelynsm.yong_gmail.com#ext#@risebcg.onmicrosoft.com::67a27a72-2420-4d38-b745-316a53f4b99a" providerId="AD" clId="Web-{F7F9ED99-F543-40A2-8A6C-8021AD617F06}" dt="2022-01-11T03:13:13.613" v="533"/>
          <ac:spMkLst>
            <pc:docMk/>
            <pc:sldMk cId="1368706879" sldId="365"/>
            <ac:spMk id="2" creationId="{12D3493F-F903-4297-A83F-FCC5CC0BF756}"/>
          </ac:spMkLst>
        </pc:spChg>
        <pc:spChg chg="mod">
          <ac:chgData name="EVELYNSM.YONG" userId="S::evelynsm.yong_gmail.com#ext#@risebcg.onmicrosoft.com::67a27a72-2420-4d38-b745-316a53f4b99a" providerId="AD" clId="Web-{F7F9ED99-F543-40A2-8A6C-8021AD617F06}" dt="2022-01-11T03:20:06.231" v="708" actId="1076"/>
          <ac:spMkLst>
            <pc:docMk/>
            <pc:sldMk cId="1368706879" sldId="365"/>
            <ac:spMk id="5" creationId="{09C603B1-83E3-40C7-AD23-240A45A6713E}"/>
          </ac:spMkLst>
        </pc:spChg>
        <pc:spChg chg="mod">
          <ac:chgData name="EVELYNSM.YONG" userId="S::evelynsm.yong_gmail.com#ext#@risebcg.onmicrosoft.com::67a27a72-2420-4d38-b745-316a53f4b99a" providerId="AD" clId="Web-{F7F9ED99-F543-40A2-8A6C-8021AD617F06}" dt="2022-01-11T03:20:08.731" v="709" actId="1076"/>
          <ac:spMkLst>
            <pc:docMk/>
            <pc:sldMk cId="1368706879" sldId="365"/>
            <ac:spMk id="9" creationId="{3179ADB1-85CE-4DE6-A4AE-524B8EB2D41D}"/>
          </ac:spMkLst>
        </pc:spChg>
        <pc:spChg chg="add del mod">
          <ac:chgData name="EVELYNSM.YONG" userId="S::evelynsm.yong_gmail.com#ext#@risebcg.onmicrosoft.com::67a27a72-2420-4d38-b745-316a53f4b99a" providerId="AD" clId="Web-{F7F9ED99-F543-40A2-8A6C-8021AD617F06}" dt="2022-01-11T03:13:17.582" v="535"/>
          <ac:spMkLst>
            <pc:docMk/>
            <pc:sldMk cId="1368706879" sldId="365"/>
            <ac:spMk id="13" creationId="{DE35C164-79ED-4B55-84DF-3C0EB1FA1381}"/>
          </ac:spMkLst>
        </pc:spChg>
        <pc:spChg chg="add mod">
          <ac:chgData name="EVELYNSM.YONG" userId="S::evelynsm.yong_gmail.com#ext#@risebcg.onmicrosoft.com::67a27a72-2420-4d38-b745-316a53f4b99a" providerId="AD" clId="Web-{F7F9ED99-F543-40A2-8A6C-8021AD617F06}" dt="2022-01-11T03:15:00.975" v="615" actId="20577"/>
          <ac:spMkLst>
            <pc:docMk/>
            <pc:sldMk cId="1368706879" sldId="365"/>
            <ac:spMk id="15" creationId="{9555C023-9397-4E75-9856-EB47265A03DE}"/>
          </ac:spMkLst>
        </pc:spChg>
        <pc:grpChg chg="add">
          <ac:chgData name="EVELYNSM.YONG" userId="S::evelynsm.yong_gmail.com#ext#@risebcg.onmicrosoft.com::67a27a72-2420-4d38-b745-316a53f4b99a" providerId="AD" clId="Web-{F7F9ED99-F543-40A2-8A6C-8021AD617F06}" dt="2022-01-11T03:09:07.249" v="447"/>
          <ac:grpSpMkLst>
            <pc:docMk/>
            <pc:sldMk cId="1368706879" sldId="365"/>
            <ac:grpSpMk id="3" creationId="{1D469522-D02F-4DCD-8628-F3F045D43F1F}"/>
          </ac:grpSpMkLst>
        </pc:grpChg>
        <pc:picChg chg="mod">
          <ac:chgData name="EVELYNSM.YONG" userId="S::evelynsm.yong_gmail.com#ext#@risebcg.onmicrosoft.com::67a27a72-2420-4d38-b745-316a53f4b99a" providerId="AD" clId="Web-{F7F9ED99-F543-40A2-8A6C-8021AD617F06}" dt="2022-01-11T03:20:03.793" v="706" actId="1076"/>
          <ac:picMkLst>
            <pc:docMk/>
            <pc:sldMk cId="1368706879" sldId="365"/>
            <ac:picMk id="4" creationId="{566D1659-13FF-47F8-88C8-68034A0DB9EE}"/>
          </ac:picMkLst>
        </pc:picChg>
        <pc:picChg chg="mod">
          <ac:chgData name="EVELYNSM.YONG" userId="S::evelynsm.yong_gmail.com#ext#@risebcg.onmicrosoft.com::67a27a72-2420-4d38-b745-316a53f4b99a" providerId="AD" clId="Web-{F7F9ED99-F543-40A2-8A6C-8021AD617F06}" dt="2022-01-11T03:20:04.777" v="707" actId="1076"/>
          <ac:picMkLst>
            <pc:docMk/>
            <pc:sldMk cId="1368706879" sldId="365"/>
            <ac:picMk id="6" creationId="{9A02E292-73CE-41B4-88EF-76B9EA903288}"/>
          </ac:picMkLst>
        </pc:picChg>
      </pc:sldChg>
      <pc:sldChg chg="addSp delSp modSp">
        <pc:chgData name="EVELYNSM.YONG" userId="S::evelynsm.yong_gmail.com#ext#@risebcg.onmicrosoft.com::67a27a72-2420-4d38-b745-316a53f4b99a" providerId="AD" clId="Web-{F7F9ED99-F543-40A2-8A6C-8021AD617F06}" dt="2022-01-11T03:19:50.308" v="701" actId="1076"/>
        <pc:sldMkLst>
          <pc:docMk/>
          <pc:sldMk cId="3891548654" sldId="366"/>
        </pc:sldMkLst>
        <pc:spChg chg="del">
          <ac:chgData name="EVELYNSM.YONG" userId="S::evelynsm.yong_gmail.com#ext#@risebcg.onmicrosoft.com::67a27a72-2420-4d38-b745-316a53f4b99a" providerId="AD" clId="Web-{F7F9ED99-F543-40A2-8A6C-8021AD617F06}" dt="2022-01-11T03:13:53.208" v="548"/>
          <ac:spMkLst>
            <pc:docMk/>
            <pc:sldMk cId="3891548654" sldId="366"/>
            <ac:spMk id="2" creationId="{12D3493F-F903-4297-A83F-FCC5CC0BF756}"/>
          </ac:spMkLst>
        </pc:spChg>
        <pc:spChg chg="mod">
          <ac:chgData name="EVELYNSM.YONG" userId="S::evelynsm.yong_gmail.com#ext#@risebcg.onmicrosoft.com::67a27a72-2420-4d38-b745-316a53f4b99a" providerId="AD" clId="Web-{F7F9ED99-F543-40A2-8A6C-8021AD617F06}" dt="2022-01-11T03:19:50.308" v="701" actId="1076"/>
          <ac:spMkLst>
            <pc:docMk/>
            <pc:sldMk cId="3891548654" sldId="366"/>
            <ac:spMk id="5" creationId="{09C603B1-83E3-40C7-AD23-240A45A6713E}"/>
          </ac:spMkLst>
        </pc:spChg>
        <pc:spChg chg="mod">
          <ac:chgData name="EVELYNSM.YONG" userId="S::evelynsm.yong_gmail.com#ext#@risebcg.onmicrosoft.com::67a27a72-2420-4d38-b745-316a53f4b99a" providerId="AD" clId="Web-{F7F9ED99-F543-40A2-8A6C-8021AD617F06}" dt="2022-01-11T03:19:48.527" v="700" actId="1076"/>
          <ac:spMkLst>
            <pc:docMk/>
            <pc:sldMk cId="3891548654" sldId="366"/>
            <ac:spMk id="9" creationId="{3179ADB1-85CE-4DE6-A4AE-524B8EB2D41D}"/>
          </ac:spMkLst>
        </pc:spChg>
        <pc:spChg chg="add del mod">
          <ac:chgData name="EVELYNSM.YONG" userId="S::evelynsm.yong_gmail.com#ext#@risebcg.onmicrosoft.com::67a27a72-2420-4d38-b745-316a53f4b99a" providerId="AD" clId="Web-{F7F9ED99-F543-40A2-8A6C-8021AD617F06}" dt="2022-01-11T03:13:57.005" v="550"/>
          <ac:spMkLst>
            <pc:docMk/>
            <pc:sldMk cId="3891548654" sldId="366"/>
            <ac:spMk id="13" creationId="{5C00CE21-45F7-4ED7-900B-CF872C3EFE23}"/>
          </ac:spMkLst>
        </pc:spChg>
        <pc:spChg chg="add mod">
          <ac:chgData name="EVELYNSM.YONG" userId="S::evelynsm.yong_gmail.com#ext#@risebcg.onmicrosoft.com::67a27a72-2420-4d38-b745-316a53f4b99a" providerId="AD" clId="Web-{F7F9ED99-F543-40A2-8A6C-8021AD617F06}" dt="2022-01-11T03:14:31.083" v="596" actId="1076"/>
          <ac:spMkLst>
            <pc:docMk/>
            <pc:sldMk cId="3891548654" sldId="366"/>
            <ac:spMk id="15" creationId="{5FE92ADB-55CC-4BEA-8221-1ACFF22DD1F0}"/>
          </ac:spMkLst>
        </pc:spChg>
        <pc:grpChg chg="add">
          <ac:chgData name="EVELYNSM.YONG" userId="S::evelynsm.yong_gmail.com#ext#@risebcg.onmicrosoft.com::67a27a72-2420-4d38-b745-316a53f4b99a" providerId="AD" clId="Web-{F7F9ED99-F543-40A2-8A6C-8021AD617F06}" dt="2022-01-11T03:09:09.108" v="448"/>
          <ac:grpSpMkLst>
            <pc:docMk/>
            <pc:sldMk cId="3891548654" sldId="366"/>
            <ac:grpSpMk id="4" creationId="{A54BDC52-FC29-4018-B0D6-87D401425E35}"/>
          </ac:grpSpMkLst>
        </pc:grpChg>
        <pc:picChg chg="mod">
          <ac:chgData name="EVELYNSM.YONG" userId="S::evelynsm.yong_gmail.com#ext#@risebcg.onmicrosoft.com::67a27a72-2420-4d38-b745-316a53f4b99a" providerId="AD" clId="Web-{F7F9ED99-F543-40A2-8A6C-8021AD617F06}" dt="2022-01-11T03:19:42.605" v="697" actId="1076"/>
          <ac:picMkLst>
            <pc:docMk/>
            <pc:sldMk cId="3891548654" sldId="366"/>
            <ac:picMk id="3" creationId="{3A9AAE25-4049-446E-8E70-55A209C4D22D}"/>
          </ac:picMkLst>
        </pc:picChg>
        <pc:picChg chg="mod">
          <ac:chgData name="EVELYNSM.YONG" userId="S::evelynsm.yong_gmail.com#ext#@risebcg.onmicrosoft.com::67a27a72-2420-4d38-b745-316a53f4b99a" providerId="AD" clId="Web-{F7F9ED99-F543-40A2-8A6C-8021AD617F06}" dt="2022-01-11T03:19:46.933" v="699" actId="14100"/>
          <ac:picMkLst>
            <pc:docMk/>
            <pc:sldMk cId="3891548654" sldId="366"/>
            <ac:picMk id="7" creationId="{501F7DE2-8991-44A1-9009-B56CC32D49AD}"/>
          </ac:picMkLst>
        </pc:picChg>
      </pc:sldChg>
      <pc:sldChg chg="addSp modSp">
        <pc:chgData name="EVELYNSM.YONG" userId="S::evelynsm.yong_gmail.com#ext#@risebcg.onmicrosoft.com::67a27a72-2420-4d38-b745-316a53f4b99a" providerId="AD" clId="Web-{F7F9ED99-F543-40A2-8A6C-8021AD617F06}" dt="2022-01-11T03:19:24.449" v="691" actId="1076"/>
        <pc:sldMkLst>
          <pc:docMk/>
          <pc:sldMk cId="495325899" sldId="367"/>
        </pc:sldMkLst>
        <pc:spChg chg="mod">
          <ac:chgData name="EVELYNSM.YONG" userId="S::evelynsm.yong_gmail.com#ext#@risebcg.onmicrosoft.com::67a27a72-2420-4d38-b745-316a53f4b99a" providerId="AD" clId="Web-{F7F9ED99-F543-40A2-8A6C-8021AD617F06}" dt="2022-01-11T03:16:34.555" v="645" actId="20577"/>
          <ac:spMkLst>
            <pc:docMk/>
            <pc:sldMk cId="495325899" sldId="367"/>
            <ac:spMk id="2" creationId="{12D3493F-F903-4297-A83F-FCC5CC0BF756}"/>
          </ac:spMkLst>
        </pc:spChg>
        <pc:spChg chg="mod">
          <ac:chgData name="EVELYNSM.YONG" userId="S::evelynsm.yong_gmail.com#ext#@risebcg.onmicrosoft.com::67a27a72-2420-4d38-b745-316a53f4b99a" providerId="AD" clId="Web-{F7F9ED99-F543-40A2-8A6C-8021AD617F06}" dt="2022-01-11T03:19:19.886" v="689" actId="1076"/>
          <ac:spMkLst>
            <pc:docMk/>
            <pc:sldMk cId="495325899" sldId="367"/>
            <ac:spMk id="5" creationId="{09C603B1-83E3-40C7-AD23-240A45A6713E}"/>
          </ac:spMkLst>
        </pc:spChg>
        <pc:spChg chg="mod">
          <ac:chgData name="EVELYNSM.YONG" userId="S::evelynsm.yong_gmail.com#ext#@risebcg.onmicrosoft.com::67a27a72-2420-4d38-b745-316a53f4b99a" providerId="AD" clId="Web-{F7F9ED99-F543-40A2-8A6C-8021AD617F06}" dt="2022-01-11T03:19:22.574" v="690"/>
          <ac:spMkLst>
            <pc:docMk/>
            <pc:sldMk cId="495325899" sldId="367"/>
            <ac:spMk id="9" creationId="{3179ADB1-85CE-4DE6-A4AE-524B8EB2D41D}"/>
          </ac:spMkLst>
        </pc:spChg>
        <pc:grpChg chg="add">
          <ac:chgData name="EVELYNSM.YONG" userId="S::evelynsm.yong_gmail.com#ext#@risebcg.onmicrosoft.com::67a27a72-2420-4d38-b745-316a53f4b99a" providerId="AD" clId="Web-{F7F9ED99-F543-40A2-8A6C-8021AD617F06}" dt="2022-01-11T03:09:11.233" v="449"/>
          <ac:grpSpMkLst>
            <pc:docMk/>
            <pc:sldMk cId="495325899" sldId="367"/>
            <ac:grpSpMk id="3" creationId="{A5CB7353-8154-4FEC-A0E5-512671A7A8F9}"/>
          </ac:grpSpMkLst>
        </pc:grpChg>
        <pc:picChg chg="mod">
          <ac:chgData name="EVELYNSM.YONG" userId="S::evelynsm.yong_gmail.com#ext#@risebcg.onmicrosoft.com::67a27a72-2420-4d38-b745-316a53f4b99a" providerId="AD" clId="Web-{F7F9ED99-F543-40A2-8A6C-8021AD617F06}" dt="2022-01-11T03:19:08.792" v="683" actId="1076"/>
          <ac:picMkLst>
            <pc:docMk/>
            <pc:sldMk cId="495325899" sldId="367"/>
            <ac:picMk id="4" creationId="{79B30297-A01B-430C-8EB8-745A3D069B7F}"/>
          </ac:picMkLst>
        </pc:picChg>
        <pc:picChg chg="mod">
          <ac:chgData name="EVELYNSM.YONG" userId="S::evelynsm.yong_gmail.com#ext#@risebcg.onmicrosoft.com::67a27a72-2420-4d38-b745-316a53f4b99a" providerId="AD" clId="Web-{F7F9ED99-F543-40A2-8A6C-8021AD617F06}" dt="2022-01-11T03:19:08.808" v="684" actId="1076"/>
          <ac:picMkLst>
            <pc:docMk/>
            <pc:sldMk cId="495325899" sldId="367"/>
            <ac:picMk id="6" creationId="{4A08CA56-0F2C-4842-8FB2-31B02C4CC1C2}"/>
          </ac:picMkLst>
        </pc:picChg>
        <pc:picChg chg="mod">
          <ac:chgData name="EVELYNSM.YONG" userId="S::evelynsm.yong_gmail.com#ext#@risebcg.onmicrosoft.com::67a27a72-2420-4d38-b745-316a53f4b99a" providerId="AD" clId="Web-{F7F9ED99-F543-40A2-8A6C-8021AD617F06}" dt="2022-01-11T03:19:24.449" v="691" actId="1076"/>
          <ac:picMkLst>
            <pc:docMk/>
            <pc:sldMk cId="495325899" sldId="367"/>
            <ac:picMk id="8" creationId="{6CC0388A-2FEB-46B2-970B-B498ED898DF7}"/>
          </ac:picMkLst>
        </pc:picChg>
      </pc:sldChg>
      <pc:sldChg chg="addSp modSp">
        <pc:chgData name="EVELYNSM.YONG" userId="S::evelynsm.yong_gmail.com#ext#@risebcg.onmicrosoft.com::67a27a72-2420-4d38-b745-316a53f4b99a" providerId="AD" clId="Web-{F7F9ED99-F543-40A2-8A6C-8021AD617F06}" dt="2022-01-11T03:18:13.978" v="675" actId="20577"/>
        <pc:sldMkLst>
          <pc:docMk/>
          <pc:sldMk cId="371058751" sldId="368"/>
        </pc:sldMkLst>
        <pc:spChg chg="mod">
          <ac:chgData name="EVELYNSM.YONG" userId="S::evelynsm.yong_gmail.com#ext#@risebcg.onmicrosoft.com::67a27a72-2420-4d38-b745-316a53f4b99a" providerId="AD" clId="Web-{F7F9ED99-F543-40A2-8A6C-8021AD617F06}" dt="2022-01-11T03:18:13.978" v="675" actId="20577"/>
          <ac:spMkLst>
            <pc:docMk/>
            <pc:sldMk cId="371058751" sldId="368"/>
            <ac:spMk id="2" creationId="{12D3493F-F903-4297-A83F-FCC5CC0BF756}"/>
          </ac:spMkLst>
        </pc:spChg>
        <pc:spChg chg="mod">
          <ac:chgData name="EVELYNSM.YONG" userId="S::evelynsm.yong_gmail.com#ext#@risebcg.onmicrosoft.com::67a27a72-2420-4d38-b745-316a53f4b99a" providerId="AD" clId="Web-{F7F9ED99-F543-40A2-8A6C-8021AD617F06}" dt="2022-01-11T03:17:33.868" v="654" actId="1076"/>
          <ac:spMkLst>
            <pc:docMk/>
            <pc:sldMk cId="371058751" sldId="368"/>
            <ac:spMk id="9" creationId="{3179ADB1-85CE-4DE6-A4AE-524B8EB2D41D}"/>
          </ac:spMkLst>
        </pc:spChg>
        <pc:grpChg chg="add">
          <ac:chgData name="EVELYNSM.YONG" userId="S::evelynsm.yong_gmail.com#ext#@risebcg.onmicrosoft.com::67a27a72-2420-4d38-b745-316a53f4b99a" providerId="AD" clId="Web-{F7F9ED99-F543-40A2-8A6C-8021AD617F06}" dt="2022-01-11T03:09:12.968" v="450"/>
          <ac:grpSpMkLst>
            <pc:docMk/>
            <pc:sldMk cId="371058751" sldId="368"/>
            <ac:grpSpMk id="4" creationId="{0A6152A0-0A9D-4C47-A39C-AAF6B9D6B44A}"/>
          </ac:grpSpMkLst>
        </pc:grpChg>
        <pc:picChg chg="mod">
          <ac:chgData name="EVELYNSM.YONG" userId="S::evelynsm.yong_gmail.com#ext#@risebcg.onmicrosoft.com::67a27a72-2420-4d38-b745-316a53f4b99a" providerId="AD" clId="Web-{F7F9ED99-F543-40A2-8A6C-8021AD617F06}" dt="2022-01-11T03:17:30.931" v="653" actId="1076"/>
          <ac:picMkLst>
            <pc:docMk/>
            <pc:sldMk cId="371058751" sldId="368"/>
            <ac:picMk id="3" creationId="{3E9A0F2D-BAD5-4289-9F34-C4D0E3B67FD8}"/>
          </ac:picMkLst>
        </pc:picChg>
      </pc:sldChg>
      <pc:sldChg chg="delSp modSp ord">
        <pc:chgData name="EVELYNSM.YONG" userId="S::evelynsm.yong_gmail.com#ext#@risebcg.onmicrosoft.com::67a27a72-2420-4d38-b745-316a53f4b99a" providerId="AD" clId="Web-{F7F9ED99-F543-40A2-8A6C-8021AD617F06}" dt="2022-01-11T03:06:10.808" v="396" actId="1076"/>
        <pc:sldMkLst>
          <pc:docMk/>
          <pc:sldMk cId="3295041884" sldId="369"/>
        </pc:sldMkLst>
        <pc:spChg chg="del">
          <ac:chgData name="EVELYNSM.YONG" userId="S::evelynsm.yong_gmail.com#ext#@risebcg.onmicrosoft.com::67a27a72-2420-4d38-b745-316a53f4b99a" providerId="AD" clId="Web-{F7F9ED99-F543-40A2-8A6C-8021AD617F06}" dt="2022-01-11T03:06:08.714" v="395"/>
          <ac:spMkLst>
            <pc:docMk/>
            <pc:sldMk cId="3295041884" sldId="369"/>
            <ac:spMk id="25" creationId="{A72C66DB-3DFA-4DD0-BB16-94A4A31F5E94}"/>
          </ac:spMkLst>
        </pc:spChg>
        <pc:picChg chg="mod">
          <ac:chgData name="EVELYNSM.YONG" userId="S::evelynsm.yong_gmail.com#ext#@risebcg.onmicrosoft.com::67a27a72-2420-4d38-b745-316a53f4b99a" providerId="AD" clId="Web-{F7F9ED99-F543-40A2-8A6C-8021AD617F06}" dt="2022-01-11T03:06:10.808" v="396" actId="1076"/>
          <ac:picMkLst>
            <pc:docMk/>
            <pc:sldMk cId="3295041884" sldId="369"/>
            <ac:picMk id="3" creationId="{5DEAADBB-8BEB-4916-8B81-E680A113BDAC}"/>
          </ac:picMkLst>
        </pc:picChg>
      </pc:sldChg>
      <pc:sldChg chg="addSp delSp modSp ord modNotes">
        <pc:chgData name="EVELYNSM.YONG" userId="S::evelynsm.yong_gmail.com#ext#@risebcg.onmicrosoft.com::67a27a72-2420-4d38-b745-316a53f4b99a" providerId="AD" clId="Web-{F7F9ED99-F543-40A2-8A6C-8021AD617F06}" dt="2022-01-11T03:01:47.834" v="338"/>
        <pc:sldMkLst>
          <pc:docMk/>
          <pc:sldMk cId="3758978858" sldId="379"/>
        </pc:sldMkLst>
        <pc:spChg chg="mod">
          <ac:chgData name="EVELYNSM.YONG" userId="S::evelynsm.yong_gmail.com#ext#@risebcg.onmicrosoft.com::67a27a72-2420-4d38-b745-316a53f4b99a" providerId="AD" clId="Web-{F7F9ED99-F543-40A2-8A6C-8021AD617F06}" dt="2022-01-11T02:56:39.828" v="271" actId="20577"/>
          <ac:spMkLst>
            <pc:docMk/>
            <pc:sldMk cId="3758978858" sldId="379"/>
            <ac:spMk id="2" creationId="{C8764925-553F-46C0-AD49-7EDC41FA393B}"/>
          </ac:spMkLst>
        </pc:spChg>
        <pc:spChg chg="add">
          <ac:chgData name="EVELYNSM.YONG" userId="S::evelynsm.yong_gmail.com#ext#@risebcg.onmicrosoft.com::67a27a72-2420-4d38-b745-316a53f4b99a" providerId="AD" clId="Web-{F7F9ED99-F543-40A2-8A6C-8021AD617F06}" dt="2022-01-11T02:59:00.565" v="279"/>
          <ac:spMkLst>
            <pc:docMk/>
            <pc:sldMk cId="3758978858" sldId="379"/>
            <ac:spMk id="3" creationId="{70B07330-2F68-4A35-9040-6BC23E0869D8}"/>
          </ac:spMkLst>
        </pc:spChg>
        <pc:picChg chg="add">
          <ac:chgData name="EVELYNSM.YONG" userId="S::evelynsm.yong_gmail.com#ext#@risebcg.onmicrosoft.com::67a27a72-2420-4d38-b745-316a53f4b99a" providerId="AD" clId="Web-{F7F9ED99-F543-40A2-8A6C-8021AD617F06}" dt="2022-01-11T02:59:00.581" v="280"/>
          <ac:picMkLst>
            <pc:docMk/>
            <pc:sldMk cId="3758978858" sldId="379"/>
            <ac:picMk id="4" creationId="{B5DB32CC-EAC7-41A2-8184-F3E358704B4D}"/>
          </ac:picMkLst>
        </pc:picChg>
        <pc:picChg chg="mod">
          <ac:chgData name="EVELYNSM.YONG" userId="S::evelynsm.yong_gmail.com#ext#@risebcg.onmicrosoft.com::67a27a72-2420-4d38-b745-316a53f4b99a" providerId="AD" clId="Web-{F7F9ED99-F543-40A2-8A6C-8021AD617F06}" dt="2022-01-11T03:01:04.974" v="301" actId="1076"/>
          <ac:picMkLst>
            <pc:docMk/>
            <pc:sldMk cId="3758978858" sldId="379"/>
            <ac:picMk id="7" creationId="{7172E854-F91B-4034-914C-283C25FD691D}"/>
          </ac:picMkLst>
        </pc:picChg>
        <pc:picChg chg="mod">
          <ac:chgData name="EVELYNSM.YONG" userId="S::evelynsm.yong_gmail.com#ext#@risebcg.onmicrosoft.com::67a27a72-2420-4d38-b745-316a53f4b99a" providerId="AD" clId="Web-{F7F9ED99-F543-40A2-8A6C-8021AD617F06}" dt="2022-01-11T03:01:06.614" v="302" actId="1076"/>
          <ac:picMkLst>
            <pc:docMk/>
            <pc:sldMk cId="3758978858" sldId="379"/>
            <ac:picMk id="9" creationId="{D15396CB-C56C-4A94-B451-A160648373B0}"/>
          </ac:picMkLst>
        </pc:picChg>
        <pc:picChg chg="add del mod">
          <ac:chgData name="EVELYNSM.YONG" userId="S::evelynsm.yong_gmail.com#ext#@risebcg.onmicrosoft.com::67a27a72-2420-4d38-b745-316a53f4b99a" providerId="AD" clId="Web-{F7F9ED99-F543-40A2-8A6C-8021AD617F06}" dt="2022-01-11T03:00:21.567" v="294"/>
          <ac:picMkLst>
            <pc:docMk/>
            <pc:sldMk cId="3758978858" sldId="379"/>
            <ac:picMk id="10" creationId="{C7FCE3CA-13D6-4429-A0D4-B1359B721284}"/>
          </ac:picMkLst>
        </pc:picChg>
      </pc:sldChg>
      <pc:sldChg chg="addSp modSp ord">
        <pc:chgData name="EVELYNSM.YONG" userId="S::evelynsm.yong_gmail.com#ext#@risebcg.onmicrosoft.com::67a27a72-2420-4d38-b745-316a53f4b99a" providerId="AD" clId="Web-{F7F9ED99-F543-40A2-8A6C-8021AD617F06}" dt="2022-01-11T02:59:18.847" v="285" actId="20577"/>
        <pc:sldMkLst>
          <pc:docMk/>
          <pc:sldMk cId="1431775713" sldId="384"/>
        </pc:sldMkLst>
        <pc:spChg chg="mod">
          <ac:chgData name="EVELYNSM.YONG" userId="S::evelynsm.yong_gmail.com#ext#@risebcg.onmicrosoft.com::67a27a72-2420-4d38-b745-316a53f4b99a" providerId="AD" clId="Web-{F7F9ED99-F543-40A2-8A6C-8021AD617F06}" dt="2022-01-11T02:59:18.847" v="285" actId="20577"/>
          <ac:spMkLst>
            <pc:docMk/>
            <pc:sldMk cId="1431775713" sldId="384"/>
            <ac:spMk id="2" creationId="{C8764925-553F-46C0-AD49-7EDC41FA393B}"/>
          </ac:spMkLst>
        </pc:spChg>
        <pc:spChg chg="add">
          <ac:chgData name="EVELYNSM.YONG" userId="S::evelynsm.yong_gmail.com#ext#@risebcg.onmicrosoft.com::67a27a72-2420-4d38-b745-316a53f4b99a" providerId="AD" clId="Web-{F7F9ED99-F543-40A2-8A6C-8021AD617F06}" dt="2022-01-11T02:59:02.721" v="281"/>
          <ac:spMkLst>
            <pc:docMk/>
            <pc:sldMk cId="1431775713" sldId="384"/>
            <ac:spMk id="6" creationId="{C0AF55F1-44C1-4497-BC9B-D744784B44CE}"/>
          </ac:spMkLst>
        </pc:spChg>
        <pc:picChg chg="mod">
          <ac:chgData name="EVELYNSM.YONG" userId="S::evelynsm.yong_gmail.com#ext#@risebcg.onmicrosoft.com::67a27a72-2420-4d38-b745-316a53f4b99a" providerId="AD" clId="Web-{F7F9ED99-F543-40A2-8A6C-8021AD617F06}" dt="2022-01-11T02:59:07.987" v="283" actId="1076"/>
          <ac:picMkLst>
            <pc:docMk/>
            <pc:sldMk cId="1431775713" sldId="384"/>
            <ac:picMk id="3" creationId="{4BB0AA97-4D09-4E8C-8C6C-4D3B86D6CB1F}"/>
          </ac:picMkLst>
        </pc:picChg>
        <pc:picChg chg="mod">
          <ac:chgData name="EVELYNSM.YONG" userId="S::evelynsm.yong_gmail.com#ext#@risebcg.onmicrosoft.com::67a27a72-2420-4d38-b745-316a53f4b99a" providerId="AD" clId="Web-{F7F9ED99-F543-40A2-8A6C-8021AD617F06}" dt="2022-01-11T02:59:08.768" v="284" actId="1076"/>
          <ac:picMkLst>
            <pc:docMk/>
            <pc:sldMk cId="1431775713" sldId="384"/>
            <ac:picMk id="4" creationId="{17E32B17-67B8-4A5B-A3FF-B2170E712477}"/>
          </ac:picMkLst>
        </pc:picChg>
        <pc:picChg chg="add">
          <ac:chgData name="EVELYNSM.YONG" userId="S::evelynsm.yong_gmail.com#ext#@risebcg.onmicrosoft.com::67a27a72-2420-4d38-b745-316a53f4b99a" providerId="AD" clId="Web-{F7F9ED99-F543-40A2-8A6C-8021AD617F06}" dt="2022-01-11T02:59:02.737" v="282"/>
          <ac:picMkLst>
            <pc:docMk/>
            <pc:sldMk cId="1431775713" sldId="384"/>
            <ac:picMk id="8" creationId="{DCF575F8-450B-40AB-B359-4D89A75FB07C}"/>
          </ac:picMkLst>
        </pc:picChg>
      </pc:sldChg>
      <pc:sldChg chg="addSp delSp modSp add del ord replId">
        <pc:chgData name="EVELYNSM.YONG" userId="S::evelynsm.yong_gmail.com#ext#@risebcg.onmicrosoft.com::67a27a72-2420-4d38-b745-316a53f4b99a" providerId="AD" clId="Web-{F7F9ED99-F543-40A2-8A6C-8021AD617F06}" dt="2022-01-11T03:03:41.024" v="361"/>
        <pc:sldMkLst>
          <pc:docMk/>
          <pc:sldMk cId="1985630996" sldId="385"/>
        </pc:sldMkLst>
        <pc:spChg chg="add">
          <ac:chgData name="EVELYNSM.YONG" userId="S::evelynsm.yong_gmail.com#ext#@risebcg.onmicrosoft.com::67a27a72-2420-4d38-b745-316a53f4b99a" providerId="AD" clId="Web-{F7F9ED99-F543-40A2-8A6C-8021AD617F06}" dt="2022-01-11T03:03:34.695" v="360"/>
          <ac:spMkLst>
            <pc:docMk/>
            <pc:sldMk cId="1985630996" sldId="385"/>
            <ac:spMk id="9" creationId="{3FD67567-AC4E-4BE1-9524-1C4E43795904}"/>
          </ac:spMkLst>
        </pc:spChg>
        <pc:spChg chg="mod">
          <ac:chgData name="EVELYNSM.YONG" userId="S::evelynsm.yong_gmail.com#ext#@risebcg.onmicrosoft.com::67a27a72-2420-4d38-b745-316a53f4b99a" providerId="AD" clId="Web-{F7F9ED99-F543-40A2-8A6C-8021AD617F06}" dt="2022-01-11T02:45:25.861" v="47" actId="1076"/>
          <ac:spMkLst>
            <pc:docMk/>
            <pc:sldMk cId="1985630996" sldId="385"/>
            <ac:spMk id="15" creationId="{1F2C1FDF-EED7-4160-A26E-17CDC484D1F4}"/>
          </ac:spMkLst>
        </pc:spChg>
        <pc:spChg chg="mod">
          <ac:chgData name="EVELYNSM.YONG" userId="S::evelynsm.yong_gmail.com#ext#@risebcg.onmicrosoft.com::67a27a72-2420-4d38-b745-316a53f4b99a" providerId="AD" clId="Web-{F7F9ED99-F543-40A2-8A6C-8021AD617F06}" dt="2022-01-11T02:45:32.377" v="48" actId="1076"/>
          <ac:spMkLst>
            <pc:docMk/>
            <pc:sldMk cId="1985630996" sldId="385"/>
            <ac:spMk id="16" creationId="{61F108A6-436D-4F03-92A9-5601D56E72A0}"/>
          </ac:spMkLst>
        </pc:spChg>
        <pc:picChg chg="del">
          <ac:chgData name="EVELYNSM.YONG" userId="S::evelynsm.yong_gmail.com#ext#@risebcg.onmicrosoft.com::67a27a72-2420-4d38-b745-316a53f4b99a" providerId="AD" clId="Web-{F7F9ED99-F543-40A2-8A6C-8021AD617F06}" dt="2022-01-11T02:45:22.549" v="46"/>
          <ac:picMkLst>
            <pc:docMk/>
            <pc:sldMk cId="1985630996" sldId="385"/>
            <ac:picMk id="6" creationId="{7B905E0D-985A-447D-B4B6-DCCB0FA62F2A}"/>
          </ac:picMkLst>
        </pc:picChg>
      </pc:sldChg>
      <pc:sldChg chg="addSp modSp">
        <pc:chgData name="EVELYNSM.YONG" userId="S::evelynsm.yong_gmail.com#ext#@risebcg.onmicrosoft.com::67a27a72-2420-4d38-b745-316a53f4b99a" providerId="AD" clId="Web-{F7F9ED99-F543-40A2-8A6C-8021AD617F06}" dt="2022-01-11T03:07:40.841" v="428"/>
        <pc:sldMkLst>
          <pc:docMk/>
          <pc:sldMk cId="1042430735" sldId="386"/>
        </pc:sldMkLst>
        <pc:spChg chg="mod">
          <ac:chgData name="EVELYNSM.YONG" userId="S::evelynsm.yong_gmail.com#ext#@risebcg.onmicrosoft.com::67a27a72-2420-4d38-b745-316a53f4b99a" providerId="AD" clId="Web-{F7F9ED99-F543-40A2-8A6C-8021AD617F06}" dt="2022-01-11T03:07:29.700" v="424"/>
          <ac:spMkLst>
            <pc:docMk/>
            <pc:sldMk cId="1042430735" sldId="386"/>
            <ac:spMk id="2" creationId="{1CAEE4F4-60D4-46CA-A79F-1CD22235EEA0}"/>
          </ac:spMkLst>
        </pc:spChg>
        <pc:spChg chg="add">
          <ac:chgData name="EVELYNSM.YONG" userId="S::evelynsm.yong_gmail.com#ext#@risebcg.onmicrosoft.com::67a27a72-2420-4d38-b745-316a53f4b99a" providerId="AD" clId="Web-{F7F9ED99-F543-40A2-8A6C-8021AD617F06}" dt="2022-01-11T03:07:34.091" v="425"/>
          <ac:spMkLst>
            <pc:docMk/>
            <pc:sldMk cId="1042430735" sldId="386"/>
            <ac:spMk id="5" creationId="{A1E26808-A725-4784-8277-2918659CAA65}"/>
          </ac:spMkLst>
        </pc:spChg>
        <pc:spChg chg="mod">
          <ac:chgData name="EVELYNSM.YONG" userId="S::evelynsm.yong_gmail.com#ext#@risebcg.onmicrosoft.com::67a27a72-2420-4d38-b745-316a53f4b99a" providerId="AD" clId="Web-{F7F9ED99-F543-40A2-8A6C-8021AD617F06}" dt="2022-01-11T03:07:40.841" v="428"/>
          <ac:spMkLst>
            <pc:docMk/>
            <pc:sldMk cId="1042430735" sldId="386"/>
            <ac:spMk id="6" creationId="{1C835B3A-380E-4994-B53F-7959A6AC8E61}"/>
          </ac:spMkLst>
        </pc:spChg>
        <pc:graphicFrameChg chg="mod">
          <ac:chgData name="EVELYNSM.YONG" userId="S::evelynsm.yong_gmail.com#ext#@risebcg.onmicrosoft.com::67a27a72-2420-4d38-b745-316a53f4b99a" providerId="AD" clId="Web-{F7F9ED99-F543-40A2-8A6C-8021AD617F06}" dt="2022-01-11T03:02:13.163" v="341" actId="1076"/>
          <ac:graphicFrameMkLst>
            <pc:docMk/>
            <pc:sldMk cId="1042430735" sldId="386"/>
            <ac:graphicFrameMk id="8" creationId="{BD3CD10A-81F4-4A69-8AAA-07E4E7005A3F}"/>
          </ac:graphicFrameMkLst>
        </pc:graphicFrameChg>
        <pc:picChg chg="mod">
          <ac:chgData name="EVELYNSM.YONG" userId="S::evelynsm.yong_gmail.com#ext#@risebcg.onmicrosoft.com::67a27a72-2420-4d38-b745-316a53f4b99a" providerId="AD" clId="Web-{F7F9ED99-F543-40A2-8A6C-8021AD617F06}" dt="2022-01-11T03:02:27.085" v="343" actId="1076"/>
          <ac:picMkLst>
            <pc:docMk/>
            <pc:sldMk cId="1042430735" sldId="386"/>
            <ac:picMk id="4" creationId="{46E58862-E3FD-4841-8757-18ED8AB46909}"/>
          </ac:picMkLst>
        </pc:picChg>
        <pc:picChg chg="add">
          <ac:chgData name="EVELYNSM.YONG" userId="S::evelynsm.yong_gmail.com#ext#@risebcg.onmicrosoft.com::67a27a72-2420-4d38-b745-316a53f4b99a" providerId="AD" clId="Web-{F7F9ED99-F543-40A2-8A6C-8021AD617F06}" dt="2022-01-11T03:07:34.122" v="426"/>
          <ac:picMkLst>
            <pc:docMk/>
            <pc:sldMk cId="1042430735" sldId="386"/>
            <ac:picMk id="10" creationId="{F0E86C43-04BE-4069-8197-3FA5A1E6284A}"/>
          </ac:picMkLst>
        </pc:picChg>
      </pc:sldChg>
      <pc:sldChg chg="addSp delSp modSp add ord replId">
        <pc:chgData name="EVELYNSM.YONG" userId="S::evelynsm.yong_gmail.com#ext#@risebcg.onmicrosoft.com::67a27a72-2420-4d38-b745-316a53f4b99a" providerId="AD" clId="Web-{F7F9ED99-F543-40A2-8A6C-8021AD617F06}" dt="2022-01-11T03:29:42.758" v="970" actId="20577"/>
        <pc:sldMkLst>
          <pc:docMk/>
          <pc:sldMk cId="996698021" sldId="387"/>
        </pc:sldMkLst>
        <pc:spChg chg="mod">
          <ac:chgData name="EVELYNSM.YONG" userId="S::evelynsm.yong_gmail.com#ext#@risebcg.onmicrosoft.com::67a27a72-2420-4d38-b745-316a53f4b99a" providerId="AD" clId="Web-{F7F9ED99-F543-40A2-8A6C-8021AD617F06}" dt="2022-01-11T03:29:42.758" v="970" actId="20577"/>
          <ac:spMkLst>
            <pc:docMk/>
            <pc:sldMk cId="996698021" sldId="387"/>
            <ac:spMk id="2" creationId="{D2AC414D-C8F9-4E07-9D41-5AAD3600E4CA}"/>
          </ac:spMkLst>
        </pc:spChg>
        <pc:spChg chg="add del mod">
          <ac:chgData name="EVELYNSM.YONG" userId="S::evelynsm.yong_gmail.com#ext#@risebcg.onmicrosoft.com::67a27a72-2420-4d38-b745-316a53f4b99a" providerId="AD" clId="Web-{F7F9ED99-F543-40A2-8A6C-8021AD617F06}" dt="2022-01-11T03:21:38.889" v="755"/>
          <ac:spMkLst>
            <pc:docMk/>
            <pc:sldMk cId="996698021" sldId="387"/>
            <ac:spMk id="3" creationId="{F83BFE92-ABF9-44FB-B9AB-8A1534E1B073}"/>
          </ac:spMkLst>
        </pc:spChg>
        <pc:grpChg chg="del">
          <ac:chgData name="EVELYNSM.YONG" userId="S::evelynsm.yong_gmail.com#ext#@risebcg.onmicrosoft.com::67a27a72-2420-4d38-b745-316a53f4b99a" providerId="AD" clId="Web-{F7F9ED99-F543-40A2-8A6C-8021AD617F06}" dt="2022-01-11T03:21:34.389" v="752"/>
          <ac:grpSpMkLst>
            <pc:docMk/>
            <pc:sldMk cId="996698021" sldId="387"/>
            <ac:grpSpMk id="10" creationId="{258CA1F2-5352-4D56-9429-D795344C6B88}"/>
          </ac:grpSpMkLst>
        </pc:grpChg>
      </pc:sldChg>
      <pc:sldChg chg="modSp add ord replId">
        <pc:chgData name="EVELYNSM.YONG" userId="S::evelynsm.yong_gmail.com#ext#@risebcg.onmicrosoft.com::67a27a72-2420-4d38-b745-316a53f4b99a" providerId="AD" clId="Web-{F7F9ED99-F543-40A2-8A6C-8021AD617F06}" dt="2022-01-11T03:29:56.461" v="978" actId="20577"/>
        <pc:sldMkLst>
          <pc:docMk/>
          <pc:sldMk cId="694646222" sldId="388"/>
        </pc:sldMkLst>
        <pc:spChg chg="mod">
          <ac:chgData name="EVELYNSM.YONG" userId="S::evelynsm.yong_gmail.com#ext#@risebcg.onmicrosoft.com::67a27a72-2420-4d38-b745-316a53f4b99a" providerId="AD" clId="Web-{F7F9ED99-F543-40A2-8A6C-8021AD617F06}" dt="2022-01-11T03:29:56.461" v="978" actId="20577"/>
          <ac:spMkLst>
            <pc:docMk/>
            <pc:sldMk cId="694646222" sldId="388"/>
            <ac:spMk id="2" creationId="{D2AC414D-C8F9-4E07-9D41-5AAD3600E4CA}"/>
          </ac:spMkLst>
        </pc:spChg>
      </pc:sldChg>
      <pc:sldChg chg="modSp add del replId">
        <pc:chgData name="EVELYNSM.YONG" userId="S::evelynsm.yong_gmail.com#ext#@risebcg.onmicrosoft.com::67a27a72-2420-4d38-b745-316a53f4b99a" providerId="AD" clId="Web-{F7F9ED99-F543-40A2-8A6C-8021AD617F06}" dt="2022-01-11T03:29:48.133" v="971"/>
        <pc:sldMkLst>
          <pc:docMk/>
          <pc:sldMk cId="2514679713" sldId="388"/>
        </pc:sldMkLst>
        <pc:spChg chg="mod">
          <ac:chgData name="EVELYNSM.YONG" userId="S::evelynsm.yong_gmail.com#ext#@risebcg.onmicrosoft.com::67a27a72-2420-4d38-b745-316a53f4b99a" providerId="AD" clId="Web-{F7F9ED99-F543-40A2-8A6C-8021AD617F06}" dt="2022-01-11T03:22:37.015" v="781" actId="20577"/>
          <ac:spMkLst>
            <pc:docMk/>
            <pc:sldMk cId="2514679713" sldId="388"/>
            <ac:spMk id="2" creationId="{D2AC414D-C8F9-4E07-9D41-5AAD3600E4CA}"/>
          </ac:spMkLst>
        </pc:spChg>
      </pc:sldChg>
    </pc:docChg>
  </pc:docChgLst>
  <pc:docChgLst>
    <pc:chgData name="WESLEY.TBW" userId="S::wesley.tbw_gmail.com#ext#@risebcg.onmicrosoft.com::1034df62-ee6d-4b2f-8a56-03c4406a0a8a" providerId="AD" clId="Web-{F4D536A2-EFCC-4670-8C8C-E863D221E9CA}"/>
    <pc:docChg chg="modSld">
      <pc:chgData name="WESLEY.TBW" userId="S::wesley.tbw_gmail.com#ext#@risebcg.onmicrosoft.com::1034df62-ee6d-4b2f-8a56-03c4406a0a8a" providerId="AD" clId="Web-{F4D536A2-EFCC-4670-8C8C-E863D221E9CA}" dt="2022-01-09T03:38:54.926" v="1144"/>
      <pc:docMkLst>
        <pc:docMk/>
      </pc:docMkLst>
      <pc:sldChg chg="modNotes">
        <pc:chgData name="WESLEY.TBW" userId="S::wesley.tbw_gmail.com#ext#@risebcg.onmicrosoft.com::1034df62-ee6d-4b2f-8a56-03c4406a0a8a" providerId="AD" clId="Web-{F4D536A2-EFCC-4670-8C8C-E863D221E9CA}" dt="2022-01-09T03:38:54.926" v="1144"/>
        <pc:sldMkLst>
          <pc:docMk/>
          <pc:sldMk cId="4084366951" sldId="318"/>
        </pc:sldMkLst>
      </pc:sldChg>
      <pc:sldChg chg="modNotes">
        <pc:chgData name="WESLEY.TBW" userId="S::wesley.tbw_gmail.com#ext#@risebcg.onmicrosoft.com::1034df62-ee6d-4b2f-8a56-03c4406a0a8a" providerId="AD" clId="Web-{F4D536A2-EFCC-4670-8C8C-E863D221E9CA}" dt="2022-01-09T03:31:35.120" v="965"/>
        <pc:sldMkLst>
          <pc:docMk/>
          <pc:sldMk cId="1249418479" sldId="334"/>
        </pc:sldMkLst>
      </pc:sldChg>
      <pc:sldChg chg="addSp modSp">
        <pc:chgData name="WESLEY.TBW" userId="S::wesley.tbw_gmail.com#ext#@risebcg.onmicrosoft.com::1034df62-ee6d-4b2f-8a56-03c4406a0a8a" providerId="AD" clId="Web-{F4D536A2-EFCC-4670-8C8C-E863D221E9CA}" dt="2022-01-09T03:30:46.932" v="927" actId="20577"/>
        <pc:sldMkLst>
          <pc:docMk/>
          <pc:sldMk cId="4159389698" sldId="342"/>
        </pc:sldMkLst>
        <pc:spChg chg="add mod">
          <ac:chgData name="WESLEY.TBW" userId="S::wesley.tbw_gmail.com#ext#@risebcg.onmicrosoft.com::1034df62-ee6d-4b2f-8a56-03c4406a0a8a" providerId="AD" clId="Web-{F4D536A2-EFCC-4670-8C8C-E863D221E9CA}" dt="2022-01-09T03:30:46.932" v="927" actId="20577"/>
          <ac:spMkLst>
            <pc:docMk/>
            <pc:sldMk cId="4159389698" sldId="342"/>
            <ac:spMk id="3" creationId="{B28C9884-8065-4F65-A34B-525EA6731753}"/>
          </ac:spMkLst>
        </pc:spChg>
      </pc:sldChg>
    </pc:docChg>
  </pc:docChgLst>
  <pc:docChgLst>
    <pc:chgData name="wei yuan" userId="S::pwy_92_hotmail.com#ext#@risebcg.onmicrosoft.com::ca38e7f8-9ace-4d94-b37a-86e65e91f2b0" providerId="AD" clId="Web-{E725992E-162C-40AB-8AAE-B624A47B0E36}"/>
    <pc:docChg chg="modSld">
      <pc:chgData name="wei yuan" userId="S::pwy_92_hotmail.com#ext#@risebcg.onmicrosoft.com::ca38e7f8-9ace-4d94-b37a-86e65e91f2b0" providerId="AD" clId="Web-{E725992E-162C-40AB-8AAE-B624A47B0E36}" dt="2022-01-10T10:16:03.092" v="71" actId="1076"/>
      <pc:docMkLst>
        <pc:docMk/>
      </pc:docMkLst>
      <pc:sldChg chg="addSp delSp modSp">
        <pc:chgData name="wei yuan" userId="S::pwy_92_hotmail.com#ext#@risebcg.onmicrosoft.com::ca38e7f8-9ace-4d94-b37a-86e65e91f2b0" providerId="AD" clId="Web-{E725992E-162C-40AB-8AAE-B624A47B0E36}" dt="2022-01-10T10:10:42.303" v="48" actId="1076"/>
        <pc:sldMkLst>
          <pc:docMk/>
          <pc:sldMk cId="2160415509" sldId="326"/>
        </pc:sldMkLst>
        <pc:spChg chg="mod">
          <ac:chgData name="wei yuan" userId="S::pwy_92_hotmail.com#ext#@risebcg.onmicrosoft.com::ca38e7f8-9ace-4d94-b37a-86e65e91f2b0" providerId="AD" clId="Web-{E725992E-162C-40AB-8AAE-B624A47B0E36}" dt="2022-01-10T09:59:05.286" v="8" actId="1076"/>
          <ac:spMkLst>
            <pc:docMk/>
            <pc:sldMk cId="2160415509" sldId="326"/>
            <ac:spMk id="3" creationId="{A06E2C6C-AA2D-4DBA-B448-457815C4CAD3}"/>
          </ac:spMkLst>
        </pc:spChg>
        <pc:spChg chg="mod">
          <ac:chgData name="wei yuan" userId="S::pwy_92_hotmail.com#ext#@risebcg.onmicrosoft.com::ca38e7f8-9ace-4d94-b37a-86e65e91f2b0" providerId="AD" clId="Web-{E725992E-162C-40AB-8AAE-B624A47B0E36}" dt="2022-01-10T10:10:31.709" v="47" actId="14100"/>
          <ac:spMkLst>
            <pc:docMk/>
            <pc:sldMk cId="2160415509" sldId="326"/>
            <ac:spMk id="4" creationId="{215644EC-E1A2-4B5F-BA53-79EB189605EC}"/>
          </ac:spMkLst>
        </pc:spChg>
        <pc:spChg chg="mod">
          <ac:chgData name="wei yuan" userId="S::pwy_92_hotmail.com#ext#@risebcg.onmicrosoft.com::ca38e7f8-9ace-4d94-b37a-86e65e91f2b0" providerId="AD" clId="Web-{E725992E-162C-40AB-8AAE-B624A47B0E36}" dt="2022-01-10T10:00:20.116" v="27" actId="1076"/>
          <ac:spMkLst>
            <pc:docMk/>
            <pc:sldMk cId="2160415509" sldId="326"/>
            <ac:spMk id="7" creationId="{EE72E06D-8EAE-4242-B1FE-DB5A60BCC68C}"/>
          </ac:spMkLst>
        </pc:spChg>
        <pc:spChg chg="mod">
          <ac:chgData name="wei yuan" userId="S::pwy_92_hotmail.com#ext#@risebcg.onmicrosoft.com::ca38e7f8-9ace-4d94-b37a-86e65e91f2b0" providerId="AD" clId="Web-{E725992E-162C-40AB-8AAE-B624A47B0E36}" dt="2022-01-10T09:59:15.802" v="10" actId="1076"/>
          <ac:spMkLst>
            <pc:docMk/>
            <pc:sldMk cId="2160415509" sldId="326"/>
            <ac:spMk id="10" creationId="{F403E5AA-CAF9-429E-AF8A-D6CAE94AE104}"/>
          </ac:spMkLst>
        </pc:spChg>
        <pc:spChg chg="mod">
          <ac:chgData name="wei yuan" userId="S::pwy_92_hotmail.com#ext#@risebcg.onmicrosoft.com::ca38e7f8-9ace-4d94-b37a-86e65e91f2b0" providerId="AD" clId="Web-{E725992E-162C-40AB-8AAE-B624A47B0E36}" dt="2022-01-10T09:59:42.631" v="20" actId="1076"/>
          <ac:spMkLst>
            <pc:docMk/>
            <pc:sldMk cId="2160415509" sldId="326"/>
            <ac:spMk id="11" creationId="{7A860165-0B15-49E4-A7ED-826D9540D919}"/>
          </ac:spMkLst>
        </pc:spChg>
        <pc:spChg chg="mod">
          <ac:chgData name="wei yuan" userId="S::pwy_92_hotmail.com#ext#@risebcg.onmicrosoft.com::ca38e7f8-9ace-4d94-b37a-86e65e91f2b0" providerId="AD" clId="Web-{E725992E-162C-40AB-8AAE-B624A47B0E36}" dt="2022-01-10T09:59:21.818" v="11" actId="1076"/>
          <ac:spMkLst>
            <pc:docMk/>
            <pc:sldMk cId="2160415509" sldId="326"/>
            <ac:spMk id="12" creationId="{E8C9A459-A11F-4DB3-BC61-E14A0DC903CB}"/>
          </ac:spMkLst>
        </pc:spChg>
        <pc:picChg chg="del">
          <ac:chgData name="wei yuan" userId="S::pwy_92_hotmail.com#ext#@risebcg.onmicrosoft.com::ca38e7f8-9ace-4d94-b37a-86e65e91f2b0" providerId="AD" clId="Web-{E725992E-162C-40AB-8AAE-B624A47B0E36}" dt="2022-01-10T09:58:43.098" v="1"/>
          <ac:picMkLst>
            <pc:docMk/>
            <pc:sldMk cId="2160415509" sldId="326"/>
            <ac:picMk id="5" creationId="{BA926763-DA3C-411B-BEF9-DCF545D5494A}"/>
          </ac:picMkLst>
        </pc:picChg>
        <pc:picChg chg="mod">
          <ac:chgData name="wei yuan" userId="S::pwy_92_hotmail.com#ext#@risebcg.onmicrosoft.com::ca38e7f8-9ace-4d94-b37a-86e65e91f2b0" providerId="AD" clId="Web-{E725992E-162C-40AB-8AAE-B624A47B0E36}" dt="2022-01-10T10:00:06.179" v="24" actId="1076"/>
          <ac:picMkLst>
            <pc:docMk/>
            <pc:sldMk cId="2160415509" sldId="326"/>
            <ac:picMk id="6" creationId="{BFC712DB-8FC7-4ACB-AF6D-D3D38470A4A2}"/>
          </ac:picMkLst>
        </pc:picChg>
        <pc:picChg chg="add del mod">
          <ac:chgData name="wei yuan" userId="S::pwy_92_hotmail.com#ext#@risebcg.onmicrosoft.com::ca38e7f8-9ace-4d94-b37a-86e65e91f2b0" providerId="AD" clId="Web-{E725992E-162C-40AB-8AAE-B624A47B0E36}" dt="2022-01-10T10:04:56.514" v="28"/>
          <ac:picMkLst>
            <pc:docMk/>
            <pc:sldMk cId="2160415509" sldId="326"/>
            <ac:picMk id="8" creationId="{66A5FEE8-D405-4B97-8D84-6E9C0C7CEEBB}"/>
          </ac:picMkLst>
        </pc:picChg>
        <pc:picChg chg="add del mod">
          <ac:chgData name="wei yuan" userId="S::pwy_92_hotmail.com#ext#@risebcg.onmicrosoft.com::ca38e7f8-9ace-4d94-b37a-86e65e91f2b0" providerId="AD" clId="Web-{E725992E-162C-40AB-8AAE-B624A47B0E36}" dt="2022-01-10T10:06:25.156" v="33"/>
          <ac:picMkLst>
            <pc:docMk/>
            <pc:sldMk cId="2160415509" sldId="326"/>
            <ac:picMk id="9" creationId="{5297CB80-A22E-4683-BA6F-C2393E774514}"/>
          </ac:picMkLst>
        </pc:picChg>
        <pc:picChg chg="add mod">
          <ac:chgData name="wei yuan" userId="S::pwy_92_hotmail.com#ext#@risebcg.onmicrosoft.com::ca38e7f8-9ace-4d94-b37a-86e65e91f2b0" providerId="AD" clId="Web-{E725992E-162C-40AB-8AAE-B624A47B0E36}" dt="2022-01-10T10:10:42.303" v="48" actId="1076"/>
          <ac:picMkLst>
            <pc:docMk/>
            <pc:sldMk cId="2160415509" sldId="326"/>
            <ac:picMk id="13" creationId="{D0632260-7B50-43ED-B59B-456B08533DBB}"/>
          </ac:picMkLst>
        </pc:picChg>
      </pc:sldChg>
      <pc:sldChg chg="addSp modSp modTransition addAnim modAnim">
        <pc:chgData name="wei yuan" userId="S::pwy_92_hotmail.com#ext#@risebcg.onmicrosoft.com::ca38e7f8-9ace-4d94-b37a-86e65e91f2b0" providerId="AD" clId="Web-{E725992E-162C-40AB-8AAE-B624A47B0E36}" dt="2022-01-10T10:16:03.092" v="71" actId="1076"/>
        <pc:sldMkLst>
          <pc:docMk/>
          <pc:sldMk cId="1894441827" sldId="358"/>
        </pc:sldMkLst>
        <pc:spChg chg="add mod">
          <ac:chgData name="wei yuan" userId="S::pwy_92_hotmail.com#ext#@risebcg.onmicrosoft.com::ca38e7f8-9ace-4d94-b37a-86e65e91f2b0" providerId="AD" clId="Web-{E725992E-162C-40AB-8AAE-B624A47B0E36}" dt="2022-01-10T10:16:03.092" v="71" actId="1076"/>
          <ac:spMkLst>
            <pc:docMk/>
            <pc:sldMk cId="1894441827" sldId="358"/>
            <ac:spMk id="4" creationId="{BDB31FE2-9758-4877-B34F-461A9AC9F934}"/>
          </ac:spMkLst>
        </pc:spChg>
      </pc:sldChg>
    </pc:docChg>
  </pc:docChgLst>
  <pc:docChgLst>
    <pc:chgData name="wei yuan" userId="S::pwy_92_hotmail.com#ext#@risebcg.onmicrosoft.com::ca38e7f8-9ace-4d94-b37a-86e65e91f2b0" providerId="AD" clId="Web-{ED715E7B-4604-42E7-9143-8C9AAFEFEE22}"/>
    <pc:docChg chg="addSld modSld">
      <pc:chgData name="wei yuan" userId="S::pwy_92_hotmail.com#ext#@risebcg.onmicrosoft.com::ca38e7f8-9ace-4d94-b37a-86e65e91f2b0" providerId="AD" clId="Web-{ED715E7B-4604-42E7-9143-8C9AAFEFEE22}" dt="2022-01-08T16:25:18.505" v="980" actId="1076"/>
      <pc:docMkLst>
        <pc:docMk/>
      </pc:docMkLst>
      <pc:sldChg chg="addSp delSp modSp">
        <pc:chgData name="wei yuan" userId="S::pwy_92_hotmail.com#ext#@risebcg.onmicrosoft.com::ca38e7f8-9ace-4d94-b37a-86e65e91f2b0" providerId="AD" clId="Web-{ED715E7B-4604-42E7-9143-8C9AAFEFEE22}" dt="2022-01-08T16:09:02.745" v="394" actId="20577"/>
        <pc:sldMkLst>
          <pc:docMk/>
          <pc:sldMk cId="2761597836" sldId="317"/>
        </pc:sldMkLst>
        <pc:spChg chg="mod">
          <ac:chgData name="wei yuan" userId="S::pwy_92_hotmail.com#ext#@risebcg.onmicrosoft.com::ca38e7f8-9ace-4d94-b37a-86e65e91f2b0" providerId="AD" clId="Web-{ED715E7B-4604-42E7-9143-8C9AAFEFEE22}" dt="2022-01-08T15:44:53.969" v="22" actId="20577"/>
          <ac:spMkLst>
            <pc:docMk/>
            <pc:sldMk cId="2761597836" sldId="317"/>
            <ac:spMk id="2" creationId="{1CAEE4F4-60D4-46CA-A79F-1CD22235EEA0}"/>
          </ac:spMkLst>
        </pc:spChg>
        <pc:spChg chg="mod">
          <ac:chgData name="wei yuan" userId="S::pwy_92_hotmail.com#ext#@risebcg.onmicrosoft.com::ca38e7f8-9ace-4d94-b37a-86e65e91f2b0" providerId="AD" clId="Web-{ED715E7B-4604-42E7-9143-8C9AAFEFEE22}" dt="2022-01-08T16:09:02.745" v="394" actId="20577"/>
          <ac:spMkLst>
            <pc:docMk/>
            <pc:sldMk cId="2761597836" sldId="317"/>
            <ac:spMk id="3" creationId="{3AAD55FA-63B7-4DBA-8DC0-293DEF7C309C}"/>
          </ac:spMkLst>
        </pc:spChg>
        <pc:spChg chg="add del">
          <ac:chgData name="wei yuan" userId="S::pwy_92_hotmail.com#ext#@risebcg.onmicrosoft.com::ca38e7f8-9ace-4d94-b37a-86e65e91f2b0" providerId="AD" clId="Web-{ED715E7B-4604-42E7-9143-8C9AAFEFEE22}" dt="2022-01-08T15:45:22.001" v="31"/>
          <ac:spMkLst>
            <pc:docMk/>
            <pc:sldMk cId="2761597836" sldId="317"/>
            <ac:spMk id="5" creationId="{A97CD14E-FC1B-4135-BD75-FBF0761B33E1}"/>
          </ac:spMkLst>
        </pc:spChg>
        <pc:picChg chg="add mod">
          <ac:chgData name="wei yuan" userId="S::pwy_92_hotmail.com#ext#@risebcg.onmicrosoft.com::ca38e7f8-9ace-4d94-b37a-86e65e91f2b0" providerId="AD" clId="Web-{ED715E7B-4604-42E7-9143-8C9AAFEFEE22}" dt="2022-01-08T15:50:34.371" v="202" actId="1076"/>
          <ac:picMkLst>
            <pc:docMk/>
            <pc:sldMk cId="2761597836" sldId="317"/>
            <ac:picMk id="4" creationId="{B052766A-13D1-4657-87F7-23139C8B3360}"/>
          </ac:picMkLst>
        </pc:picChg>
        <pc:picChg chg="add mod">
          <ac:chgData name="wei yuan" userId="S::pwy_92_hotmail.com#ext#@risebcg.onmicrosoft.com::ca38e7f8-9ace-4d94-b37a-86e65e91f2b0" providerId="AD" clId="Web-{ED715E7B-4604-42E7-9143-8C9AAFEFEE22}" dt="2022-01-08T16:06:09.178" v="224" actId="1076"/>
          <ac:picMkLst>
            <pc:docMk/>
            <pc:sldMk cId="2761597836" sldId="317"/>
            <ac:picMk id="6" creationId="{7CB028D9-5E81-4D63-A1E2-97D2DBFCDC09}"/>
          </ac:picMkLst>
        </pc:picChg>
      </pc:sldChg>
      <pc:sldChg chg="modSp">
        <pc:chgData name="wei yuan" userId="S::pwy_92_hotmail.com#ext#@risebcg.onmicrosoft.com::ca38e7f8-9ace-4d94-b37a-86e65e91f2b0" providerId="AD" clId="Web-{ED715E7B-4604-42E7-9143-8C9AAFEFEE22}" dt="2022-01-08T14:40:18.732" v="14" actId="20577"/>
        <pc:sldMkLst>
          <pc:docMk/>
          <pc:sldMk cId="2316358039" sldId="325"/>
        </pc:sldMkLst>
        <pc:spChg chg="mod">
          <ac:chgData name="wei yuan" userId="S::pwy_92_hotmail.com#ext#@risebcg.onmicrosoft.com::ca38e7f8-9ace-4d94-b37a-86e65e91f2b0" providerId="AD" clId="Web-{ED715E7B-4604-42E7-9143-8C9AAFEFEE22}" dt="2022-01-08T14:40:18.732" v="14" actId="20577"/>
          <ac:spMkLst>
            <pc:docMk/>
            <pc:sldMk cId="2316358039" sldId="325"/>
            <ac:spMk id="21" creationId="{E9143E79-0358-464A-ACC6-31293226C369}"/>
          </ac:spMkLst>
        </pc:spChg>
      </pc:sldChg>
      <pc:sldChg chg="addSp delSp modSp">
        <pc:chgData name="wei yuan" userId="S::pwy_92_hotmail.com#ext#@risebcg.onmicrosoft.com::ca38e7f8-9ace-4d94-b37a-86e65e91f2b0" providerId="AD" clId="Web-{ED715E7B-4604-42E7-9143-8C9AAFEFEE22}" dt="2022-01-08T14:39:32.995" v="10" actId="1076"/>
        <pc:sldMkLst>
          <pc:docMk/>
          <pc:sldMk cId="2160415509" sldId="326"/>
        </pc:sldMkLst>
        <pc:picChg chg="del mod">
          <ac:chgData name="wei yuan" userId="S::pwy_92_hotmail.com#ext#@risebcg.onmicrosoft.com::ca38e7f8-9ace-4d94-b37a-86e65e91f2b0" providerId="AD" clId="Web-{ED715E7B-4604-42E7-9143-8C9AAFEFEE22}" dt="2022-01-08T14:39:28.479" v="7"/>
          <ac:picMkLst>
            <pc:docMk/>
            <pc:sldMk cId="2160415509" sldId="326"/>
            <ac:picMk id="5" creationId="{8D9C3E5E-0B98-4B88-BFAE-486A9BD232FA}"/>
          </ac:picMkLst>
        </pc:picChg>
        <pc:picChg chg="add mod">
          <ac:chgData name="wei yuan" userId="S::pwy_92_hotmail.com#ext#@risebcg.onmicrosoft.com::ca38e7f8-9ace-4d94-b37a-86e65e91f2b0" providerId="AD" clId="Web-{ED715E7B-4604-42E7-9143-8C9AAFEFEE22}" dt="2022-01-08T14:39:32.995" v="10" actId="1076"/>
          <ac:picMkLst>
            <pc:docMk/>
            <pc:sldMk cId="2160415509" sldId="326"/>
            <ac:picMk id="6" creationId="{BFC712DB-8FC7-4ACB-AF6D-D3D38470A4A2}"/>
          </ac:picMkLst>
        </pc:picChg>
      </pc:sldChg>
      <pc:sldChg chg="addSp delSp modSp add replId">
        <pc:chgData name="wei yuan" userId="S::pwy_92_hotmail.com#ext#@risebcg.onmicrosoft.com::ca38e7f8-9ace-4d94-b37a-86e65e91f2b0" providerId="AD" clId="Web-{ED715E7B-4604-42E7-9143-8C9AAFEFEE22}" dt="2022-01-08T16:25:18.505" v="980" actId="1076"/>
        <pc:sldMkLst>
          <pc:docMk/>
          <pc:sldMk cId="744992136" sldId="357"/>
        </pc:sldMkLst>
        <pc:spChg chg="mod">
          <ac:chgData name="wei yuan" userId="S::pwy_92_hotmail.com#ext#@risebcg.onmicrosoft.com::ca38e7f8-9ace-4d94-b37a-86e65e91f2b0" providerId="AD" clId="Web-{ED715E7B-4604-42E7-9143-8C9AAFEFEE22}" dt="2022-01-08T16:23:50.206" v="971" actId="1076"/>
          <ac:spMkLst>
            <pc:docMk/>
            <pc:sldMk cId="744992136" sldId="357"/>
            <ac:spMk id="2" creationId="{1CAEE4F4-60D4-46CA-A79F-1CD22235EEA0}"/>
          </ac:spMkLst>
        </pc:spChg>
        <pc:spChg chg="mod">
          <ac:chgData name="wei yuan" userId="S::pwy_92_hotmail.com#ext#@risebcg.onmicrosoft.com::ca38e7f8-9ace-4d94-b37a-86e65e91f2b0" providerId="AD" clId="Web-{ED715E7B-4604-42E7-9143-8C9AAFEFEE22}" dt="2022-01-08T16:24:28.613" v="978" actId="20577"/>
          <ac:spMkLst>
            <pc:docMk/>
            <pc:sldMk cId="744992136" sldId="357"/>
            <ac:spMk id="3" creationId="{3AAD55FA-63B7-4DBA-8DC0-293DEF7C309C}"/>
          </ac:spMkLst>
        </pc:spChg>
        <pc:picChg chg="add mod">
          <ac:chgData name="wei yuan" userId="S::pwy_92_hotmail.com#ext#@risebcg.onmicrosoft.com::ca38e7f8-9ace-4d94-b37a-86e65e91f2b0" providerId="AD" clId="Web-{ED715E7B-4604-42E7-9143-8C9AAFEFEE22}" dt="2022-01-08T16:25:18.505" v="980" actId="1076"/>
          <ac:picMkLst>
            <pc:docMk/>
            <pc:sldMk cId="744992136" sldId="357"/>
            <ac:picMk id="4" creationId="{46E58862-E3FD-4841-8757-18ED8AB46909}"/>
          </ac:picMkLst>
        </pc:picChg>
        <pc:picChg chg="add del mod">
          <ac:chgData name="wei yuan" userId="S::pwy_92_hotmail.com#ext#@risebcg.onmicrosoft.com::ca38e7f8-9ace-4d94-b37a-86e65e91f2b0" providerId="AD" clId="Web-{ED715E7B-4604-42E7-9143-8C9AAFEFEE22}" dt="2022-01-08T16:23:37.253" v="962"/>
          <ac:picMkLst>
            <pc:docMk/>
            <pc:sldMk cId="744992136" sldId="357"/>
            <ac:picMk id="5" creationId="{8C6737B0-E6D2-4087-A241-447E2344C1CA}"/>
          </ac:picMkLst>
        </pc:picChg>
      </pc:sldChg>
      <pc:sldChg chg="add replId">
        <pc:chgData name="wei yuan" userId="S::pwy_92_hotmail.com#ext#@risebcg.onmicrosoft.com::ca38e7f8-9ace-4d94-b37a-86e65e91f2b0" providerId="AD" clId="Web-{ED715E7B-4604-42E7-9143-8C9AAFEFEE22}" dt="2022-01-08T16:09:10.307" v="395"/>
        <pc:sldMkLst>
          <pc:docMk/>
          <pc:sldMk cId="1365250593" sldId="359"/>
        </pc:sldMkLst>
      </pc:sldChg>
    </pc:docChg>
  </pc:docChgLst>
  <pc:docChgLst>
    <pc:chgData name="EVELYNSM.YONG" userId="S::evelynsm.yong_gmail.com#ext#@risebcg.onmicrosoft.com::67a27a72-2420-4d38-b745-316a53f4b99a" providerId="AD" clId="Web-{0883F417-7066-4F8C-84B9-A30A3FA59957}"/>
    <pc:docChg chg="addSld modSld">
      <pc:chgData name="EVELYNSM.YONG" userId="S::evelynsm.yong_gmail.com#ext#@risebcg.onmicrosoft.com::67a27a72-2420-4d38-b745-316a53f4b99a" providerId="AD" clId="Web-{0883F417-7066-4F8C-84B9-A30A3FA59957}" dt="2022-01-11T03:43:26.715" v="119"/>
      <pc:docMkLst>
        <pc:docMk/>
      </pc:docMkLst>
      <pc:sldChg chg="modNotes">
        <pc:chgData name="EVELYNSM.YONG" userId="S::evelynsm.yong_gmail.com#ext#@risebcg.onmicrosoft.com::67a27a72-2420-4d38-b745-316a53f4b99a" providerId="AD" clId="Web-{0883F417-7066-4F8C-84B9-A30A3FA59957}" dt="2022-01-11T03:43:26.715" v="119"/>
        <pc:sldMkLst>
          <pc:docMk/>
          <pc:sldMk cId="3391215681" sldId="339"/>
        </pc:sldMkLst>
      </pc:sldChg>
      <pc:sldChg chg="addSp delSp modSp new">
        <pc:chgData name="EVELYNSM.YONG" userId="S::evelynsm.yong_gmail.com#ext#@risebcg.onmicrosoft.com::67a27a72-2420-4d38-b745-316a53f4b99a" providerId="AD" clId="Web-{0883F417-7066-4F8C-84B9-A30A3FA59957}" dt="2022-01-11T03:40:58.195" v="73" actId="20577"/>
        <pc:sldMkLst>
          <pc:docMk/>
          <pc:sldMk cId="3911111002" sldId="389"/>
        </pc:sldMkLst>
        <pc:spChg chg="add del mod">
          <ac:chgData name="EVELYNSM.YONG" userId="S::evelynsm.yong_gmail.com#ext#@risebcg.onmicrosoft.com::67a27a72-2420-4d38-b745-316a53f4b99a" providerId="AD" clId="Web-{0883F417-7066-4F8C-84B9-A30A3FA59957}" dt="2022-01-11T03:39:11.910" v="20"/>
          <ac:spMkLst>
            <pc:docMk/>
            <pc:sldMk cId="3911111002" sldId="389"/>
            <ac:spMk id="2" creationId="{00C81369-4D05-442F-937D-7DCA1AED9FFD}"/>
          </ac:spMkLst>
        </pc:spChg>
        <pc:spChg chg="add mod">
          <ac:chgData name="EVELYNSM.YONG" userId="S::evelynsm.yong_gmail.com#ext#@risebcg.onmicrosoft.com::67a27a72-2420-4d38-b745-316a53f4b99a" providerId="AD" clId="Web-{0883F417-7066-4F8C-84B9-A30A3FA59957}" dt="2022-01-11T03:40:58.195" v="73" actId="20577"/>
          <ac:spMkLst>
            <pc:docMk/>
            <pc:sldMk cId="3911111002" sldId="389"/>
            <ac:spMk id="4" creationId="{B5093534-E4E0-4265-83EB-A4FA8D3A8C7C}"/>
          </ac:spMkLst>
        </pc:spChg>
        <pc:spChg chg="add del mod">
          <ac:chgData name="EVELYNSM.YONG" userId="S::evelynsm.yong_gmail.com#ext#@risebcg.onmicrosoft.com::67a27a72-2420-4d38-b745-316a53f4b99a" providerId="AD" clId="Web-{0883F417-7066-4F8C-84B9-A30A3FA59957}" dt="2022-01-11T03:40:43.429" v="71"/>
          <ac:spMkLst>
            <pc:docMk/>
            <pc:sldMk cId="3911111002" sldId="389"/>
            <ac:spMk id="5" creationId="{393E44E9-95A9-4CF7-9BAB-6394FF59121F}"/>
          </ac:spMkLst>
        </pc:spChg>
      </pc:sldChg>
    </pc:docChg>
  </pc:docChgLst>
  <pc:docChgLst>
    <pc:chgData name="EVELYNSM.YONG" userId="S::evelynsm.yong_gmail.com#ext#@risebcg.onmicrosoft.com::67a27a72-2420-4d38-b745-316a53f4b99a" providerId="AD" clId="Web-{B0F3A502-3AAB-41AE-A44C-28F5E8973229}"/>
    <pc:docChg chg="modSld">
      <pc:chgData name="EVELYNSM.YONG" userId="S::evelynsm.yong_gmail.com#ext#@risebcg.onmicrosoft.com::67a27a72-2420-4d38-b745-316a53f4b99a" providerId="AD" clId="Web-{B0F3A502-3AAB-41AE-A44C-28F5E8973229}" dt="2022-01-10T09:52:51.728" v="66" actId="1076"/>
      <pc:docMkLst>
        <pc:docMk/>
      </pc:docMkLst>
      <pc:sldChg chg="addSp modSp">
        <pc:chgData name="EVELYNSM.YONG" userId="S::evelynsm.yong_gmail.com#ext#@risebcg.onmicrosoft.com::67a27a72-2420-4d38-b745-316a53f4b99a" providerId="AD" clId="Web-{B0F3A502-3AAB-41AE-A44C-28F5E8973229}" dt="2022-01-10T09:52:51.728" v="66" actId="1076"/>
        <pc:sldMkLst>
          <pc:docMk/>
          <pc:sldMk cId="3531645893" sldId="360"/>
        </pc:sldMkLst>
        <pc:spChg chg="mod">
          <ac:chgData name="EVELYNSM.YONG" userId="S::evelynsm.yong_gmail.com#ext#@risebcg.onmicrosoft.com::67a27a72-2420-4d38-b745-316a53f4b99a" providerId="AD" clId="Web-{B0F3A502-3AAB-41AE-A44C-28F5E8973229}" dt="2022-01-10T09:49:09.286" v="36"/>
          <ac:spMkLst>
            <pc:docMk/>
            <pc:sldMk cId="3531645893" sldId="360"/>
            <ac:spMk id="5" creationId="{1999C9A4-8C8B-43CC-B77D-B8C58575D4DE}"/>
          </ac:spMkLst>
        </pc:spChg>
        <pc:spChg chg="mod">
          <ac:chgData name="EVELYNSM.YONG" userId="S::evelynsm.yong_gmail.com#ext#@risebcg.onmicrosoft.com::67a27a72-2420-4d38-b745-316a53f4b99a" providerId="AD" clId="Web-{B0F3A502-3AAB-41AE-A44C-28F5E8973229}" dt="2022-01-10T09:52:46.384" v="64" actId="1076"/>
          <ac:spMkLst>
            <pc:docMk/>
            <pc:sldMk cId="3531645893" sldId="360"/>
            <ac:spMk id="16" creationId="{C5929122-1CD8-4F76-B666-CD1876A444F2}"/>
          </ac:spMkLst>
        </pc:spChg>
        <pc:spChg chg="mod">
          <ac:chgData name="EVELYNSM.YONG" userId="S::evelynsm.yong_gmail.com#ext#@risebcg.onmicrosoft.com::67a27a72-2420-4d38-b745-316a53f4b99a" providerId="AD" clId="Web-{B0F3A502-3AAB-41AE-A44C-28F5E8973229}" dt="2022-01-10T09:52:51.728" v="66" actId="1076"/>
          <ac:spMkLst>
            <pc:docMk/>
            <pc:sldMk cId="3531645893" sldId="360"/>
            <ac:spMk id="17" creationId="{B0B180E1-89CE-47E9-9BE8-885E81BBC262}"/>
          </ac:spMkLst>
        </pc:spChg>
        <pc:spChg chg="mod">
          <ac:chgData name="EVELYNSM.YONG" userId="S::evelynsm.yong_gmail.com#ext#@risebcg.onmicrosoft.com::67a27a72-2420-4d38-b745-316a53f4b99a" providerId="AD" clId="Web-{B0F3A502-3AAB-41AE-A44C-28F5E8973229}" dt="2022-01-10T09:48:39.317" v="31" actId="20577"/>
          <ac:spMkLst>
            <pc:docMk/>
            <pc:sldMk cId="3531645893" sldId="360"/>
            <ac:spMk id="18" creationId="{83C6C493-EE06-4670-B1AB-91DD5175B793}"/>
          </ac:spMkLst>
        </pc:spChg>
        <pc:spChg chg="mod">
          <ac:chgData name="EVELYNSM.YONG" userId="S::evelynsm.yong_gmail.com#ext#@risebcg.onmicrosoft.com::67a27a72-2420-4d38-b745-316a53f4b99a" providerId="AD" clId="Web-{B0F3A502-3AAB-41AE-A44C-28F5E8973229}" dt="2022-01-10T09:48:29.723" v="30"/>
          <ac:spMkLst>
            <pc:docMk/>
            <pc:sldMk cId="3531645893" sldId="360"/>
            <ac:spMk id="19" creationId="{950C64E7-6661-4AEA-8068-716AD3707128}"/>
          </ac:spMkLst>
        </pc:spChg>
        <pc:spChg chg="mod">
          <ac:chgData name="EVELYNSM.YONG" userId="S::evelynsm.yong_gmail.com#ext#@risebcg.onmicrosoft.com::67a27a72-2420-4d38-b745-316a53f4b99a" providerId="AD" clId="Web-{B0F3A502-3AAB-41AE-A44C-28F5E8973229}" dt="2022-01-10T09:52:47.712" v="65" actId="1076"/>
          <ac:spMkLst>
            <pc:docMk/>
            <pc:sldMk cId="3531645893" sldId="360"/>
            <ac:spMk id="20" creationId="{64A6A166-6CE6-41F0-99B2-FC47AF50CD6C}"/>
          </ac:spMkLst>
        </pc:spChg>
        <pc:spChg chg="mod">
          <ac:chgData name="EVELYNSM.YONG" userId="S::evelynsm.yong_gmail.com#ext#@risebcg.onmicrosoft.com::67a27a72-2420-4d38-b745-316a53f4b99a" providerId="AD" clId="Web-{B0F3A502-3AAB-41AE-A44C-28F5E8973229}" dt="2022-01-10T09:48:07.441" v="19"/>
          <ac:spMkLst>
            <pc:docMk/>
            <pc:sldMk cId="3531645893" sldId="360"/>
            <ac:spMk id="21" creationId="{3B725847-CDC2-41AB-A059-69A3E5F93F82}"/>
          </ac:spMkLst>
        </pc:spChg>
        <pc:spChg chg="mod">
          <ac:chgData name="EVELYNSM.YONG" userId="S::evelynsm.yong_gmail.com#ext#@risebcg.onmicrosoft.com::67a27a72-2420-4d38-b745-316a53f4b99a" providerId="AD" clId="Web-{B0F3A502-3AAB-41AE-A44C-28F5E8973229}" dt="2022-01-10T09:48:22.348" v="28"/>
          <ac:spMkLst>
            <pc:docMk/>
            <pc:sldMk cId="3531645893" sldId="360"/>
            <ac:spMk id="23" creationId="{2E06316D-D669-4187-8235-1A4EE0D9868B}"/>
          </ac:spMkLst>
        </pc:spChg>
        <pc:spChg chg="mod">
          <ac:chgData name="EVELYNSM.YONG" userId="S::evelynsm.yong_gmail.com#ext#@risebcg.onmicrosoft.com::67a27a72-2420-4d38-b745-316a53f4b99a" providerId="AD" clId="Web-{B0F3A502-3AAB-41AE-A44C-28F5E8973229}" dt="2022-01-10T09:48:22.363" v="29"/>
          <ac:spMkLst>
            <pc:docMk/>
            <pc:sldMk cId="3531645893" sldId="360"/>
            <ac:spMk id="24" creationId="{CEFC4E90-FB9D-4E3E-86B1-5712D705BC99}"/>
          </ac:spMkLst>
        </pc:spChg>
        <pc:spChg chg="mod">
          <ac:chgData name="EVELYNSM.YONG" userId="S::evelynsm.yong_gmail.com#ext#@risebcg.onmicrosoft.com::67a27a72-2420-4d38-b745-316a53f4b99a" providerId="AD" clId="Web-{B0F3A502-3AAB-41AE-A44C-28F5E8973229}" dt="2022-01-10T09:49:02.599" v="35"/>
          <ac:spMkLst>
            <pc:docMk/>
            <pc:sldMk cId="3531645893" sldId="360"/>
            <ac:spMk id="25" creationId="{F2D8752B-46CF-482C-9E54-5BF79DDF6A1D}"/>
          </ac:spMkLst>
        </pc:spChg>
        <pc:spChg chg="mod">
          <ac:chgData name="EVELYNSM.YONG" userId="S::evelynsm.yong_gmail.com#ext#@risebcg.onmicrosoft.com::67a27a72-2420-4d38-b745-316a53f4b99a" providerId="AD" clId="Web-{B0F3A502-3AAB-41AE-A44C-28F5E8973229}" dt="2022-01-10T09:51:11.476" v="49"/>
          <ac:spMkLst>
            <pc:docMk/>
            <pc:sldMk cId="3531645893" sldId="360"/>
            <ac:spMk id="33" creationId="{49617808-6BA1-41EC-8873-001A45EF30D5}"/>
          </ac:spMkLst>
        </pc:spChg>
        <pc:spChg chg="mod">
          <ac:chgData name="EVELYNSM.YONG" userId="S::evelynsm.yong_gmail.com#ext#@risebcg.onmicrosoft.com::67a27a72-2420-4d38-b745-316a53f4b99a" providerId="AD" clId="Web-{B0F3A502-3AAB-41AE-A44C-28F5E8973229}" dt="2022-01-10T09:51:23.101" v="50"/>
          <ac:spMkLst>
            <pc:docMk/>
            <pc:sldMk cId="3531645893" sldId="360"/>
            <ac:spMk id="34" creationId="{BB464795-1EE5-4DAA-81B4-5DD73A621377}"/>
          </ac:spMkLst>
        </pc:spChg>
        <pc:spChg chg="mod">
          <ac:chgData name="EVELYNSM.YONG" userId="S::evelynsm.yong_gmail.com#ext#@risebcg.onmicrosoft.com::67a27a72-2420-4d38-b745-316a53f4b99a" providerId="AD" clId="Web-{B0F3A502-3AAB-41AE-A44C-28F5E8973229}" dt="2022-01-10T09:47:25.644" v="12" actId="1076"/>
          <ac:spMkLst>
            <pc:docMk/>
            <pc:sldMk cId="3531645893" sldId="360"/>
            <ac:spMk id="35" creationId="{BEBA2DB5-D01A-45D1-B10F-CDA2A5C3CE6D}"/>
          </ac:spMkLst>
        </pc:spChg>
        <pc:spChg chg="mod ord">
          <ac:chgData name="EVELYNSM.YONG" userId="S::evelynsm.yong_gmail.com#ext#@risebcg.onmicrosoft.com::67a27a72-2420-4d38-b745-316a53f4b99a" providerId="AD" clId="Web-{B0F3A502-3AAB-41AE-A44C-28F5E8973229}" dt="2022-01-10T09:51:23.132" v="52"/>
          <ac:spMkLst>
            <pc:docMk/>
            <pc:sldMk cId="3531645893" sldId="360"/>
            <ac:spMk id="37" creationId="{4AB50FB2-2592-4F25-B501-5E5ED17825ED}"/>
          </ac:spMkLst>
        </pc:spChg>
        <pc:spChg chg="mod">
          <ac:chgData name="EVELYNSM.YONG" userId="S::evelynsm.yong_gmail.com#ext#@risebcg.onmicrosoft.com::67a27a72-2420-4d38-b745-316a53f4b99a" providerId="AD" clId="Web-{B0F3A502-3AAB-41AE-A44C-28F5E8973229}" dt="2022-01-10T09:51:23.117" v="51"/>
          <ac:spMkLst>
            <pc:docMk/>
            <pc:sldMk cId="3531645893" sldId="360"/>
            <ac:spMk id="38" creationId="{CB428AE9-51B3-41CB-A62A-62EA6128CCE3}"/>
          </ac:spMkLst>
        </pc:spChg>
        <pc:spChg chg="mod">
          <ac:chgData name="EVELYNSM.YONG" userId="S::evelynsm.yong_gmail.com#ext#@risebcg.onmicrosoft.com::67a27a72-2420-4d38-b745-316a53f4b99a" providerId="AD" clId="Web-{B0F3A502-3AAB-41AE-A44C-28F5E8973229}" dt="2022-01-10T09:52:24.821" v="60"/>
          <ac:spMkLst>
            <pc:docMk/>
            <pc:sldMk cId="3531645893" sldId="360"/>
            <ac:spMk id="40" creationId="{ECF14FD3-8E08-4762-B1DE-BECAD18D177B}"/>
          </ac:spMkLst>
        </pc:spChg>
        <pc:picChg chg="mod">
          <ac:chgData name="EVELYNSM.YONG" userId="S::evelynsm.yong_gmail.com#ext#@risebcg.onmicrosoft.com::67a27a72-2420-4d38-b745-316a53f4b99a" providerId="AD" clId="Web-{B0F3A502-3AAB-41AE-A44C-28F5E8973229}" dt="2022-01-10T09:48:52.692" v="34" actId="1076"/>
          <ac:picMkLst>
            <pc:docMk/>
            <pc:sldMk cId="3531645893" sldId="360"/>
            <ac:picMk id="2" creationId="{D0C0A48E-43AC-4647-84A5-DAC9A37420F4}"/>
          </ac:picMkLst>
        </pc:picChg>
        <pc:picChg chg="add mod">
          <ac:chgData name="EVELYNSM.YONG" userId="S::evelynsm.yong_gmail.com#ext#@risebcg.onmicrosoft.com::67a27a72-2420-4d38-b745-316a53f4b99a" providerId="AD" clId="Web-{B0F3A502-3AAB-41AE-A44C-28F5E8973229}" dt="2022-01-10T09:47:18.034" v="10" actId="1076"/>
          <ac:picMkLst>
            <pc:docMk/>
            <pc:sldMk cId="3531645893" sldId="360"/>
            <ac:picMk id="7" creationId="{3D126662-F659-4393-8605-1D4F939D289C}"/>
          </ac:picMkLst>
        </pc:picChg>
      </pc:sldChg>
    </pc:docChg>
  </pc:docChgLst>
  <pc:docChgLst>
    <pc:chgData name="wei yuan" userId="S::pwy_92_hotmail.com#ext#@risebcg.onmicrosoft.com::ca38e7f8-9ace-4d94-b37a-86e65e91f2b0" providerId="AD" clId="Web-{2992AFF7-732E-4672-B302-1D5AC74540D2}"/>
    <pc:docChg chg="modSld">
      <pc:chgData name="wei yuan" userId="S::pwy_92_hotmail.com#ext#@risebcg.onmicrosoft.com::ca38e7f8-9ace-4d94-b37a-86e65e91f2b0" providerId="AD" clId="Web-{2992AFF7-732E-4672-B302-1D5AC74540D2}" dt="2022-01-10T13:54:38.336" v="3"/>
      <pc:docMkLst>
        <pc:docMk/>
      </pc:docMkLst>
      <pc:sldChg chg="delAnim modAnim">
        <pc:chgData name="wei yuan" userId="S::pwy_92_hotmail.com#ext#@risebcg.onmicrosoft.com::ca38e7f8-9ace-4d94-b37a-86e65e91f2b0" providerId="AD" clId="Web-{2992AFF7-732E-4672-B302-1D5AC74540D2}" dt="2022-01-10T13:54:38.336" v="3"/>
        <pc:sldMkLst>
          <pc:docMk/>
          <pc:sldMk cId="2160415509" sldId="326"/>
        </pc:sldMkLst>
      </pc:sldChg>
      <pc:sldChg chg="modNotes">
        <pc:chgData name="wei yuan" userId="S::pwy_92_hotmail.com#ext#@risebcg.onmicrosoft.com::ca38e7f8-9ace-4d94-b37a-86e65e91f2b0" providerId="AD" clId="Web-{2992AFF7-732E-4672-B302-1D5AC74540D2}" dt="2022-01-10T13:50:27.533" v="2"/>
        <pc:sldMkLst>
          <pc:docMk/>
          <pc:sldMk cId="1894441827" sldId="358"/>
        </pc:sldMkLst>
      </pc:sldChg>
    </pc:docChg>
  </pc:docChgLst>
  <pc:docChgLst>
    <pc:chgData name="wei yuan" userId="S::pwy_92_hotmail.com#ext#@risebcg.onmicrosoft.com::ca38e7f8-9ace-4d94-b37a-86e65e91f2b0" providerId="AD" clId="Web-{29E29440-0DE4-4097-B1BF-169145A03F4F}"/>
    <pc:docChg chg="addSld delSld modSld">
      <pc:chgData name="wei yuan" userId="S::pwy_92_hotmail.com#ext#@risebcg.onmicrosoft.com::ca38e7f8-9ace-4d94-b37a-86e65e91f2b0" providerId="AD" clId="Web-{29E29440-0DE4-4097-B1BF-169145A03F4F}" dt="2022-01-09T08:56:03.225" v="356" actId="20577"/>
      <pc:docMkLst>
        <pc:docMk/>
      </pc:docMkLst>
      <pc:sldChg chg="modNotes">
        <pc:chgData name="wei yuan" userId="S::pwy_92_hotmail.com#ext#@risebcg.onmicrosoft.com::ca38e7f8-9ace-4d94-b37a-86e65e91f2b0" providerId="AD" clId="Web-{29E29440-0DE4-4097-B1BF-169145A03F4F}" dt="2022-01-09T08:50:25.609" v="346"/>
        <pc:sldMkLst>
          <pc:docMk/>
          <pc:sldMk cId="2316358039" sldId="325"/>
        </pc:sldMkLst>
      </pc:sldChg>
      <pc:sldChg chg="modNotes">
        <pc:chgData name="wei yuan" userId="S::pwy_92_hotmail.com#ext#@risebcg.onmicrosoft.com::ca38e7f8-9ace-4d94-b37a-86e65e91f2b0" providerId="AD" clId="Web-{29E29440-0DE4-4097-B1BF-169145A03F4F}" dt="2022-01-09T08:52:35.111" v="348"/>
        <pc:sldMkLst>
          <pc:docMk/>
          <pc:sldMk cId="2160415509" sldId="326"/>
        </pc:sldMkLst>
      </pc:sldChg>
      <pc:sldChg chg="addSp delSp modSp add del modNotes">
        <pc:chgData name="wei yuan" userId="S::pwy_92_hotmail.com#ext#@risebcg.onmicrosoft.com::ca38e7f8-9ace-4d94-b37a-86e65e91f2b0" providerId="AD" clId="Web-{29E29440-0DE4-4097-B1BF-169145A03F4F}" dt="2022-01-09T08:56:03.225" v="356" actId="20577"/>
        <pc:sldMkLst>
          <pc:docMk/>
          <pc:sldMk cId="1894441827" sldId="358"/>
        </pc:sldMkLst>
        <pc:spChg chg="add del mod">
          <ac:chgData name="wei yuan" userId="S::pwy_92_hotmail.com#ext#@risebcg.onmicrosoft.com::ca38e7f8-9ace-4d94-b37a-86e65e91f2b0" providerId="AD" clId="Web-{29E29440-0DE4-4097-B1BF-169145A03F4F}" dt="2022-01-09T08:17:59.860" v="250"/>
          <ac:spMkLst>
            <pc:docMk/>
            <pc:sldMk cId="1894441827" sldId="358"/>
            <ac:spMk id="7" creationId="{C875E6A0-EABB-449F-9ECB-6A3C65E04861}"/>
          </ac:spMkLst>
        </pc:spChg>
        <pc:spChg chg="add del mod">
          <ac:chgData name="wei yuan" userId="S::pwy_92_hotmail.com#ext#@risebcg.onmicrosoft.com::ca38e7f8-9ace-4d94-b37a-86e65e91f2b0" providerId="AD" clId="Web-{29E29440-0DE4-4097-B1BF-169145A03F4F}" dt="2022-01-09T08:45:44.853" v="273"/>
          <ac:spMkLst>
            <pc:docMk/>
            <pc:sldMk cId="1894441827" sldId="358"/>
            <ac:spMk id="9" creationId="{92EEB0AA-64C3-4E13-8BEA-F77E623D694C}"/>
          </ac:spMkLst>
        </pc:spChg>
        <pc:spChg chg="add mod">
          <ac:chgData name="wei yuan" userId="S::pwy_92_hotmail.com#ext#@risebcg.onmicrosoft.com::ca38e7f8-9ace-4d94-b37a-86e65e91f2b0" providerId="AD" clId="Web-{29E29440-0DE4-4097-B1BF-169145A03F4F}" dt="2022-01-09T08:56:03.225" v="356" actId="20577"/>
          <ac:spMkLst>
            <pc:docMk/>
            <pc:sldMk cId="1894441827" sldId="358"/>
            <ac:spMk id="13" creationId="{E2455A5F-294A-4EA7-8956-A3DA20378328}"/>
          </ac:spMkLst>
        </pc:spChg>
        <pc:spChg chg="add del mod">
          <ac:chgData name="wei yuan" userId="S::pwy_92_hotmail.com#ext#@risebcg.onmicrosoft.com::ca38e7f8-9ace-4d94-b37a-86e65e91f2b0" providerId="AD" clId="Web-{29E29440-0DE4-4097-B1BF-169145A03F4F}" dt="2022-01-09T08:45:06.290" v="262"/>
          <ac:spMkLst>
            <pc:docMk/>
            <pc:sldMk cId="1894441827" sldId="358"/>
            <ac:spMk id="15" creationId="{63ED1F91-0863-42D5-A8F2-EA890B5F54CF}"/>
          </ac:spMkLst>
        </pc:spChg>
      </pc:sldChg>
    </pc:docChg>
  </pc:docChgLst>
  <pc:docChgLst>
    <pc:chgData name="WONGYONGLIN91" userId="S::wongyonglin91_gmail.com#ext#@risebcg.onmicrosoft.com::b2d94f93-e580-4f0d-9dda-2138509d25ae" providerId="AD" clId="Web-{1DBB4F16-1CCE-4857-AA6E-634E45949B51}"/>
    <pc:docChg chg="addSld delSld modSld">
      <pc:chgData name="WONGYONGLIN91" userId="S::wongyonglin91_gmail.com#ext#@risebcg.onmicrosoft.com::b2d94f93-e580-4f0d-9dda-2138509d25ae" providerId="AD" clId="Web-{1DBB4F16-1CCE-4857-AA6E-634E45949B51}" dt="2022-01-10T12:50:26.267" v="30" actId="1076"/>
      <pc:docMkLst>
        <pc:docMk/>
      </pc:docMkLst>
      <pc:sldChg chg="add del">
        <pc:chgData name="WONGYONGLIN91" userId="S::wongyonglin91_gmail.com#ext#@risebcg.onmicrosoft.com::b2d94f93-e580-4f0d-9dda-2138509d25ae" providerId="AD" clId="Web-{1DBB4F16-1CCE-4857-AA6E-634E45949B51}" dt="2022-01-10T12:47:23.670" v="11"/>
        <pc:sldMkLst>
          <pc:docMk/>
          <pc:sldMk cId="1894441827" sldId="358"/>
        </pc:sldMkLst>
      </pc:sldChg>
      <pc:sldChg chg="addSp modSp">
        <pc:chgData name="WONGYONGLIN91" userId="S::wongyonglin91_gmail.com#ext#@risebcg.onmicrosoft.com::b2d94f93-e580-4f0d-9dda-2138509d25ae" providerId="AD" clId="Web-{1DBB4F16-1CCE-4857-AA6E-634E45949B51}" dt="2022-01-10T12:50:26.267" v="30" actId="1076"/>
        <pc:sldMkLst>
          <pc:docMk/>
          <pc:sldMk cId="3758978858" sldId="379"/>
        </pc:sldMkLst>
        <pc:spChg chg="mod">
          <ac:chgData name="WONGYONGLIN91" userId="S::wongyonglin91_gmail.com#ext#@risebcg.onmicrosoft.com::b2d94f93-e580-4f0d-9dda-2138509d25ae" providerId="AD" clId="Web-{1DBB4F16-1CCE-4857-AA6E-634E45949B51}" dt="2022-01-10T12:46:20.559" v="7" actId="20577"/>
          <ac:spMkLst>
            <pc:docMk/>
            <pc:sldMk cId="3758978858" sldId="379"/>
            <ac:spMk id="2" creationId="{C8764925-553F-46C0-AD49-7EDC41FA393B}"/>
          </ac:spMkLst>
        </pc:spChg>
        <pc:spChg chg="mod">
          <ac:chgData name="WONGYONGLIN91" userId="S::wongyonglin91_gmail.com#ext#@risebcg.onmicrosoft.com::b2d94f93-e580-4f0d-9dda-2138509d25ae" providerId="AD" clId="Web-{1DBB4F16-1CCE-4857-AA6E-634E45949B51}" dt="2022-01-10T12:48:43.484" v="16" actId="14100"/>
          <ac:spMkLst>
            <pc:docMk/>
            <pc:sldMk cId="3758978858" sldId="379"/>
            <ac:spMk id="3" creationId="{D93B70F6-8F9F-4D73-AE2A-A23E51FFBBC3}"/>
          </ac:spMkLst>
        </pc:spChg>
        <pc:picChg chg="add mod">
          <ac:chgData name="WONGYONGLIN91" userId="S::wongyonglin91_gmail.com#ext#@risebcg.onmicrosoft.com::b2d94f93-e580-4f0d-9dda-2138509d25ae" providerId="AD" clId="Web-{1DBB4F16-1CCE-4857-AA6E-634E45949B51}" dt="2022-01-10T12:49:44.001" v="23" actId="14100"/>
          <ac:picMkLst>
            <pc:docMk/>
            <pc:sldMk cId="3758978858" sldId="379"/>
            <ac:picMk id="4" creationId="{645E4C34-8A7C-455C-918F-46EBACD32826}"/>
          </ac:picMkLst>
        </pc:picChg>
        <pc:picChg chg="add mod">
          <ac:chgData name="WONGYONGLIN91" userId="S::wongyonglin91_gmail.com#ext#@risebcg.onmicrosoft.com::b2d94f93-e580-4f0d-9dda-2138509d25ae" providerId="AD" clId="Web-{1DBB4F16-1CCE-4857-AA6E-634E45949B51}" dt="2022-01-10T12:49:59.173" v="26" actId="1076"/>
          <ac:picMkLst>
            <pc:docMk/>
            <pc:sldMk cId="3758978858" sldId="379"/>
            <ac:picMk id="5" creationId="{4C0717A3-F270-40BA-91D9-A08D7039A05B}"/>
          </ac:picMkLst>
        </pc:picChg>
        <pc:picChg chg="add mod">
          <ac:chgData name="WONGYONGLIN91" userId="S::wongyonglin91_gmail.com#ext#@risebcg.onmicrosoft.com::b2d94f93-e580-4f0d-9dda-2138509d25ae" providerId="AD" clId="Web-{1DBB4F16-1CCE-4857-AA6E-634E45949B51}" dt="2022-01-10T12:50:26.267" v="30" actId="1076"/>
          <ac:picMkLst>
            <pc:docMk/>
            <pc:sldMk cId="3758978858" sldId="379"/>
            <ac:picMk id="6" creationId="{18A63D16-B496-4004-AB0A-2AAA668E85F4}"/>
          </ac:picMkLst>
        </pc:picChg>
      </pc:sldChg>
      <pc:sldChg chg="add del">
        <pc:chgData name="WONGYONGLIN91" userId="S::wongyonglin91_gmail.com#ext#@risebcg.onmicrosoft.com::b2d94f93-e580-4f0d-9dda-2138509d25ae" providerId="AD" clId="Web-{1DBB4F16-1CCE-4857-AA6E-634E45949B51}" dt="2022-01-10T12:48:04.014" v="14"/>
        <pc:sldMkLst>
          <pc:docMk/>
          <pc:sldMk cId="1926172623" sldId="380"/>
        </pc:sldMkLst>
      </pc:sldChg>
    </pc:docChg>
  </pc:docChgLst>
  <pc:docChgLst>
    <pc:chgData name="COSMOSFREN" userId="S::cosmosfren_yahoo.com#ext#@risebcg.onmicrosoft.com::5462f5f4-f618-47aa-abd8-fd504e002570" providerId="AD" clId="Web-{4E6E0DEA-90C1-4A1E-9096-69DC99BE4D41}"/>
    <pc:docChg chg="delSld modSld">
      <pc:chgData name="COSMOSFREN" userId="S::cosmosfren_yahoo.com#ext#@risebcg.onmicrosoft.com::5462f5f4-f618-47aa-abd8-fd504e002570" providerId="AD" clId="Web-{4E6E0DEA-90C1-4A1E-9096-69DC99BE4D41}" dt="2022-01-10T14:40:44.024" v="1611"/>
      <pc:docMkLst>
        <pc:docMk/>
      </pc:docMkLst>
      <pc:sldChg chg="modNotes">
        <pc:chgData name="COSMOSFREN" userId="S::cosmosfren_yahoo.com#ext#@risebcg.onmicrosoft.com::5462f5f4-f618-47aa-abd8-fd504e002570" providerId="AD" clId="Web-{4E6E0DEA-90C1-4A1E-9096-69DC99BE4D41}" dt="2022-01-10T13:53:03.928" v="59"/>
        <pc:sldMkLst>
          <pc:docMk/>
          <pc:sldMk cId="3666302761" sldId="324"/>
        </pc:sldMkLst>
      </pc:sldChg>
      <pc:sldChg chg="modSp">
        <pc:chgData name="COSMOSFREN" userId="S::cosmosfren_yahoo.com#ext#@risebcg.onmicrosoft.com::5462f5f4-f618-47aa-abd8-fd504e002570" providerId="AD" clId="Web-{4E6E0DEA-90C1-4A1E-9096-69DC99BE4D41}" dt="2022-01-10T14:19:46.720" v="1083" actId="1076"/>
        <pc:sldMkLst>
          <pc:docMk/>
          <pc:sldMk cId="2160415509" sldId="326"/>
        </pc:sldMkLst>
        <pc:spChg chg="mod">
          <ac:chgData name="COSMOSFREN" userId="S::cosmosfren_yahoo.com#ext#@risebcg.onmicrosoft.com::5462f5f4-f618-47aa-abd8-fd504e002570" providerId="AD" clId="Web-{4E6E0DEA-90C1-4A1E-9096-69DC99BE4D41}" dt="2022-01-10T14:19:46.720" v="1083" actId="1076"/>
          <ac:spMkLst>
            <pc:docMk/>
            <pc:sldMk cId="2160415509" sldId="326"/>
            <ac:spMk id="2" creationId="{ED14AA63-35D8-4136-8B2F-DE1837A583A2}"/>
          </ac:spMkLst>
        </pc:spChg>
      </pc:sldChg>
      <pc:sldChg chg="modNotes">
        <pc:chgData name="COSMOSFREN" userId="S::cosmosfren_yahoo.com#ext#@risebcg.onmicrosoft.com::5462f5f4-f618-47aa-abd8-fd504e002570" providerId="AD" clId="Web-{4E6E0DEA-90C1-4A1E-9096-69DC99BE4D41}" dt="2022-01-10T13:56:27.767" v="133"/>
        <pc:sldMkLst>
          <pc:docMk/>
          <pc:sldMk cId="416007632" sldId="327"/>
        </pc:sldMkLst>
      </pc:sldChg>
      <pc:sldChg chg="del">
        <pc:chgData name="COSMOSFREN" userId="S::cosmosfren_yahoo.com#ext#@risebcg.onmicrosoft.com::5462f5f4-f618-47aa-abd8-fd504e002570" providerId="AD" clId="Web-{4E6E0DEA-90C1-4A1E-9096-69DC99BE4D41}" dt="2022-01-10T13:31:37.326" v="49"/>
        <pc:sldMkLst>
          <pc:docMk/>
          <pc:sldMk cId="2538826858" sldId="336"/>
        </pc:sldMkLst>
      </pc:sldChg>
      <pc:sldChg chg="modSp">
        <pc:chgData name="COSMOSFREN" userId="S::cosmosfren_yahoo.com#ext#@risebcg.onmicrosoft.com::5462f5f4-f618-47aa-abd8-fd504e002570" providerId="AD" clId="Web-{4E6E0DEA-90C1-4A1E-9096-69DC99BE4D41}" dt="2022-01-10T13:07:18.010" v="30" actId="14100"/>
        <pc:sldMkLst>
          <pc:docMk/>
          <pc:sldMk cId="855648020" sldId="337"/>
        </pc:sldMkLst>
        <pc:spChg chg="mod">
          <ac:chgData name="COSMOSFREN" userId="S::cosmosfren_yahoo.com#ext#@risebcg.onmicrosoft.com::5462f5f4-f618-47aa-abd8-fd504e002570" providerId="AD" clId="Web-{4E6E0DEA-90C1-4A1E-9096-69DC99BE4D41}" dt="2022-01-10T13:07:13.432" v="29" actId="1076"/>
          <ac:spMkLst>
            <pc:docMk/>
            <pc:sldMk cId="855648020" sldId="337"/>
            <ac:spMk id="10" creationId="{07073218-5F15-4EF5-A452-773E04940AE9}"/>
          </ac:spMkLst>
        </pc:spChg>
        <pc:picChg chg="mod">
          <ac:chgData name="COSMOSFREN" userId="S::cosmosfren_yahoo.com#ext#@risebcg.onmicrosoft.com::5462f5f4-f618-47aa-abd8-fd504e002570" providerId="AD" clId="Web-{4E6E0DEA-90C1-4A1E-9096-69DC99BE4D41}" dt="2022-01-10T13:07:18.010" v="30" actId="14100"/>
          <ac:picMkLst>
            <pc:docMk/>
            <pc:sldMk cId="855648020" sldId="337"/>
            <ac:picMk id="4" creationId="{D1E8906C-F7B4-4B64-A4F6-A75BD1D8E774}"/>
          </ac:picMkLst>
        </pc:picChg>
      </pc:sldChg>
      <pc:sldChg chg="del">
        <pc:chgData name="COSMOSFREN" userId="S::cosmosfren_yahoo.com#ext#@risebcg.onmicrosoft.com::5462f5f4-f618-47aa-abd8-fd504e002570" providerId="AD" clId="Web-{4E6E0DEA-90C1-4A1E-9096-69DC99BE4D41}" dt="2022-01-10T13:31:34.185" v="48"/>
        <pc:sldMkLst>
          <pc:docMk/>
          <pc:sldMk cId="1003929508" sldId="338"/>
        </pc:sldMkLst>
      </pc:sldChg>
      <pc:sldChg chg="modNotes">
        <pc:chgData name="COSMOSFREN" userId="S::cosmosfren_yahoo.com#ext#@risebcg.onmicrosoft.com::5462f5f4-f618-47aa-abd8-fd504e002570" providerId="AD" clId="Web-{4E6E0DEA-90C1-4A1E-9096-69DC99BE4D41}" dt="2022-01-10T14:34:08.189" v="1609"/>
        <pc:sldMkLst>
          <pc:docMk/>
          <pc:sldMk cId="3391215681" sldId="339"/>
        </pc:sldMkLst>
      </pc:sldChg>
      <pc:sldChg chg="delSp modSp">
        <pc:chgData name="COSMOSFREN" userId="S::cosmosfren_yahoo.com#ext#@risebcg.onmicrosoft.com::5462f5f4-f618-47aa-abd8-fd504e002570" providerId="AD" clId="Web-{4E6E0DEA-90C1-4A1E-9096-69DC99BE4D41}" dt="2022-01-10T13:06:16.319" v="24" actId="20577"/>
        <pc:sldMkLst>
          <pc:docMk/>
          <pc:sldMk cId="165658709" sldId="355"/>
        </pc:sldMkLst>
        <pc:spChg chg="mod">
          <ac:chgData name="COSMOSFREN" userId="S::cosmosfren_yahoo.com#ext#@risebcg.onmicrosoft.com::5462f5f4-f618-47aa-abd8-fd504e002570" providerId="AD" clId="Web-{4E6E0DEA-90C1-4A1E-9096-69DC99BE4D41}" dt="2022-01-10T13:05:52.302" v="3" actId="20577"/>
          <ac:spMkLst>
            <pc:docMk/>
            <pc:sldMk cId="165658709" sldId="355"/>
            <ac:spMk id="4" creationId="{19708EDC-3A90-4EC0-A789-51301070BDC6}"/>
          </ac:spMkLst>
        </pc:spChg>
        <pc:spChg chg="mod">
          <ac:chgData name="COSMOSFREN" userId="S::cosmosfren_yahoo.com#ext#@risebcg.onmicrosoft.com::5462f5f4-f618-47aa-abd8-fd504e002570" providerId="AD" clId="Web-{4E6E0DEA-90C1-4A1E-9096-69DC99BE4D41}" dt="2022-01-10T13:06:16.319" v="24" actId="20577"/>
          <ac:spMkLst>
            <pc:docMk/>
            <pc:sldMk cId="165658709" sldId="355"/>
            <ac:spMk id="7" creationId="{5040411B-0A54-429E-94AB-0F4DA7C1917E}"/>
          </ac:spMkLst>
        </pc:spChg>
        <pc:spChg chg="mod">
          <ac:chgData name="COSMOSFREN" userId="S::cosmosfren_yahoo.com#ext#@risebcg.onmicrosoft.com::5462f5f4-f618-47aa-abd8-fd504e002570" providerId="AD" clId="Web-{4E6E0DEA-90C1-4A1E-9096-69DC99BE4D41}" dt="2022-01-10T13:06:08.397" v="7" actId="1076"/>
          <ac:spMkLst>
            <pc:docMk/>
            <pc:sldMk cId="165658709" sldId="355"/>
            <ac:spMk id="12" creationId="{844D08C5-3EE5-4BAC-9392-6CA8001CAD4E}"/>
          </ac:spMkLst>
        </pc:spChg>
        <pc:spChg chg="del">
          <ac:chgData name="COSMOSFREN" userId="S::cosmosfren_yahoo.com#ext#@risebcg.onmicrosoft.com::5462f5f4-f618-47aa-abd8-fd504e002570" providerId="AD" clId="Web-{4E6E0DEA-90C1-4A1E-9096-69DC99BE4D41}" dt="2022-01-10T13:05:55.756" v="4"/>
          <ac:spMkLst>
            <pc:docMk/>
            <pc:sldMk cId="165658709" sldId="355"/>
            <ac:spMk id="25" creationId="{A72C66DB-3DFA-4DD0-BB16-94A4A31F5E94}"/>
          </ac:spMkLst>
        </pc:spChg>
        <pc:picChg chg="mod">
          <ac:chgData name="COSMOSFREN" userId="S::cosmosfren_yahoo.com#ext#@risebcg.onmicrosoft.com::5462f5f4-f618-47aa-abd8-fd504e002570" providerId="AD" clId="Web-{4E6E0DEA-90C1-4A1E-9096-69DC99BE4D41}" dt="2022-01-10T13:05:59.240" v="5" actId="1076"/>
          <ac:picMkLst>
            <pc:docMk/>
            <pc:sldMk cId="165658709" sldId="355"/>
            <ac:picMk id="2" creationId="{BD070F67-C046-4FA4-BC49-57AF06A15A77}"/>
          </ac:picMkLst>
        </pc:picChg>
        <pc:picChg chg="del">
          <ac:chgData name="COSMOSFREN" userId="S::cosmosfren_yahoo.com#ext#@risebcg.onmicrosoft.com::5462f5f4-f618-47aa-abd8-fd504e002570" providerId="AD" clId="Web-{4E6E0DEA-90C1-4A1E-9096-69DC99BE4D41}" dt="2022-01-10T13:05:42.083" v="1"/>
          <ac:picMkLst>
            <pc:docMk/>
            <pc:sldMk cId="165658709" sldId="355"/>
            <ac:picMk id="15" creationId="{5D59DB1C-172C-47ED-95FD-1E3F001466CE}"/>
          </ac:picMkLst>
        </pc:picChg>
      </pc:sldChg>
      <pc:sldChg chg="modNotes">
        <pc:chgData name="COSMOSFREN" userId="S::cosmosfren_yahoo.com#ext#@risebcg.onmicrosoft.com::5462f5f4-f618-47aa-abd8-fd504e002570" providerId="AD" clId="Web-{4E6E0DEA-90C1-4A1E-9096-69DC99BE4D41}" dt="2022-01-10T14:40:44.024" v="1611"/>
        <pc:sldMkLst>
          <pc:docMk/>
          <pc:sldMk cId="1894441827" sldId="358"/>
        </pc:sldMkLst>
      </pc:sldChg>
      <pc:sldChg chg="del">
        <pc:chgData name="COSMOSFREN" userId="S::cosmosfren_yahoo.com#ext#@risebcg.onmicrosoft.com::5462f5f4-f618-47aa-abd8-fd504e002570" providerId="AD" clId="Web-{4E6E0DEA-90C1-4A1E-9096-69DC99BE4D41}" dt="2022-01-10T13:31:43.388" v="50"/>
        <pc:sldMkLst>
          <pc:docMk/>
          <pc:sldMk cId="1365250593" sldId="359"/>
        </pc:sldMkLst>
      </pc:sldChg>
      <pc:sldChg chg="modNotes">
        <pc:chgData name="COSMOSFREN" userId="S::cosmosfren_yahoo.com#ext#@risebcg.onmicrosoft.com::5462f5f4-f618-47aa-abd8-fd504e002570" providerId="AD" clId="Web-{4E6E0DEA-90C1-4A1E-9096-69DC99BE4D41}" dt="2022-01-10T14:15:29.924" v="1003"/>
        <pc:sldMkLst>
          <pc:docMk/>
          <pc:sldMk cId="3531645893" sldId="360"/>
        </pc:sldMkLst>
      </pc:sldChg>
      <pc:sldChg chg="modSp">
        <pc:chgData name="COSMOSFREN" userId="S::cosmosfren_yahoo.com#ext#@risebcg.onmicrosoft.com::5462f5f4-f618-47aa-abd8-fd504e002570" providerId="AD" clId="Web-{4E6E0DEA-90C1-4A1E-9096-69DC99BE4D41}" dt="2022-01-10T13:06:36.899" v="26" actId="14100"/>
        <pc:sldMkLst>
          <pc:docMk/>
          <pc:sldMk cId="3295041884" sldId="369"/>
        </pc:sldMkLst>
        <pc:picChg chg="mod">
          <ac:chgData name="COSMOSFREN" userId="S::cosmosfren_yahoo.com#ext#@risebcg.onmicrosoft.com::5462f5f4-f618-47aa-abd8-fd504e002570" providerId="AD" clId="Web-{4E6E0DEA-90C1-4A1E-9096-69DC99BE4D41}" dt="2022-01-10T13:06:36.899" v="26" actId="14100"/>
          <ac:picMkLst>
            <pc:docMk/>
            <pc:sldMk cId="3295041884" sldId="369"/>
            <ac:picMk id="3" creationId="{5DEAADBB-8BEB-4916-8B81-E680A113BDAC}"/>
          </ac:picMkLst>
        </pc:picChg>
      </pc:sldChg>
      <pc:sldChg chg="del">
        <pc:chgData name="COSMOSFREN" userId="S::cosmosfren_yahoo.com#ext#@risebcg.onmicrosoft.com::5462f5f4-f618-47aa-abd8-fd504e002570" providerId="AD" clId="Web-{4E6E0DEA-90C1-4A1E-9096-69DC99BE4D41}" dt="2022-01-10T13:05:23.238" v="0"/>
        <pc:sldMkLst>
          <pc:docMk/>
          <pc:sldMk cId="3944993204" sldId="370"/>
        </pc:sldMkLst>
      </pc:sldChg>
      <pc:sldChg chg="modSp">
        <pc:chgData name="COSMOSFREN" userId="S::cosmosfren_yahoo.com#ext#@risebcg.onmicrosoft.com::5462f5f4-f618-47aa-abd8-fd504e002570" providerId="AD" clId="Web-{4E6E0DEA-90C1-4A1E-9096-69DC99BE4D41}" dt="2022-01-10T13:11:00.195" v="45" actId="14100"/>
        <pc:sldMkLst>
          <pc:docMk/>
          <pc:sldMk cId="3758978858" sldId="379"/>
        </pc:sldMkLst>
        <pc:spChg chg="mod">
          <ac:chgData name="COSMOSFREN" userId="S::cosmosfren_yahoo.com#ext#@risebcg.onmicrosoft.com::5462f5f4-f618-47aa-abd8-fd504e002570" providerId="AD" clId="Web-{4E6E0DEA-90C1-4A1E-9096-69DC99BE4D41}" dt="2022-01-10T13:10:44.678" v="41" actId="1076"/>
          <ac:spMkLst>
            <pc:docMk/>
            <pc:sldMk cId="3758978858" sldId="379"/>
            <ac:spMk id="2" creationId="{C8764925-553F-46C0-AD49-7EDC41FA393B}"/>
          </ac:spMkLst>
        </pc:spChg>
        <pc:spChg chg="mod">
          <ac:chgData name="COSMOSFREN" userId="S::cosmosfren_yahoo.com#ext#@risebcg.onmicrosoft.com::5462f5f4-f618-47aa-abd8-fd504e002570" providerId="AD" clId="Web-{4E6E0DEA-90C1-4A1E-9096-69DC99BE4D41}" dt="2022-01-10T13:11:00.195" v="45" actId="14100"/>
          <ac:spMkLst>
            <pc:docMk/>
            <pc:sldMk cId="3758978858" sldId="379"/>
            <ac:spMk id="3" creationId="{D93B70F6-8F9F-4D73-AE2A-A23E51FFBBC3}"/>
          </ac:spMkLst>
        </pc:spChg>
        <pc:picChg chg="mod">
          <ac:chgData name="COSMOSFREN" userId="S::cosmosfren_yahoo.com#ext#@risebcg.onmicrosoft.com::5462f5f4-f618-47aa-abd8-fd504e002570" providerId="AD" clId="Web-{4E6E0DEA-90C1-4A1E-9096-69DC99BE4D41}" dt="2022-01-10T13:10:48.475" v="42" actId="1076"/>
          <ac:picMkLst>
            <pc:docMk/>
            <pc:sldMk cId="3758978858" sldId="379"/>
            <ac:picMk id="4" creationId="{645E4C34-8A7C-455C-918F-46EBACD32826}"/>
          </ac:picMkLst>
        </pc:picChg>
        <pc:picChg chg="mod">
          <ac:chgData name="COSMOSFREN" userId="S::cosmosfren_yahoo.com#ext#@risebcg.onmicrosoft.com::5462f5f4-f618-47aa-abd8-fd504e002570" providerId="AD" clId="Web-{4E6E0DEA-90C1-4A1E-9096-69DC99BE4D41}" dt="2022-01-10T13:10:51.960" v="43" actId="1076"/>
          <ac:picMkLst>
            <pc:docMk/>
            <pc:sldMk cId="3758978858" sldId="379"/>
            <ac:picMk id="5" creationId="{4C0717A3-F270-40BA-91D9-A08D7039A05B}"/>
          </ac:picMkLst>
        </pc:picChg>
        <pc:picChg chg="mod">
          <ac:chgData name="COSMOSFREN" userId="S::cosmosfren_yahoo.com#ext#@risebcg.onmicrosoft.com::5462f5f4-f618-47aa-abd8-fd504e002570" providerId="AD" clId="Web-{4E6E0DEA-90C1-4A1E-9096-69DC99BE4D41}" dt="2022-01-10T13:10:56.772" v="44" actId="1076"/>
          <ac:picMkLst>
            <pc:docMk/>
            <pc:sldMk cId="3758978858" sldId="379"/>
            <ac:picMk id="6" creationId="{18A63D16-B496-4004-AB0A-2AAA668E85F4}"/>
          </ac:picMkLst>
        </pc:picChg>
      </pc:sldChg>
      <pc:sldChg chg="modSp modNotes">
        <pc:chgData name="COSMOSFREN" userId="S::cosmosfren_yahoo.com#ext#@risebcg.onmicrosoft.com::5462f5f4-f618-47aa-abd8-fd504e002570" providerId="AD" clId="Web-{4E6E0DEA-90C1-4A1E-9096-69DC99BE4D41}" dt="2022-01-10T14:06:01.659" v="635"/>
        <pc:sldMkLst>
          <pc:docMk/>
          <pc:sldMk cId="531825606" sldId="383"/>
        </pc:sldMkLst>
        <pc:spChg chg="mod">
          <ac:chgData name="COSMOSFREN" userId="S::cosmosfren_yahoo.com#ext#@risebcg.onmicrosoft.com::5462f5f4-f618-47aa-abd8-fd504e002570" providerId="AD" clId="Web-{4E6E0DEA-90C1-4A1E-9096-69DC99BE4D41}" dt="2022-01-10T14:05:12.046" v="596" actId="20577"/>
          <ac:spMkLst>
            <pc:docMk/>
            <pc:sldMk cId="531825606" sldId="383"/>
            <ac:spMk id="3" creationId="{9771EDC6-5C2F-4F03-A28A-6F11306CF575}"/>
          </ac:spMkLst>
        </pc:spChg>
      </pc:sldChg>
    </pc:docChg>
  </pc:docChgLst>
  <pc:docChgLst>
    <pc:chgData name="WONGYONGLIN91" userId="S::wongyonglin91_gmail.com#ext#@risebcg.onmicrosoft.com::b2d94f93-e580-4f0d-9dda-2138509d25ae" providerId="AD" clId="Web-{F6E9D699-77B0-4065-86A7-8BD3B22EE356}"/>
    <pc:docChg chg="addSld modSld">
      <pc:chgData name="WONGYONGLIN91" userId="S::wongyonglin91_gmail.com#ext#@risebcg.onmicrosoft.com::b2d94f93-e580-4f0d-9dda-2138509d25ae" providerId="AD" clId="Web-{F6E9D699-77B0-4065-86A7-8BD3B22EE356}" dt="2022-01-08T15:00:33.726" v="92"/>
      <pc:docMkLst>
        <pc:docMk/>
      </pc:docMkLst>
      <pc:sldChg chg="delSp modSp add replId">
        <pc:chgData name="WONGYONGLIN91" userId="S::wongyonglin91_gmail.com#ext#@risebcg.onmicrosoft.com::b2d94f93-e580-4f0d-9dda-2138509d25ae" providerId="AD" clId="Web-{F6E9D699-77B0-4065-86A7-8BD3B22EE356}" dt="2022-01-08T15:00:33.726" v="92"/>
        <pc:sldMkLst>
          <pc:docMk/>
          <pc:sldMk cId="1227236751" sldId="356"/>
        </pc:sldMkLst>
        <pc:spChg chg="mod">
          <ac:chgData name="WONGYONGLIN91" userId="S::wongyonglin91_gmail.com#ext#@risebcg.onmicrosoft.com::b2d94f93-e580-4f0d-9dda-2138509d25ae" providerId="AD" clId="Web-{F6E9D699-77B0-4065-86A7-8BD3B22EE356}" dt="2022-01-08T14:59:05.599" v="41" actId="20577"/>
          <ac:spMkLst>
            <pc:docMk/>
            <pc:sldMk cId="1227236751" sldId="356"/>
            <ac:spMk id="2" creationId="{ED14AA63-35D8-4136-8B2F-DE1837A583A2}"/>
          </ac:spMkLst>
        </pc:spChg>
        <pc:spChg chg="mod">
          <ac:chgData name="WONGYONGLIN91" userId="S::wongyonglin91_gmail.com#ext#@risebcg.onmicrosoft.com::b2d94f93-e580-4f0d-9dda-2138509d25ae" providerId="AD" clId="Web-{F6E9D699-77B0-4065-86A7-8BD3B22EE356}" dt="2022-01-08T14:59:20.380" v="58" actId="20577"/>
          <ac:spMkLst>
            <pc:docMk/>
            <pc:sldMk cId="1227236751" sldId="356"/>
            <ac:spMk id="3" creationId="{2321500F-B116-49E9-B713-1C89E59A92D6}"/>
          </ac:spMkLst>
        </pc:spChg>
        <pc:spChg chg="mod">
          <ac:chgData name="WONGYONGLIN91" userId="S::wongyonglin91_gmail.com#ext#@risebcg.onmicrosoft.com::b2d94f93-e580-4f0d-9dda-2138509d25ae" providerId="AD" clId="Web-{F6E9D699-77B0-4065-86A7-8BD3B22EE356}" dt="2022-01-08T15:00:16.631" v="90" actId="14100"/>
          <ac:spMkLst>
            <pc:docMk/>
            <pc:sldMk cId="1227236751" sldId="356"/>
            <ac:spMk id="12" creationId="{95E46411-4A0C-41AA-9250-790D71323EA7}"/>
          </ac:spMkLst>
        </pc:spChg>
        <pc:picChg chg="del">
          <ac:chgData name="WONGYONGLIN91" userId="S::wongyonglin91_gmail.com#ext#@risebcg.onmicrosoft.com::b2d94f93-e580-4f0d-9dda-2138509d25ae" providerId="AD" clId="Web-{F6E9D699-77B0-4065-86A7-8BD3B22EE356}" dt="2022-01-08T15:00:27.569" v="91"/>
          <ac:picMkLst>
            <pc:docMk/>
            <pc:sldMk cId="1227236751" sldId="356"/>
            <ac:picMk id="6" creationId="{0543AB5E-0C46-4F5B-92B9-8460B4265166}"/>
          </ac:picMkLst>
        </pc:picChg>
        <pc:picChg chg="del">
          <ac:chgData name="WONGYONGLIN91" userId="S::wongyonglin91_gmail.com#ext#@risebcg.onmicrosoft.com::b2d94f93-e580-4f0d-9dda-2138509d25ae" providerId="AD" clId="Web-{F6E9D699-77B0-4065-86A7-8BD3B22EE356}" dt="2022-01-08T15:00:33.726" v="92"/>
          <ac:picMkLst>
            <pc:docMk/>
            <pc:sldMk cId="1227236751" sldId="356"/>
            <ac:picMk id="9" creationId="{97A95AB9-26F3-4FFA-B40B-A3BFD1A87A7B}"/>
          </ac:picMkLst>
        </pc:picChg>
      </pc:sldChg>
    </pc:docChg>
  </pc:docChgLst>
  <pc:docChgLst>
    <pc:chgData name="WONGYONGLIN91" userId="S::wongyonglin91_gmail.com#ext#@risebcg.onmicrosoft.com::b2d94f93-e580-4f0d-9dda-2138509d25ae" providerId="AD" clId="Web-{5E8024D4-CE76-4AF1-992E-04FA62D5E2AB}"/>
    <pc:docChg chg="addSld delSld modSld">
      <pc:chgData name="WONGYONGLIN91" userId="S::wongyonglin91_gmail.com#ext#@risebcg.onmicrosoft.com::b2d94f93-e580-4f0d-9dda-2138509d25ae" providerId="AD" clId="Web-{5E8024D4-CE76-4AF1-992E-04FA62D5E2AB}" dt="2022-01-08T10:04:29.197" v="324" actId="1076"/>
      <pc:docMkLst>
        <pc:docMk/>
      </pc:docMkLst>
      <pc:sldChg chg="addSp modSp">
        <pc:chgData name="WONGYONGLIN91" userId="S::wongyonglin91_gmail.com#ext#@risebcg.onmicrosoft.com::b2d94f93-e580-4f0d-9dda-2138509d25ae" providerId="AD" clId="Web-{5E8024D4-CE76-4AF1-992E-04FA62D5E2AB}" dt="2022-01-08T10:04:29.197" v="324" actId="1076"/>
        <pc:sldMkLst>
          <pc:docMk/>
          <pc:sldMk cId="4084366951" sldId="318"/>
        </pc:sldMkLst>
        <pc:spChg chg="add mod">
          <ac:chgData name="WONGYONGLIN91" userId="S::wongyonglin91_gmail.com#ext#@risebcg.onmicrosoft.com::b2d94f93-e580-4f0d-9dda-2138509d25ae" providerId="AD" clId="Web-{5E8024D4-CE76-4AF1-992E-04FA62D5E2AB}" dt="2022-01-08T10:04:29.197" v="324" actId="1076"/>
          <ac:spMkLst>
            <pc:docMk/>
            <pc:sldMk cId="4084366951" sldId="318"/>
            <ac:spMk id="21" creationId="{35D5CD39-ED1A-4202-9FEE-144C7FF14574}"/>
          </ac:spMkLst>
        </pc:spChg>
      </pc:sldChg>
      <pc:sldChg chg="addSp delSp modSp add del">
        <pc:chgData name="WONGYONGLIN91" userId="S::wongyonglin91_gmail.com#ext#@risebcg.onmicrosoft.com::b2d94f93-e580-4f0d-9dda-2138509d25ae" providerId="AD" clId="Web-{5E8024D4-CE76-4AF1-992E-04FA62D5E2AB}" dt="2022-01-08T09:12:08.095" v="182"/>
        <pc:sldMkLst>
          <pc:docMk/>
          <pc:sldMk cId="3266031372" sldId="340"/>
        </pc:sldMkLst>
        <pc:picChg chg="add del mod">
          <ac:chgData name="WONGYONGLIN91" userId="S::wongyonglin91_gmail.com#ext#@risebcg.onmicrosoft.com::b2d94f93-e580-4f0d-9dda-2138509d25ae" providerId="AD" clId="Web-{5E8024D4-CE76-4AF1-992E-04FA62D5E2AB}" dt="2022-01-08T06:05:34.812" v="12"/>
          <ac:picMkLst>
            <pc:docMk/>
            <pc:sldMk cId="3266031372" sldId="340"/>
            <ac:picMk id="6" creationId="{81A150AC-B222-471E-A118-CD198FBC5BA7}"/>
          </ac:picMkLst>
        </pc:picChg>
        <pc:picChg chg="mod">
          <ac:chgData name="WONGYONGLIN91" userId="S::wongyonglin91_gmail.com#ext#@risebcg.onmicrosoft.com::b2d94f93-e580-4f0d-9dda-2138509d25ae" providerId="AD" clId="Web-{5E8024D4-CE76-4AF1-992E-04FA62D5E2AB}" dt="2022-01-08T05:18:39.614" v="1" actId="1076"/>
          <ac:picMkLst>
            <pc:docMk/>
            <pc:sldMk cId="3266031372" sldId="340"/>
            <ac:picMk id="7" creationId="{C197F6B9-4CBB-4B39-8C04-6C1CE7632C8C}"/>
          </ac:picMkLst>
        </pc:picChg>
        <pc:picChg chg="add mod">
          <ac:chgData name="WONGYONGLIN91" userId="S::wongyonglin91_gmail.com#ext#@risebcg.onmicrosoft.com::b2d94f93-e580-4f0d-9dda-2138509d25ae" providerId="AD" clId="Web-{5E8024D4-CE76-4AF1-992E-04FA62D5E2AB}" dt="2022-01-08T06:05:22.297" v="11" actId="14100"/>
          <ac:picMkLst>
            <pc:docMk/>
            <pc:sldMk cId="3266031372" sldId="340"/>
            <ac:picMk id="8" creationId="{E5537C0A-B51D-4D81-A02F-6B38E9303B22}"/>
          </ac:picMkLst>
        </pc:picChg>
      </pc:sldChg>
      <pc:sldChg chg="del">
        <pc:chgData name="WONGYONGLIN91" userId="S::wongyonglin91_gmail.com#ext#@risebcg.onmicrosoft.com::b2d94f93-e580-4f0d-9dda-2138509d25ae" providerId="AD" clId="Web-{5E8024D4-CE76-4AF1-992E-04FA62D5E2AB}" dt="2022-01-08T08:11:02.357" v="97"/>
        <pc:sldMkLst>
          <pc:docMk/>
          <pc:sldMk cId="2497075168" sldId="341"/>
        </pc:sldMkLst>
      </pc:sldChg>
      <pc:sldChg chg="addSp modSp add del replId">
        <pc:chgData name="WONGYONGLIN91" userId="S::wongyonglin91_gmail.com#ext#@risebcg.onmicrosoft.com::b2d94f93-e580-4f0d-9dda-2138509d25ae" providerId="AD" clId="Web-{5E8024D4-CE76-4AF1-992E-04FA62D5E2AB}" dt="2022-01-08T09:09:03.777" v="147"/>
        <pc:sldMkLst>
          <pc:docMk/>
          <pc:sldMk cId="3837311995" sldId="344"/>
        </pc:sldMkLst>
        <pc:spChg chg="mod">
          <ac:chgData name="WONGYONGLIN91" userId="S::wongyonglin91_gmail.com#ext#@risebcg.onmicrosoft.com::b2d94f93-e580-4f0d-9dda-2138509d25ae" providerId="AD" clId="Web-{5E8024D4-CE76-4AF1-992E-04FA62D5E2AB}" dt="2022-01-08T08:11:12.138" v="99" actId="20577"/>
          <ac:spMkLst>
            <pc:docMk/>
            <pc:sldMk cId="3837311995" sldId="344"/>
            <ac:spMk id="2" creationId="{ED14AA63-35D8-4136-8B2F-DE1837A583A2}"/>
          </ac:spMkLst>
        </pc:spChg>
        <pc:spChg chg="add mod">
          <ac:chgData name="WONGYONGLIN91" userId="S::wongyonglin91_gmail.com#ext#@risebcg.onmicrosoft.com::b2d94f93-e580-4f0d-9dda-2138509d25ae" providerId="AD" clId="Web-{5E8024D4-CE76-4AF1-992E-04FA62D5E2AB}" dt="2022-01-08T08:07:04.976" v="93" actId="20577"/>
          <ac:spMkLst>
            <pc:docMk/>
            <pc:sldMk cId="3837311995" sldId="344"/>
            <ac:spMk id="3" creationId="{2321500F-B116-49E9-B713-1C89E59A92D6}"/>
          </ac:spMkLst>
        </pc:spChg>
        <pc:spChg chg="mod">
          <ac:chgData name="WONGYONGLIN91" userId="S::wongyonglin91_gmail.com#ext#@risebcg.onmicrosoft.com::b2d94f93-e580-4f0d-9dda-2138509d25ae" providerId="AD" clId="Web-{5E8024D4-CE76-4AF1-992E-04FA62D5E2AB}" dt="2022-01-08T07:59:47.341" v="15" actId="14100"/>
          <ac:spMkLst>
            <pc:docMk/>
            <pc:sldMk cId="3837311995" sldId="344"/>
            <ac:spMk id="4" creationId="{215644EC-E1A2-4B5F-BA53-79EB189605EC}"/>
          </ac:spMkLst>
        </pc:spChg>
        <pc:spChg chg="add mod">
          <ac:chgData name="WONGYONGLIN91" userId="S::wongyonglin91_gmail.com#ext#@risebcg.onmicrosoft.com::b2d94f93-e580-4f0d-9dda-2138509d25ae" providerId="AD" clId="Web-{5E8024D4-CE76-4AF1-992E-04FA62D5E2AB}" dt="2022-01-08T08:07:18.289" v="94" actId="20577"/>
          <ac:spMkLst>
            <pc:docMk/>
            <pc:sldMk cId="3837311995" sldId="344"/>
            <ac:spMk id="12" creationId="{95E46411-4A0C-41AA-9250-790D71323EA7}"/>
          </ac:spMkLst>
        </pc:spChg>
        <pc:picChg chg="mod">
          <ac:chgData name="WONGYONGLIN91" userId="S::wongyonglin91_gmail.com#ext#@risebcg.onmicrosoft.com::b2d94f93-e580-4f0d-9dda-2138509d25ae" providerId="AD" clId="Web-{5E8024D4-CE76-4AF1-992E-04FA62D5E2AB}" dt="2022-01-08T08:03:49.269" v="66" actId="1076"/>
          <ac:picMkLst>
            <pc:docMk/>
            <pc:sldMk cId="3837311995" sldId="344"/>
            <ac:picMk id="8" creationId="{43C821D0-E8DD-4E0C-918F-E8AFE57FBD79}"/>
          </ac:picMkLst>
        </pc:picChg>
        <pc:picChg chg="mod">
          <ac:chgData name="WONGYONGLIN91" userId="S::wongyonglin91_gmail.com#ext#@risebcg.onmicrosoft.com::b2d94f93-e580-4f0d-9dda-2138509d25ae" providerId="AD" clId="Web-{5E8024D4-CE76-4AF1-992E-04FA62D5E2AB}" dt="2022-01-08T08:03:49.284" v="67" actId="1076"/>
          <ac:picMkLst>
            <pc:docMk/>
            <pc:sldMk cId="3837311995" sldId="344"/>
            <ac:picMk id="9" creationId="{7E7137EB-EB04-47D4-ADDE-3138CAD2FE22}"/>
          </ac:picMkLst>
        </pc:picChg>
        <pc:picChg chg="mod">
          <ac:chgData name="WONGYONGLIN91" userId="S::wongyonglin91_gmail.com#ext#@risebcg.onmicrosoft.com::b2d94f93-e580-4f0d-9dda-2138509d25ae" providerId="AD" clId="Web-{5E8024D4-CE76-4AF1-992E-04FA62D5E2AB}" dt="2022-01-08T08:08:24.150" v="95" actId="14100"/>
          <ac:picMkLst>
            <pc:docMk/>
            <pc:sldMk cId="3837311995" sldId="344"/>
            <ac:picMk id="10" creationId="{5C5BFFE9-19E0-4AAC-BCA1-0A74C6D93C5F}"/>
          </ac:picMkLst>
        </pc:picChg>
        <pc:picChg chg="mod">
          <ac:chgData name="WONGYONGLIN91" userId="S::wongyonglin91_gmail.com#ext#@risebcg.onmicrosoft.com::b2d94f93-e580-4f0d-9dda-2138509d25ae" providerId="AD" clId="Web-{5E8024D4-CE76-4AF1-992E-04FA62D5E2AB}" dt="2022-01-08T08:03:49.331" v="69" actId="1076"/>
          <ac:picMkLst>
            <pc:docMk/>
            <pc:sldMk cId="3837311995" sldId="344"/>
            <ac:picMk id="11" creationId="{A57CFE02-5F8C-4E5D-85E3-23A246851199}"/>
          </ac:picMkLst>
        </pc:picChg>
        <pc:cxnChg chg="add mod">
          <ac:chgData name="WONGYONGLIN91" userId="S::wongyonglin91_gmail.com#ext#@risebcg.onmicrosoft.com::b2d94f93-e580-4f0d-9dda-2138509d25ae" providerId="AD" clId="Web-{5E8024D4-CE76-4AF1-992E-04FA62D5E2AB}" dt="2022-01-08T08:06:10.069" v="88" actId="14100"/>
          <ac:cxnSpMkLst>
            <pc:docMk/>
            <pc:sldMk cId="3837311995" sldId="344"/>
            <ac:cxnSpMk id="5" creationId="{7650244C-E06B-41BA-A77C-2D20639EA927}"/>
          </ac:cxnSpMkLst>
        </pc:cxnChg>
      </pc:sldChg>
      <pc:sldChg chg="addSp delSp modSp add replId">
        <pc:chgData name="WONGYONGLIN91" userId="S::wongyonglin91_gmail.com#ext#@risebcg.onmicrosoft.com::b2d94f93-e580-4f0d-9dda-2138509d25ae" providerId="AD" clId="Web-{5E8024D4-CE76-4AF1-992E-04FA62D5E2AB}" dt="2022-01-08T09:19:27.528" v="275" actId="20577"/>
        <pc:sldMkLst>
          <pc:docMk/>
          <pc:sldMk cId="3971465157" sldId="345"/>
        </pc:sldMkLst>
        <pc:spChg chg="mod">
          <ac:chgData name="WONGYONGLIN91" userId="S::wongyonglin91_gmail.com#ext#@risebcg.onmicrosoft.com::b2d94f93-e580-4f0d-9dda-2138509d25ae" providerId="AD" clId="Web-{5E8024D4-CE76-4AF1-992E-04FA62D5E2AB}" dt="2022-01-08T09:12:28.704" v="186" actId="20577"/>
          <ac:spMkLst>
            <pc:docMk/>
            <pc:sldMk cId="3971465157" sldId="345"/>
            <ac:spMk id="2" creationId="{ED14AA63-35D8-4136-8B2F-DE1837A583A2}"/>
          </ac:spMkLst>
        </pc:spChg>
        <pc:spChg chg="mod">
          <ac:chgData name="WONGYONGLIN91" userId="S::wongyonglin91_gmail.com#ext#@risebcg.onmicrosoft.com::b2d94f93-e580-4f0d-9dda-2138509d25ae" providerId="AD" clId="Web-{5E8024D4-CE76-4AF1-992E-04FA62D5E2AB}" dt="2022-01-08T09:19:27.528" v="275" actId="20577"/>
          <ac:spMkLst>
            <pc:docMk/>
            <pc:sldMk cId="3971465157" sldId="345"/>
            <ac:spMk id="4" creationId="{215644EC-E1A2-4B5F-BA53-79EB189605EC}"/>
          </ac:spMkLst>
        </pc:spChg>
        <pc:picChg chg="add mod">
          <ac:chgData name="WONGYONGLIN91" userId="S::wongyonglin91_gmail.com#ext#@risebcg.onmicrosoft.com::b2d94f93-e580-4f0d-9dda-2138509d25ae" providerId="AD" clId="Web-{5E8024D4-CE76-4AF1-992E-04FA62D5E2AB}" dt="2022-01-08T09:13:34.722" v="195" actId="14100"/>
          <ac:picMkLst>
            <pc:docMk/>
            <pc:sldMk cId="3971465157" sldId="345"/>
            <ac:picMk id="6" creationId="{0543AB5E-0C46-4F5B-92B9-8460B4265166}"/>
          </ac:picMkLst>
        </pc:picChg>
        <pc:picChg chg="add del mod">
          <ac:chgData name="WONGYONGLIN91" userId="S::wongyonglin91_gmail.com#ext#@risebcg.onmicrosoft.com::b2d94f93-e580-4f0d-9dda-2138509d25ae" providerId="AD" clId="Web-{5E8024D4-CE76-4AF1-992E-04FA62D5E2AB}" dt="2022-01-08T08:20:13.322" v="122"/>
          <ac:picMkLst>
            <pc:docMk/>
            <pc:sldMk cId="3971465157" sldId="345"/>
            <ac:picMk id="6" creationId="{25C9F62F-D45E-4445-8F13-99FCBB75DCA9}"/>
          </ac:picMkLst>
        </pc:picChg>
        <pc:picChg chg="add del mod">
          <ac:chgData name="WONGYONGLIN91" userId="S::wongyonglin91_gmail.com#ext#@risebcg.onmicrosoft.com::b2d94f93-e580-4f0d-9dda-2138509d25ae" providerId="AD" clId="Web-{5E8024D4-CE76-4AF1-992E-04FA62D5E2AB}" dt="2022-01-08T08:18:53.617" v="117"/>
          <ac:picMkLst>
            <pc:docMk/>
            <pc:sldMk cId="3971465157" sldId="345"/>
            <ac:picMk id="7" creationId="{6B409D3D-909A-4119-B3C7-FBF488970228}"/>
          </ac:picMkLst>
        </pc:picChg>
        <pc:picChg chg="add mod">
          <ac:chgData name="WONGYONGLIN91" userId="S::wongyonglin91_gmail.com#ext#@risebcg.onmicrosoft.com::b2d94f93-e580-4f0d-9dda-2138509d25ae" providerId="AD" clId="Web-{5E8024D4-CE76-4AF1-992E-04FA62D5E2AB}" dt="2022-01-08T09:14:40.552" v="201" actId="14100"/>
          <ac:picMkLst>
            <pc:docMk/>
            <pc:sldMk cId="3971465157" sldId="345"/>
            <ac:picMk id="7" creationId="{F2806C6D-F724-4DED-AEF0-61ECCAB05DB6}"/>
          </ac:picMkLst>
        </pc:picChg>
        <pc:picChg chg="del">
          <ac:chgData name="WONGYONGLIN91" userId="S::wongyonglin91_gmail.com#ext#@risebcg.onmicrosoft.com::b2d94f93-e580-4f0d-9dda-2138509d25ae" providerId="AD" clId="Web-{5E8024D4-CE76-4AF1-992E-04FA62D5E2AB}" dt="2022-01-08T08:13:21.016" v="100"/>
          <ac:picMkLst>
            <pc:docMk/>
            <pc:sldMk cId="3971465157" sldId="345"/>
            <ac:picMk id="8" creationId="{43C821D0-E8DD-4E0C-918F-E8AFE57FBD79}"/>
          </ac:picMkLst>
        </pc:picChg>
        <pc:picChg chg="del">
          <ac:chgData name="WONGYONGLIN91" userId="S::wongyonglin91_gmail.com#ext#@risebcg.onmicrosoft.com::b2d94f93-e580-4f0d-9dda-2138509d25ae" providerId="AD" clId="Web-{5E8024D4-CE76-4AF1-992E-04FA62D5E2AB}" dt="2022-01-08T08:14:00.907" v="105"/>
          <ac:picMkLst>
            <pc:docMk/>
            <pc:sldMk cId="3971465157" sldId="345"/>
            <ac:picMk id="9" creationId="{7E7137EB-EB04-47D4-ADDE-3138CAD2FE22}"/>
          </ac:picMkLst>
        </pc:picChg>
        <pc:picChg chg="add del">
          <ac:chgData name="WONGYONGLIN91" userId="S::wongyonglin91_gmail.com#ext#@risebcg.onmicrosoft.com::b2d94f93-e580-4f0d-9dda-2138509d25ae" providerId="AD" clId="Web-{5E8024D4-CE76-4AF1-992E-04FA62D5E2AB}" dt="2022-01-08T09:13:07.315" v="190"/>
          <ac:picMkLst>
            <pc:docMk/>
            <pc:sldMk cId="3971465157" sldId="345"/>
            <ac:picMk id="10" creationId="{5C5BFFE9-19E0-4AAC-BCA1-0A74C6D93C5F}"/>
          </ac:picMkLst>
        </pc:picChg>
        <pc:picChg chg="add del">
          <ac:chgData name="WONGYONGLIN91" userId="S::wongyonglin91_gmail.com#ext#@risebcg.onmicrosoft.com::b2d94f93-e580-4f0d-9dda-2138509d25ae" providerId="AD" clId="Web-{5E8024D4-CE76-4AF1-992E-04FA62D5E2AB}" dt="2022-01-08T09:13:07.752" v="191"/>
          <ac:picMkLst>
            <pc:docMk/>
            <pc:sldMk cId="3971465157" sldId="345"/>
            <ac:picMk id="11" creationId="{A57CFE02-5F8C-4E5D-85E3-23A246851199}"/>
          </ac:picMkLst>
        </pc:picChg>
        <pc:picChg chg="add del mod">
          <ac:chgData name="WONGYONGLIN91" userId="S::wongyonglin91_gmail.com#ext#@risebcg.onmicrosoft.com::b2d94f93-e580-4f0d-9dda-2138509d25ae" providerId="AD" clId="Web-{5E8024D4-CE76-4AF1-992E-04FA62D5E2AB}" dt="2022-01-08T08:20:10.760" v="121"/>
          <ac:picMkLst>
            <pc:docMk/>
            <pc:sldMk cId="3971465157" sldId="345"/>
            <ac:picMk id="13" creationId="{8D644E13-361E-4752-8757-63788850562E}"/>
          </ac:picMkLst>
        </pc:picChg>
        <pc:picChg chg="add mod">
          <ac:chgData name="WONGYONGLIN91" userId="S::wongyonglin91_gmail.com#ext#@risebcg.onmicrosoft.com::b2d94f93-e580-4f0d-9dda-2138509d25ae" providerId="AD" clId="Web-{5E8024D4-CE76-4AF1-992E-04FA62D5E2AB}" dt="2022-01-08T09:14:37.817" v="200" actId="14100"/>
          <ac:picMkLst>
            <pc:docMk/>
            <pc:sldMk cId="3971465157" sldId="345"/>
            <ac:picMk id="14" creationId="{6C32E5A9-2DAB-4399-BC5F-DFEF3CE42056}"/>
          </ac:picMkLst>
        </pc:picChg>
        <pc:picChg chg="add mod">
          <ac:chgData name="WONGYONGLIN91" userId="S::wongyonglin91_gmail.com#ext#@risebcg.onmicrosoft.com::b2d94f93-e580-4f0d-9dda-2138509d25ae" providerId="AD" clId="Web-{5E8024D4-CE76-4AF1-992E-04FA62D5E2AB}" dt="2022-01-08T08:21:44.730" v="128" actId="14100"/>
          <ac:picMkLst>
            <pc:docMk/>
            <pc:sldMk cId="3971465157" sldId="345"/>
            <ac:picMk id="15" creationId="{D29E5551-D1FB-4B15-B981-AF5FE6C4338B}"/>
          </ac:picMkLst>
        </pc:picChg>
      </pc:sldChg>
      <pc:sldChg chg="addSp delSp modSp add replId">
        <pc:chgData name="WONGYONGLIN91" userId="S::wongyonglin91_gmail.com#ext#@risebcg.onmicrosoft.com::b2d94f93-e580-4f0d-9dda-2138509d25ae" providerId="AD" clId="Web-{5E8024D4-CE76-4AF1-992E-04FA62D5E2AB}" dt="2022-01-08T09:19:42.513" v="280" actId="20577"/>
        <pc:sldMkLst>
          <pc:docMk/>
          <pc:sldMk cId="2149037765" sldId="346"/>
        </pc:sldMkLst>
        <pc:spChg chg="mod">
          <ac:chgData name="WONGYONGLIN91" userId="S::wongyonglin91_gmail.com#ext#@risebcg.onmicrosoft.com::b2d94f93-e580-4f0d-9dda-2138509d25ae" providerId="AD" clId="Web-{5E8024D4-CE76-4AF1-992E-04FA62D5E2AB}" dt="2022-01-08T09:12:25.282" v="184" actId="20577"/>
          <ac:spMkLst>
            <pc:docMk/>
            <pc:sldMk cId="2149037765" sldId="346"/>
            <ac:spMk id="2" creationId="{ED14AA63-35D8-4136-8B2F-DE1837A583A2}"/>
          </ac:spMkLst>
        </pc:spChg>
        <pc:spChg chg="mod">
          <ac:chgData name="WONGYONGLIN91" userId="S::wongyonglin91_gmail.com#ext#@risebcg.onmicrosoft.com::b2d94f93-e580-4f0d-9dda-2138509d25ae" providerId="AD" clId="Web-{5E8024D4-CE76-4AF1-992E-04FA62D5E2AB}" dt="2022-01-08T09:19:42.513" v="280" actId="20577"/>
          <ac:spMkLst>
            <pc:docMk/>
            <pc:sldMk cId="2149037765" sldId="346"/>
            <ac:spMk id="4" creationId="{215644EC-E1A2-4B5F-BA53-79EB189605EC}"/>
          </ac:spMkLst>
        </pc:spChg>
        <pc:picChg chg="del">
          <ac:chgData name="WONGYONGLIN91" userId="S::wongyonglin91_gmail.com#ext#@risebcg.onmicrosoft.com::b2d94f93-e580-4f0d-9dda-2138509d25ae" providerId="AD" clId="Web-{5E8024D4-CE76-4AF1-992E-04FA62D5E2AB}" dt="2022-01-08T08:17:08.334" v="116"/>
          <ac:picMkLst>
            <pc:docMk/>
            <pc:sldMk cId="2149037765" sldId="346"/>
            <ac:picMk id="6" creationId="{25C9F62F-D45E-4445-8F13-99FCBB75DCA9}"/>
          </ac:picMkLst>
        </pc:picChg>
        <pc:picChg chg="add mod">
          <ac:chgData name="WONGYONGLIN91" userId="S::wongyonglin91_gmail.com#ext#@risebcg.onmicrosoft.com::b2d94f93-e580-4f0d-9dda-2138509d25ae" providerId="AD" clId="Web-{5E8024D4-CE76-4AF1-992E-04FA62D5E2AB}" dt="2022-01-08T09:12:43.767" v="187" actId="14100"/>
          <ac:picMkLst>
            <pc:docMk/>
            <pc:sldMk cId="2149037765" sldId="346"/>
            <ac:picMk id="6" creationId="{8B12E724-F7D6-46BF-AE6E-486289EC7CC6}"/>
          </ac:picMkLst>
        </pc:picChg>
        <pc:picChg chg="del">
          <ac:chgData name="WONGYONGLIN91" userId="S::wongyonglin91_gmail.com#ext#@risebcg.onmicrosoft.com::b2d94f93-e580-4f0d-9dda-2138509d25ae" providerId="AD" clId="Web-{5E8024D4-CE76-4AF1-992E-04FA62D5E2AB}" dt="2022-01-08T08:17:06.787" v="115"/>
          <ac:picMkLst>
            <pc:docMk/>
            <pc:sldMk cId="2149037765" sldId="346"/>
            <ac:picMk id="7" creationId="{6B409D3D-909A-4119-B3C7-FBF488970228}"/>
          </ac:picMkLst>
        </pc:picChg>
        <pc:picChg chg="add mod">
          <ac:chgData name="WONGYONGLIN91" userId="S::wongyonglin91_gmail.com#ext#@risebcg.onmicrosoft.com::b2d94f93-e580-4f0d-9dda-2138509d25ae" providerId="AD" clId="Web-{5E8024D4-CE76-4AF1-992E-04FA62D5E2AB}" dt="2022-01-08T09:02:31.470" v="134" actId="14100"/>
          <ac:picMkLst>
            <pc:docMk/>
            <pc:sldMk cId="2149037765" sldId="346"/>
            <ac:picMk id="7" creationId="{9A3D2A3F-16A2-4B00-AD57-DD79E305B4AB}"/>
          </ac:picMkLst>
        </pc:picChg>
        <pc:picChg chg="add del mod">
          <ac:chgData name="WONGYONGLIN91" userId="S::wongyonglin91_gmail.com#ext#@risebcg.onmicrosoft.com::b2d94f93-e580-4f0d-9dda-2138509d25ae" providerId="AD" clId="Web-{5E8024D4-CE76-4AF1-992E-04FA62D5E2AB}" dt="2022-01-08T09:12:48.564" v="188" actId="14100"/>
          <ac:picMkLst>
            <pc:docMk/>
            <pc:sldMk cId="2149037765" sldId="346"/>
            <ac:picMk id="8" creationId="{B55EB88B-1131-49F1-9EBF-9451360D2DC8}"/>
          </ac:picMkLst>
        </pc:picChg>
        <pc:picChg chg="add del mod">
          <ac:chgData name="WONGYONGLIN91" userId="S::wongyonglin91_gmail.com#ext#@risebcg.onmicrosoft.com::b2d94f93-e580-4f0d-9dda-2138509d25ae" providerId="AD" clId="Web-{5E8024D4-CE76-4AF1-992E-04FA62D5E2AB}" dt="2022-01-08T09:12:51.361" v="189" actId="14100"/>
          <ac:picMkLst>
            <pc:docMk/>
            <pc:sldMk cId="2149037765" sldId="346"/>
            <ac:picMk id="9" creationId="{3C5E64A5-AEC6-4C45-A9BB-6D9278736CF1}"/>
          </ac:picMkLst>
        </pc:picChg>
        <pc:picChg chg="del">
          <ac:chgData name="WONGYONGLIN91" userId="S::wongyonglin91_gmail.com#ext#@risebcg.onmicrosoft.com::b2d94f93-e580-4f0d-9dda-2138509d25ae" providerId="AD" clId="Web-{5E8024D4-CE76-4AF1-992E-04FA62D5E2AB}" dt="2022-01-08T09:03:20.268" v="140"/>
          <ac:picMkLst>
            <pc:docMk/>
            <pc:sldMk cId="2149037765" sldId="346"/>
            <ac:picMk id="10" creationId="{5C5BFFE9-19E0-4AAC-BCA1-0A74C6D93C5F}"/>
          </ac:picMkLst>
        </pc:picChg>
        <pc:picChg chg="del">
          <ac:chgData name="WONGYONGLIN91" userId="S::wongyonglin91_gmail.com#ext#@risebcg.onmicrosoft.com::b2d94f93-e580-4f0d-9dda-2138509d25ae" providerId="AD" clId="Web-{5E8024D4-CE76-4AF1-992E-04FA62D5E2AB}" dt="2022-01-08T09:03:19.706" v="139"/>
          <ac:picMkLst>
            <pc:docMk/>
            <pc:sldMk cId="2149037765" sldId="346"/>
            <ac:picMk id="11" creationId="{A57CFE02-5F8C-4E5D-85E3-23A246851199}"/>
          </ac:picMkLst>
        </pc:picChg>
        <pc:picChg chg="add del mod">
          <ac:chgData name="WONGYONGLIN91" userId="S::wongyonglin91_gmail.com#ext#@risebcg.onmicrosoft.com::b2d94f93-e580-4f0d-9dda-2138509d25ae" providerId="AD" clId="Web-{5E8024D4-CE76-4AF1-992E-04FA62D5E2AB}" dt="2022-01-08T09:11:40.969" v="176"/>
          <ac:picMkLst>
            <pc:docMk/>
            <pc:sldMk cId="2149037765" sldId="346"/>
            <ac:picMk id="13" creationId="{B50304B1-EFCF-47CE-B02C-051CD07526F5}"/>
          </ac:picMkLst>
        </pc:picChg>
        <pc:picChg chg="add del mod">
          <ac:chgData name="WONGYONGLIN91" userId="S::wongyonglin91_gmail.com#ext#@risebcg.onmicrosoft.com::b2d94f93-e580-4f0d-9dda-2138509d25ae" providerId="AD" clId="Web-{5E8024D4-CE76-4AF1-992E-04FA62D5E2AB}" dt="2022-01-08T09:11:37.500" v="173"/>
          <ac:picMkLst>
            <pc:docMk/>
            <pc:sldMk cId="2149037765" sldId="346"/>
            <ac:picMk id="14" creationId="{E6EB8151-E2D1-4355-A773-9C32D9A7B251}"/>
          </ac:picMkLst>
        </pc:picChg>
      </pc:sldChg>
    </pc:docChg>
  </pc:docChgLst>
  <pc:docChgLst>
    <pc:chgData name="EVELYNSM.YONG" userId="S::evelynsm.yong_gmail.com#ext#@risebcg.onmicrosoft.com::67a27a72-2420-4d38-b745-316a53f4b99a" providerId="AD" clId="Web-{01D17A1B-BAE4-4F53-935B-B69E11F8410A}"/>
    <pc:docChg chg="delSld modSld">
      <pc:chgData name="EVELYNSM.YONG" userId="S::evelynsm.yong_gmail.com#ext#@risebcg.onmicrosoft.com::67a27a72-2420-4d38-b745-316a53f4b99a" providerId="AD" clId="Web-{01D17A1B-BAE4-4F53-935B-B69E11F8410A}" dt="2022-01-10T14:05:22.531" v="351"/>
      <pc:docMkLst>
        <pc:docMk/>
      </pc:docMkLst>
      <pc:sldChg chg="modSp">
        <pc:chgData name="EVELYNSM.YONG" userId="S::evelynsm.yong_gmail.com#ext#@risebcg.onmicrosoft.com::67a27a72-2420-4d38-b745-316a53f4b99a" providerId="AD" clId="Web-{01D17A1B-BAE4-4F53-935B-B69E11F8410A}" dt="2022-01-10T13:34:33.121" v="45" actId="20577"/>
        <pc:sldMkLst>
          <pc:docMk/>
          <pc:sldMk cId="2256265757" sldId="315"/>
        </pc:sldMkLst>
        <pc:graphicFrameChg chg="mod modGraphic">
          <ac:chgData name="EVELYNSM.YONG" userId="S::evelynsm.yong_gmail.com#ext#@risebcg.onmicrosoft.com::67a27a72-2420-4d38-b745-316a53f4b99a" providerId="AD" clId="Web-{01D17A1B-BAE4-4F53-935B-B69E11F8410A}" dt="2022-01-10T13:34:33.121" v="45" actId="20577"/>
          <ac:graphicFrameMkLst>
            <pc:docMk/>
            <pc:sldMk cId="2256265757" sldId="315"/>
            <ac:graphicFrameMk id="38" creationId="{2DAB4BA8-57FC-486D-A609-66F3FDCD540C}"/>
          </ac:graphicFrameMkLst>
        </pc:graphicFrameChg>
      </pc:sldChg>
      <pc:sldChg chg="modSp">
        <pc:chgData name="EVELYNSM.YONG" userId="S::evelynsm.yong_gmail.com#ext#@risebcg.onmicrosoft.com::67a27a72-2420-4d38-b745-316a53f4b99a" providerId="AD" clId="Web-{01D17A1B-BAE4-4F53-935B-B69E11F8410A}" dt="2022-01-10T13:41:47.274" v="79"/>
        <pc:sldMkLst>
          <pc:docMk/>
          <pc:sldMk cId="4084366951" sldId="318"/>
        </pc:sldMkLst>
        <pc:picChg chg="mod">
          <ac:chgData name="EVELYNSM.YONG" userId="S::evelynsm.yong_gmail.com#ext#@risebcg.onmicrosoft.com::67a27a72-2420-4d38-b745-316a53f4b99a" providerId="AD" clId="Web-{01D17A1B-BAE4-4F53-935B-B69E11F8410A}" dt="2022-01-10T13:41:47.274" v="79"/>
          <ac:picMkLst>
            <pc:docMk/>
            <pc:sldMk cId="4084366951" sldId="318"/>
            <ac:picMk id="2" creationId="{A614BDB2-A87C-4D6E-B961-198BF7854FE2}"/>
          </ac:picMkLst>
        </pc:picChg>
        <pc:picChg chg="mod">
          <ac:chgData name="EVELYNSM.YONG" userId="S::evelynsm.yong_gmail.com#ext#@risebcg.onmicrosoft.com::67a27a72-2420-4d38-b745-316a53f4b99a" providerId="AD" clId="Web-{01D17A1B-BAE4-4F53-935B-B69E11F8410A}" dt="2022-01-10T13:40:28.225" v="72"/>
          <ac:picMkLst>
            <pc:docMk/>
            <pc:sldMk cId="4084366951" sldId="318"/>
            <ac:picMk id="18" creationId="{01844450-929B-4C6F-8685-6FF3118F02E2}"/>
          </ac:picMkLst>
        </pc:picChg>
      </pc:sldChg>
      <pc:sldChg chg="modSp">
        <pc:chgData name="EVELYNSM.YONG" userId="S::evelynsm.yong_gmail.com#ext#@risebcg.onmicrosoft.com::67a27a72-2420-4d38-b745-316a53f4b99a" providerId="AD" clId="Web-{01D17A1B-BAE4-4F53-935B-B69E11F8410A}" dt="2022-01-10T13:39:16.660" v="58"/>
        <pc:sldMkLst>
          <pc:docMk/>
          <pc:sldMk cId="3666302761" sldId="324"/>
        </pc:sldMkLst>
        <pc:picChg chg="mod">
          <ac:chgData name="EVELYNSM.YONG" userId="S::evelynsm.yong_gmail.com#ext#@risebcg.onmicrosoft.com::67a27a72-2420-4d38-b745-316a53f4b99a" providerId="AD" clId="Web-{01D17A1B-BAE4-4F53-935B-B69E11F8410A}" dt="2022-01-10T13:39:16.660" v="58"/>
          <ac:picMkLst>
            <pc:docMk/>
            <pc:sldMk cId="3666302761" sldId="324"/>
            <ac:picMk id="15" creationId="{5D59DB1C-172C-47ED-95FD-1E3F001466CE}"/>
          </ac:picMkLst>
        </pc:picChg>
      </pc:sldChg>
      <pc:sldChg chg="modSp">
        <pc:chgData name="EVELYNSM.YONG" userId="S::evelynsm.yong_gmail.com#ext#@risebcg.onmicrosoft.com::67a27a72-2420-4d38-b745-316a53f4b99a" providerId="AD" clId="Web-{01D17A1B-BAE4-4F53-935B-B69E11F8410A}" dt="2022-01-10T13:39:46.052" v="68"/>
        <pc:sldMkLst>
          <pc:docMk/>
          <pc:sldMk cId="2316358039" sldId="325"/>
        </pc:sldMkLst>
        <pc:picChg chg="mod">
          <ac:chgData name="EVELYNSM.YONG" userId="S::evelynsm.yong_gmail.com#ext#@risebcg.onmicrosoft.com::67a27a72-2420-4d38-b745-316a53f4b99a" providerId="AD" clId="Web-{01D17A1B-BAE4-4F53-935B-B69E11F8410A}" dt="2022-01-10T13:39:46.052" v="68"/>
          <ac:picMkLst>
            <pc:docMk/>
            <pc:sldMk cId="2316358039" sldId="325"/>
            <ac:picMk id="2" creationId="{69CF128B-0B09-4BF1-B2CA-1BA877B1F78B}"/>
          </ac:picMkLst>
        </pc:picChg>
      </pc:sldChg>
      <pc:sldChg chg="modSp">
        <pc:chgData name="EVELYNSM.YONG" userId="S::evelynsm.yong_gmail.com#ext#@risebcg.onmicrosoft.com::67a27a72-2420-4d38-b745-316a53f4b99a" providerId="AD" clId="Web-{01D17A1B-BAE4-4F53-935B-B69E11F8410A}" dt="2022-01-10T13:39:37.630" v="67" actId="1076"/>
        <pc:sldMkLst>
          <pc:docMk/>
          <pc:sldMk cId="2160415509" sldId="326"/>
        </pc:sldMkLst>
        <pc:spChg chg="mod">
          <ac:chgData name="EVELYNSM.YONG" userId="S::evelynsm.yong_gmail.com#ext#@risebcg.onmicrosoft.com::67a27a72-2420-4d38-b745-316a53f4b99a" providerId="AD" clId="Web-{01D17A1B-BAE4-4F53-935B-B69E11F8410A}" dt="2022-01-10T13:39:34.223" v="64" actId="1076"/>
          <ac:spMkLst>
            <pc:docMk/>
            <pc:sldMk cId="2160415509" sldId="326"/>
            <ac:spMk id="3" creationId="{A06E2C6C-AA2D-4DBA-B448-457815C4CAD3}"/>
          </ac:spMkLst>
        </pc:spChg>
        <pc:spChg chg="mod">
          <ac:chgData name="EVELYNSM.YONG" userId="S::evelynsm.yong_gmail.com#ext#@risebcg.onmicrosoft.com::67a27a72-2420-4d38-b745-316a53f4b99a" providerId="AD" clId="Web-{01D17A1B-BAE4-4F53-935B-B69E11F8410A}" dt="2022-01-10T13:39:37.630" v="67" actId="1076"/>
          <ac:spMkLst>
            <pc:docMk/>
            <pc:sldMk cId="2160415509" sldId="326"/>
            <ac:spMk id="4" creationId="{215644EC-E1A2-4B5F-BA53-79EB189605EC}"/>
          </ac:spMkLst>
        </pc:spChg>
        <pc:spChg chg="mod">
          <ac:chgData name="EVELYNSM.YONG" userId="S::evelynsm.yong_gmail.com#ext#@risebcg.onmicrosoft.com::67a27a72-2420-4d38-b745-316a53f4b99a" providerId="AD" clId="Web-{01D17A1B-BAE4-4F53-935B-B69E11F8410A}" dt="2022-01-10T13:39:34.208" v="63" actId="1076"/>
          <ac:spMkLst>
            <pc:docMk/>
            <pc:sldMk cId="2160415509" sldId="326"/>
            <ac:spMk id="7" creationId="{EE72E06D-8EAE-4242-B1FE-DB5A60BCC68C}"/>
          </ac:spMkLst>
        </pc:spChg>
        <pc:spChg chg="mod">
          <ac:chgData name="EVELYNSM.YONG" userId="S::evelynsm.yong_gmail.com#ext#@risebcg.onmicrosoft.com::67a27a72-2420-4d38-b745-316a53f4b99a" providerId="AD" clId="Web-{01D17A1B-BAE4-4F53-935B-B69E11F8410A}" dt="2022-01-10T13:39:34.223" v="65" actId="1076"/>
          <ac:spMkLst>
            <pc:docMk/>
            <pc:sldMk cId="2160415509" sldId="326"/>
            <ac:spMk id="10" creationId="{F403E5AA-CAF9-429E-AF8A-D6CAE94AE104}"/>
          </ac:spMkLst>
        </pc:spChg>
        <pc:spChg chg="mod">
          <ac:chgData name="EVELYNSM.YONG" userId="S::evelynsm.yong_gmail.com#ext#@risebcg.onmicrosoft.com::67a27a72-2420-4d38-b745-316a53f4b99a" providerId="AD" clId="Web-{01D17A1B-BAE4-4F53-935B-B69E11F8410A}" dt="2022-01-10T13:39:34.239" v="66" actId="1076"/>
          <ac:spMkLst>
            <pc:docMk/>
            <pc:sldMk cId="2160415509" sldId="326"/>
            <ac:spMk id="12" creationId="{E8C9A459-A11F-4DB3-BC61-E14A0DC903CB}"/>
          </ac:spMkLst>
        </pc:spChg>
        <pc:picChg chg="mod">
          <ac:chgData name="EVELYNSM.YONG" userId="S::evelynsm.yong_gmail.com#ext#@risebcg.onmicrosoft.com::67a27a72-2420-4d38-b745-316a53f4b99a" providerId="AD" clId="Web-{01D17A1B-BAE4-4F53-935B-B69E11F8410A}" dt="2022-01-10T13:39:34.192" v="62" actId="1076"/>
          <ac:picMkLst>
            <pc:docMk/>
            <pc:sldMk cId="2160415509" sldId="326"/>
            <ac:picMk id="6" creationId="{BFC712DB-8FC7-4ACB-AF6D-D3D38470A4A2}"/>
          </ac:picMkLst>
        </pc:picChg>
      </pc:sldChg>
      <pc:sldChg chg="addSp delSp modSp delAnim">
        <pc:chgData name="EVELYNSM.YONG" userId="S::evelynsm.yong_gmail.com#ext#@risebcg.onmicrosoft.com::67a27a72-2420-4d38-b745-316a53f4b99a" providerId="AD" clId="Web-{01D17A1B-BAE4-4F53-935B-B69E11F8410A}" dt="2022-01-10T14:00:31.960" v="331" actId="1076"/>
        <pc:sldMkLst>
          <pc:docMk/>
          <pc:sldMk cId="416007632" sldId="327"/>
        </pc:sldMkLst>
        <pc:spChg chg="del">
          <ac:chgData name="EVELYNSM.YONG" userId="S::evelynsm.yong_gmail.com#ext#@risebcg.onmicrosoft.com::67a27a72-2420-4d38-b745-316a53f4b99a" providerId="AD" clId="Web-{01D17A1B-BAE4-4F53-935B-B69E11F8410A}" dt="2022-01-10T13:56:40.266" v="245"/>
          <ac:spMkLst>
            <pc:docMk/>
            <pc:sldMk cId="416007632" sldId="327"/>
            <ac:spMk id="3" creationId="{D007FF1E-895C-4A21-8D3B-FDC1BD41CEEA}"/>
          </ac:spMkLst>
        </pc:spChg>
        <pc:spChg chg="mod">
          <ac:chgData name="EVELYNSM.YONG" userId="S::evelynsm.yong_gmail.com#ext#@risebcg.onmicrosoft.com::67a27a72-2420-4d38-b745-316a53f4b99a" providerId="AD" clId="Web-{01D17A1B-BAE4-4F53-935B-B69E11F8410A}" dt="2022-01-10T13:59:43.381" v="305" actId="1076"/>
          <ac:spMkLst>
            <pc:docMk/>
            <pc:sldMk cId="416007632" sldId="327"/>
            <ac:spMk id="4" creationId="{F2781DB5-90E2-4089-BA07-2F83778C3F07}"/>
          </ac:spMkLst>
        </pc:spChg>
        <pc:spChg chg="mod">
          <ac:chgData name="EVELYNSM.YONG" userId="S::evelynsm.yong_gmail.com#ext#@risebcg.onmicrosoft.com::67a27a72-2420-4d38-b745-316a53f4b99a" providerId="AD" clId="Web-{01D17A1B-BAE4-4F53-935B-B69E11F8410A}" dt="2022-01-10T13:59:43.412" v="306" actId="1076"/>
          <ac:spMkLst>
            <pc:docMk/>
            <pc:sldMk cId="416007632" sldId="327"/>
            <ac:spMk id="5" creationId="{AA1B9715-B961-42AF-90C9-79A87F13D1B8}"/>
          </ac:spMkLst>
        </pc:spChg>
        <pc:spChg chg="add mod">
          <ac:chgData name="EVELYNSM.YONG" userId="S::evelynsm.yong_gmail.com#ext#@risebcg.onmicrosoft.com::67a27a72-2420-4d38-b745-316a53f4b99a" providerId="AD" clId="Web-{01D17A1B-BAE4-4F53-935B-B69E11F8410A}" dt="2022-01-10T14:00:31.960" v="331" actId="1076"/>
          <ac:spMkLst>
            <pc:docMk/>
            <pc:sldMk cId="416007632" sldId="327"/>
            <ac:spMk id="6" creationId="{6CA25206-3BE3-4E79-8C96-46DAFD7B69D2}"/>
          </ac:spMkLst>
        </pc:spChg>
        <pc:spChg chg="mod">
          <ac:chgData name="EVELYNSM.YONG" userId="S::evelynsm.yong_gmail.com#ext#@risebcg.onmicrosoft.com::67a27a72-2420-4d38-b745-316a53f4b99a" providerId="AD" clId="Web-{01D17A1B-BAE4-4F53-935B-B69E11F8410A}" dt="2022-01-10T13:59:43.459" v="309" actId="1076"/>
          <ac:spMkLst>
            <pc:docMk/>
            <pc:sldMk cId="416007632" sldId="327"/>
            <ac:spMk id="10" creationId="{6903E9BF-EB5F-4900-A7C3-8046B86C2485}"/>
          </ac:spMkLst>
        </pc:spChg>
        <pc:spChg chg="mod">
          <ac:chgData name="EVELYNSM.YONG" userId="S::evelynsm.yong_gmail.com#ext#@risebcg.onmicrosoft.com::67a27a72-2420-4d38-b745-316a53f4b99a" providerId="AD" clId="Web-{01D17A1B-BAE4-4F53-935B-B69E11F8410A}" dt="2022-01-10T13:59:43.490" v="310" actId="1076"/>
          <ac:spMkLst>
            <pc:docMk/>
            <pc:sldMk cId="416007632" sldId="327"/>
            <ac:spMk id="11" creationId="{41409821-5DD4-4CE8-8A23-90E7022670FB}"/>
          </ac:spMkLst>
        </pc:spChg>
        <pc:spChg chg="mod">
          <ac:chgData name="EVELYNSM.YONG" userId="S::evelynsm.yong_gmail.com#ext#@risebcg.onmicrosoft.com::67a27a72-2420-4d38-b745-316a53f4b99a" providerId="AD" clId="Web-{01D17A1B-BAE4-4F53-935B-B69E11F8410A}" dt="2022-01-10T13:59:43.537" v="312" actId="1076"/>
          <ac:spMkLst>
            <pc:docMk/>
            <pc:sldMk cId="416007632" sldId="327"/>
            <ac:spMk id="17" creationId="{A342E76F-CBEB-45ED-8735-A83C6AD5D2B1}"/>
          </ac:spMkLst>
        </pc:spChg>
        <pc:spChg chg="add mod">
          <ac:chgData name="EVELYNSM.YONG" userId="S::evelynsm.yong_gmail.com#ext#@risebcg.onmicrosoft.com::67a27a72-2420-4d38-b745-316a53f4b99a" providerId="AD" clId="Web-{01D17A1B-BAE4-4F53-935B-B69E11F8410A}" dt="2022-01-10T14:00:31.898" v="328" actId="1076"/>
          <ac:spMkLst>
            <pc:docMk/>
            <pc:sldMk cId="416007632" sldId="327"/>
            <ac:spMk id="22" creationId="{87580016-E389-450C-958C-6E89567535CD}"/>
          </ac:spMkLst>
        </pc:spChg>
        <pc:spChg chg="add del">
          <ac:chgData name="EVELYNSM.YONG" userId="S::evelynsm.yong_gmail.com#ext#@risebcg.onmicrosoft.com::67a27a72-2420-4d38-b745-316a53f4b99a" providerId="AD" clId="Web-{01D17A1B-BAE4-4F53-935B-B69E11F8410A}" dt="2022-01-10T13:57:24.299" v="263"/>
          <ac:spMkLst>
            <pc:docMk/>
            <pc:sldMk cId="416007632" sldId="327"/>
            <ac:spMk id="24" creationId="{4D417E66-6DDF-4441-AB5C-6FA7F87F95A4}"/>
          </ac:spMkLst>
        </pc:spChg>
        <pc:spChg chg="add mod">
          <ac:chgData name="EVELYNSM.YONG" userId="S::evelynsm.yong_gmail.com#ext#@risebcg.onmicrosoft.com::67a27a72-2420-4d38-b745-316a53f4b99a" providerId="AD" clId="Web-{01D17A1B-BAE4-4F53-935B-B69E11F8410A}" dt="2022-01-10T14:00:31.945" v="330" actId="1076"/>
          <ac:spMkLst>
            <pc:docMk/>
            <pc:sldMk cId="416007632" sldId="327"/>
            <ac:spMk id="25" creationId="{4F00FEED-ACFF-47D3-8E58-F08ED7F24610}"/>
          </ac:spMkLst>
        </pc:spChg>
        <pc:spChg chg="add mod">
          <ac:chgData name="EVELYNSM.YONG" userId="S::evelynsm.yong_gmail.com#ext#@risebcg.onmicrosoft.com::67a27a72-2420-4d38-b745-316a53f4b99a" providerId="AD" clId="Web-{01D17A1B-BAE4-4F53-935B-B69E11F8410A}" dt="2022-01-10T14:00:31.913" v="329" actId="1076"/>
          <ac:spMkLst>
            <pc:docMk/>
            <pc:sldMk cId="416007632" sldId="327"/>
            <ac:spMk id="26" creationId="{F04C1B96-7F9F-4AB4-AD9F-542885D1602E}"/>
          </ac:spMkLst>
        </pc:spChg>
        <pc:spChg chg="add mod">
          <ac:chgData name="EVELYNSM.YONG" userId="S::evelynsm.yong_gmail.com#ext#@risebcg.onmicrosoft.com::67a27a72-2420-4d38-b745-316a53f4b99a" providerId="AD" clId="Web-{01D17A1B-BAE4-4F53-935B-B69E11F8410A}" dt="2022-01-10T14:00:31.882" v="327" actId="1076"/>
          <ac:spMkLst>
            <pc:docMk/>
            <pc:sldMk cId="416007632" sldId="327"/>
            <ac:spMk id="27" creationId="{577D7F9D-08BA-4DFF-A12D-161776ED3231}"/>
          </ac:spMkLst>
        </pc:spChg>
        <pc:spChg chg="mod">
          <ac:chgData name="EVELYNSM.YONG" userId="S::evelynsm.yong_gmail.com#ext#@risebcg.onmicrosoft.com::67a27a72-2420-4d38-b745-316a53f4b99a" providerId="AD" clId="Web-{01D17A1B-BAE4-4F53-935B-B69E11F8410A}" dt="2022-01-10T14:00:17.507" v="322" actId="1076"/>
          <ac:spMkLst>
            <pc:docMk/>
            <pc:sldMk cId="416007632" sldId="327"/>
            <ac:spMk id="32" creationId="{19924F50-9976-41A7-88C1-641F1509CEE0}"/>
          </ac:spMkLst>
        </pc:spChg>
        <pc:spChg chg="mod">
          <ac:chgData name="EVELYNSM.YONG" userId="S::evelynsm.yong_gmail.com#ext#@risebcg.onmicrosoft.com::67a27a72-2420-4d38-b745-316a53f4b99a" providerId="AD" clId="Web-{01D17A1B-BAE4-4F53-935B-B69E11F8410A}" dt="2022-01-10T14:00:17.538" v="323" actId="1076"/>
          <ac:spMkLst>
            <pc:docMk/>
            <pc:sldMk cId="416007632" sldId="327"/>
            <ac:spMk id="33" creationId="{C9B7F08E-D629-47BA-B28C-40CF22219379}"/>
          </ac:spMkLst>
        </pc:spChg>
        <pc:spChg chg="mod">
          <ac:chgData name="EVELYNSM.YONG" userId="S::evelynsm.yong_gmail.com#ext#@risebcg.onmicrosoft.com::67a27a72-2420-4d38-b745-316a53f4b99a" providerId="AD" clId="Web-{01D17A1B-BAE4-4F53-935B-B69E11F8410A}" dt="2022-01-10T14:00:17.554" v="324" actId="1076"/>
          <ac:spMkLst>
            <pc:docMk/>
            <pc:sldMk cId="416007632" sldId="327"/>
            <ac:spMk id="34" creationId="{06D19D76-F677-4AAA-AA6A-7CA4B9DAF436}"/>
          </ac:spMkLst>
        </pc:spChg>
        <pc:spChg chg="mod">
          <ac:chgData name="EVELYNSM.YONG" userId="S::evelynsm.yong_gmail.com#ext#@risebcg.onmicrosoft.com::67a27a72-2420-4d38-b745-316a53f4b99a" providerId="AD" clId="Web-{01D17A1B-BAE4-4F53-935B-B69E11F8410A}" dt="2022-01-10T14:00:17.585" v="325" actId="1076"/>
          <ac:spMkLst>
            <pc:docMk/>
            <pc:sldMk cId="416007632" sldId="327"/>
            <ac:spMk id="35" creationId="{E20AAA99-395B-4009-AF86-AC6B211B7758}"/>
          </ac:spMkLst>
        </pc:spChg>
        <pc:spChg chg="mod">
          <ac:chgData name="EVELYNSM.YONG" userId="S::evelynsm.yong_gmail.com#ext#@risebcg.onmicrosoft.com::67a27a72-2420-4d38-b745-316a53f4b99a" providerId="AD" clId="Web-{01D17A1B-BAE4-4F53-935B-B69E11F8410A}" dt="2022-01-10T14:00:17.600" v="326" actId="1076"/>
          <ac:spMkLst>
            <pc:docMk/>
            <pc:sldMk cId="416007632" sldId="327"/>
            <ac:spMk id="37" creationId="{1AA86EF9-D1F2-488E-902B-9C25FAEFDD52}"/>
          </ac:spMkLst>
        </pc:spChg>
        <pc:picChg chg="mod">
          <ac:chgData name="EVELYNSM.YONG" userId="S::evelynsm.yong_gmail.com#ext#@risebcg.onmicrosoft.com::67a27a72-2420-4d38-b745-316a53f4b99a" providerId="AD" clId="Web-{01D17A1B-BAE4-4F53-935B-B69E11F8410A}" dt="2022-01-10T13:59:43.428" v="307" actId="1076"/>
          <ac:picMkLst>
            <pc:docMk/>
            <pc:sldMk cId="416007632" sldId="327"/>
            <ac:picMk id="7" creationId="{52098F02-F658-4E94-9501-A14F3E2D33CE}"/>
          </ac:picMkLst>
        </pc:picChg>
        <pc:picChg chg="mod">
          <ac:chgData name="EVELYNSM.YONG" userId="S::evelynsm.yong_gmail.com#ext#@risebcg.onmicrosoft.com::67a27a72-2420-4d38-b745-316a53f4b99a" providerId="AD" clId="Web-{01D17A1B-BAE4-4F53-935B-B69E11F8410A}" dt="2022-01-10T13:59:43.443" v="308" actId="1076"/>
          <ac:picMkLst>
            <pc:docMk/>
            <pc:sldMk cId="416007632" sldId="327"/>
            <ac:picMk id="9" creationId="{A7D42D63-B632-4192-9AF9-4120DFBDAFF3}"/>
          </ac:picMkLst>
        </pc:picChg>
        <pc:picChg chg="mod">
          <ac:chgData name="EVELYNSM.YONG" userId="S::evelynsm.yong_gmail.com#ext#@risebcg.onmicrosoft.com::67a27a72-2420-4d38-b745-316a53f4b99a" providerId="AD" clId="Web-{01D17A1B-BAE4-4F53-935B-B69E11F8410A}" dt="2022-01-10T13:59:43.506" v="311" actId="1076"/>
          <ac:picMkLst>
            <pc:docMk/>
            <pc:sldMk cId="416007632" sldId="327"/>
            <ac:picMk id="13" creationId="{9D9C893F-03E6-48D6-942D-542F03E4CD7B}"/>
          </ac:picMkLst>
        </pc:picChg>
        <pc:picChg chg="mod">
          <ac:chgData name="EVELYNSM.YONG" userId="S::evelynsm.yong_gmail.com#ext#@risebcg.onmicrosoft.com::67a27a72-2420-4d38-b745-316a53f4b99a" providerId="AD" clId="Web-{01D17A1B-BAE4-4F53-935B-B69E11F8410A}" dt="2022-01-10T13:59:43.553" v="313" actId="1076"/>
          <ac:picMkLst>
            <pc:docMk/>
            <pc:sldMk cId="416007632" sldId="327"/>
            <ac:picMk id="21" creationId="{270AFCE7-EE99-4D66-AE35-2E7503A46115}"/>
          </ac:picMkLst>
        </pc:picChg>
        <pc:picChg chg="mod">
          <ac:chgData name="EVELYNSM.YONG" userId="S::evelynsm.yong_gmail.com#ext#@risebcg.onmicrosoft.com::67a27a72-2420-4d38-b745-316a53f4b99a" providerId="AD" clId="Web-{01D17A1B-BAE4-4F53-935B-B69E11F8410A}" dt="2022-01-10T13:59:43.568" v="314" actId="1076"/>
          <ac:picMkLst>
            <pc:docMk/>
            <pc:sldMk cId="416007632" sldId="327"/>
            <ac:picMk id="23" creationId="{AEC9587C-3F93-4045-ACEB-A1A4AFB0FC11}"/>
          </ac:picMkLst>
        </pc:picChg>
        <pc:picChg chg="mod">
          <ac:chgData name="EVELYNSM.YONG" userId="S::evelynsm.yong_gmail.com#ext#@risebcg.onmicrosoft.com::67a27a72-2420-4d38-b745-316a53f4b99a" providerId="AD" clId="Web-{01D17A1B-BAE4-4F53-935B-B69E11F8410A}" dt="2022-01-10T13:59:43.584" v="315" actId="1076"/>
          <ac:picMkLst>
            <pc:docMk/>
            <pc:sldMk cId="416007632" sldId="327"/>
            <ac:picMk id="29" creationId="{4F6899D5-3109-4938-82DA-041DEA46D7EF}"/>
          </ac:picMkLst>
        </pc:picChg>
      </pc:sldChg>
      <pc:sldChg chg="modSp">
        <pc:chgData name="EVELYNSM.YONG" userId="S::evelynsm.yong_gmail.com#ext#@risebcg.onmicrosoft.com::67a27a72-2420-4d38-b745-316a53f4b99a" providerId="AD" clId="Web-{01D17A1B-BAE4-4F53-935B-B69E11F8410A}" dt="2022-01-10T13:40:59.913" v="77" actId="14100"/>
        <pc:sldMkLst>
          <pc:docMk/>
          <pc:sldMk cId="1249418479" sldId="334"/>
        </pc:sldMkLst>
        <pc:spChg chg="mod">
          <ac:chgData name="EVELYNSM.YONG" userId="S::evelynsm.yong_gmail.com#ext#@risebcg.onmicrosoft.com::67a27a72-2420-4d38-b745-316a53f4b99a" providerId="AD" clId="Web-{01D17A1B-BAE4-4F53-935B-B69E11F8410A}" dt="2022-01-10T13:40:59.913" v="77" actId="14100"/>
          <ac:spMkLst>
            <pc:docMk/>
            <pc:sldMk cId="1249418479" sldId="334"/>
            <ac:spMk id="13" creationId="{FBC020E8-35CC-4608-825A-F2C3D7F17A69}"/>
          </ac:spMkLst>
        </pc:spChg>
        <pc:picChg chg="mod">
          <ac:chgData name="EVELYNSM.YONG" userId="S::evelynsm.yong_gmail.com#ext#@risebcg.onmicrosoft.com::67a27a72-2420-4d38-b745-316a53f4b99a" providerId="AD" clId="Web-{01D17A1B-BAE4-4F53-935B-B69E11F8410A}" dt="2022-01-10T13:40:36.006" v="73"/>
          <ac:picMkLst>
            <pc:docMk/>
            <pc:sldMk cId="1249418479" sldId="334"/>
            <ac:picMk id="3" creationId="{BB0FEA3F-D819-4B77-A827-0CADCE750344}"/>
          </ac:picMkLst>
        </pc:picChg>
        <pc:picChg chg="mod">
          <ac:chgData name="EVELYNSM.YONG" userId="S::evelynsm.yong_gmail.com#ext#@risebcg.onmicrosoft.com::67a27a72-2420-4d38-b745-316a53f4b99a" providerId="AD" clId="Web-{01D17A1B-BAE4-4F53-935B-B69E11F8410A}" dt="2022-01-10T13:40:54.007" v="76" actId="14100"/>
          <ac:picMkLst>
            <pc:docMk/>
            <pc:sldMk cId="1249418479" sldId="334"/>
            <ac:picMk id="9" creationId="{4808EF87-719E-4DC9-AB3F-F94B7F635A80}"/>
          </ac:picMkLst>
        </pc:picChg>
      </pc:sldChg>
      <pc:sldChg chg="del modNotes">
        <pc:chgData name="EVELYNSM.YONG" userId="S::evelynsm.yong_gmail.com#ext#@risebcg.onmicrosoft.com::67a27a72-2420-4d38-b745-316a53f4b99a" providerId="AD" clId="Web-{01D17A1B-BAE4-4F53-935B-B69E11F8410A}" dt="2022-01-10T13:35:21.201" v="57"/>
        <pc:sldMkLst>
          <pc:docMk/>
          <pc:sldMk cId="2652119032" sldId="335"/>
        </pc:sldMkLst>
      </pc:sldChg>
      <pc:sldChg chg="modNotes">
        <pc:chgData name="EVELYNSM.YONG" userId="S::evelynsm.yong_gmail.com#ext#@risebcg.onmicrosoft.com::67a27a72-2420-4d38-b745-316a53f4b99a" providerId="AD" clId="Web-{01D17A1B-BAE4-4F53-935B-B69E11F8410A}" dt="2022-01-10T13:53:31.543" v="244"/>
        <pc:sldMkLst>
          <pc:docMk/>
          <pc:sldMk cId="3391215681" sldId="339"/>
        </pc:sldMkLst>
      </pc:sldChg>
      <pc:sldChg chg="modSp">
        <pc:chgData name="EVELYNSM.YONG" userId="S::evelynsm.yong_gmail.com#ext#@risebcg.onmicrosoft.com::67a27a72-2420-4d38-b745-316a53f4b99a" providerId="AD" clId="Web-{01D17A1B-BAE4-4F53-935B-B69E11F8410A}" dt="2022-01-10T13:41:07.132" v="78"/>
        <pc:sldMkLst>
          <pc:docMk/>
          <pc:sldMk cId="4159389698" sldId="342"/>
        </pc:sldMkLst>
        <pc:picChg chg="mod">
          <ac:chgData name="EVELYNSM.YONG" userId="S::evelynsm.yong_gmail.com#ext#@risebcg.onmicrosoft.com::67a27a72-2420-4d38-b745-316a53f4b99a" providerId="AD" clId="Web-{01D17A1B-BAE4-4F53-935B-B69E11F8410A}" dt="2022-01-10T13:41:07.132" v="78"/>
          <ac:picMkLst>
            <pc:docMk/>
            <pc:sldMk cId="4159389698" sldId="342"/>
            <ac:picMk id="4" creationId="{A250FD57-6309-4718-A617-85A0EA99B27E}"/>
          </ac:picMkLst>
        </pc:picChg>
      </pc:sldChg>
      <pc:sldChg chg="modSp">
        <pc:chgData name="EVELYNSM.YONG" userId="S::evelynsm.yong_gmail.com#ext#@risebcg.onmicrosoft.com::67a27a72-2420-4d38-b745-316a53f4b99a" providerId="AD" clId="Web-{01D17A1B-BAE4-4F53-935B-B69E11F8410A}" dt="2022-01-10T13:40:01.083" v="70"/>
        <pc:sldMkLst>
          <pc:docMk/>
          <pc:sldMk cId="1894441827" sldId="358"/>
        </pc:sldMkLst>
        <pc:picChg chg="mod">
          <ac:chgData name="EVELYNSM.YONG" userId="S::evelynsm.yong_gmail.com#ext#@risebcg.onmicrosoft.com::67a27a72-2420-4d38-b745-316a53f4b99a" providerId="AD" clId="Web-{01D17A1B-BAE4-4F53-935B-B69E11F8410A}" dt="2022-01-10T13:40:01.083" v="70"/>
          <ac:picMkLst>
            <pc:docMk/>
            <pc:sldMk cId="1894441827" sldId="358"/>
            <ac:picMk id="7" creationId="{39EBC9D3-EE2E-4A60-B21B-2E3F051B1C2C}"/>
          </ac:picMkLst>
        </pc:picChg>
      </pc:sldChg>
      <pc:sldChg chg="modNotes">
        <pc:chgData name="EVELYNSM.YONG" userId="S::evelynsm.yong_gmail.com#ext#@risebcg.onmicrosoft.com::67a27a72-2420-4d38-b745-316a53f4b99a" providerId="AD" clId="Web-{01D17A1B-BAE4-4F53-935B-B69E11F8410A}" dt="2022-01-10T14:05:22.531" v="351"/>
        <pc:sldMkLst>
          <pc:docMk/>
          <pc:sldMk cId="3531645893" sldId="360"/>
        </pc:sldMkLst>
      </pc:sldChg>
    </pc:docChg>
  </pc:docChgLst>
  <pc:docChgLst>
    <pc:chgData name="COSMOSFREN" userId="S::cosmosfren_yahoo.com#ext#@risebcg.onmicrosoft.com::5462f5f4-f618-47aa-abd8-fd504e002570" providerId="AD" clId="Web-{DCEE5406-83BB-48F0-AF89-99663C2BD9DB}"/>
    <pc:docChg chg="addSld delSld modSld sldOrd">
      <pc:chgData name="COSMOSFREN" userId="S::cosmosfren_yahoo.com#ext#@risebcg.onmicrosoft.com::5462f5f4-f618-47aa-abd8-fd504e002570" providerId="AD" clId="Web-{DCEE5406-83BB-48F0-AF89-99663C2BD9DB}" dt="2022-01-08T16:29:50.092" v="2212" actId="1076"/>
      <pc:docMkLst>
        <pc:docMk/>
      </pc:docMkLst>
      <pc:sldChg chg="ord">
        <pc:chgData name="COSMOSFREN" userId="S::cosmosfren_yahoo.com#ext#@risebcg.onmicrosoft.com::5462f5f4-f618-47aa-abd8-fd504e002570" providerId="AD" clId="Web-{DCEE5406-83BB-48F0-AF89-99663C2BD9DB}" dt="2022-01-08T16:11:32.085" v="1152"/>
        <pc:sldMkLst>
          <pc:docMk/>
          <pc:sldMk cId="2997843956" sldId="282"/>
        </pc:sldMkLst>
      </pc:sldChg>
      <pc:sldChg chg="delSp modSp ord">
        <pc:chgData name="COSMOSFREN" userId="S::cosmosfren_yahoo.com#ext#@risebcg.onmicrosoft.com::5462f5f4-f618-47aa-abd8-fd504e002570" providerId="AD" clId="Web-{DCEE5406-83BB-48F0-AF89-99663C2BD9DB}" dt="2022-01-08T16:20:46.579" v="1538" actId="1076"/>
        <pc:sldMkLst>
          <pc:docMk/>
          <pc:sldMk cId="2651815169" sldId="283"/>
        </pc:sldMkLst>
        <pc:spChg chg="mod">
          <ac:chgData name="COSMOSFREN" userId="S::cosmosfren_yahoo.com#ext#@risebcg.onmicrosoft.com::5462f5f4-f618-47aa-abd8-fd504e002570" providerId="AD" clId="Web-{DCEE5406-83BB-48F0-AF89-99663C2BD9DB}" dt="2022-01-08T15:42:31.851" v="943" actId="20577"/>
          <ac:spMkLst>
            <pc:docMk/>
            <pc:sldMk cId="2651815169" sldId="283"/>
            <ac:spMk id="4" creationId="{C3F6C5B1-254F-4FE6-BDCC-5FB9103008E3}"/>
          </ac:spMkLst>
        </pc:spChg>
        <pc:spChg chg="del">
          <ac:chgData name="COSMOSFREN" userId="S::cosmosfren_yahoo.com#ext#@risebcg.onmicrosoft.com::5462f5f4-f618-47aa-abd8-fd504e002570" providerId="AD" clId="Web-{DCEE5406-83BB-48F0-AF89-99663C2BD9DB}" dt="2022-01-08T16:19:38.703" v="1522"/>
          <ac:spMkLst>
            <pc:docMk/>
            <pc:sldMk cId="2651815169" sldId="283"/>
            <ac:spMk id="5" creationId="{860E882A-0BA4-44D6-AAB6-065F26C5A510}"/>
          </ac:spMkLst>
        </pc:spChg>
        <pc:spChg chg="del">
          <ac:chgData name="COSMOSFREN" userId="S::cosmosfren_yahoo.com#ext#@risebcg.onmicrosoft.com::5462f5f4-f618-47aa-abd8-fd504e002570" providerId="AD" clId="Web-{DCEE5406-83BB-48F0-AF89-99663C2BD9DB}" dt="2022-01-08T16:19:44.781" v="1524"/>
          <ac:spMkLst>
            <pc:docMk/>
            <pc:sldMk cId="2651815169" sldId="283"/>
            <ac:spMk id="6" creationId="{C19CDE0B-BC03-436C-B994-4E622170A517}"/>
          </ac:spMkLst>
        </pc:spChg>
        <pc:spChg chg="mod">
          <ac:chgData name="COSMOSFREN" userId="S::cosmosfren_yahoo.com#ext#@risebcg.onmicrosoft.com::5462f5f4-f618-47aa-abd8-fd504e002570" providerId="AD" clId="Web-{DCEE5406-83BB-48F0-AF89-99663C2BD9DB}" dt="2022-01-08T16:20:46.579" v="1538" actId="1076"/>
          <ac:spMkLst>
            <pc:docMk/>
            <pc:sldMk cId="2651815169" sldId="283"/>
            <ac:spMk id="7" creationId="{E61FCFC1-D89A-45B3-AC51-C90F2B6D8A09}"/>
          </ac:spMkLst>
        </pc:spChg>
        <pc:spChg chg="mod">
          <ac:chgData name="COSMOSFREN" userId="S::cosmosfren_yahoo.com#ext#@risebcg.onmicrosoft.com::5462f5f4-f618-47aa-abd8-fd504e002570" providerId="AD" clId="Web-{DCEE5406-83BB-48F0-AF89-99663C2BD9DB}" dt="2022-01-08T16:20:43.517" v="1537" actId="1076"/>
          <ac:spMkLst>
            <pc:docMk/>
            <pc:sldMk cId="2651815169" sldId="283"/>
            <ac:spMk id="8" creationId="{0B2D1DB4-275D-4442-B3F2-C378D29324DA}"/>
          </ac:spMkLst>
        </pc:spChg>
        <pc:spChg chg="del">
          <ac:chgData name="COSMOSFREN" userId="S::cosmosfren_yahoo.com#ext#@risebcg.onmicrosoft.com::5462f5f4-f618-47aa-abd8-fd504e002570" providerId="AD" clId="Web-{DCEE5406-83BB-48F0-AF89-99663C2BD9DB}" dt="2022-01-08T16:20:38.548" v="1535"/>
          <ac:spMkLst>
            <pc:docMk/>
            <pc:sldMk cId="2651815169" sldId="283"/>
            <ac:spMk id="9" creationId="{266A93B1-3355-4627-BD3B-DFC8B5544E1F}"/>
          </ac:spMkLst>
        </pc:spChg>
        <pc:spChg chg="mod">
          <ac:chgData name="COSMOSFREN" userId="S::cosmosfren_yahoo.com#ext#@risebcg.onmicrosoft.com::5462f5f4-f618-47aa-abd8-fd504e002570" providerId="AD" clId="Web-{DCEE5406-83BB-48F0-AF89-99663C2BD9DB}" dt="2022-01-08T16:20:41.188" v="1536" actId="1076"/>
          <ac:spMkLst>
            <pc:docMk/>
            <pc:sldMk cId="2651815169" sldId="283"/>
            <ac:spMk id="12" creationId="{325314B2-7B51-4562-8DBD-8B937B7D6B5C}"/>
          </ac:spMkLst>
        </pc:spChg>
        <pc:spChg chg="del">
          <ac:chgData name="COSMOSFREN" userId="S::cosmosfren_yahoo.com#ext#@risebcg.onmicrosoft.com::5462f5f4-f618-47aa-abd8-fd504e002570" providerId="AD" clId="Web-{DCEE5406-83BB-48F0-AF89-99663C2BD9DB}" dt="2022-01-08T16:19:47.859" v="1525"/>
          <ac:spMkLst>
            <pc:docMk/>
            <pc:sldMk cId="2651815169" sldId="283"/>
            <ac:spMk id="38" creationId="{17452DE5-A056-4E6A-8B53-E5726A915E05}"/>
          </ac:spMkLst>
        </pc:spChg>
        <pc:grpChg chg="del">
          <ac:chgData name="COSMOSFREN" userId="S::cosmosfren_yahoo.com#ext#@risebcg.onmicrosoft.com::5462f5f4-f618-47aa-abd8-fd504e002570" providerId="AD" clId="Web-{DCEE5406-83BB-48F0-AF89-99663C2BD9DB}" dt="2022-01-08T16:19:43.078" v="1523"/>
          <ac:grpSpMkLst>
            <pc:docMk/>
            <pc:sldMk cId="2651815169" sldId="283"/>
            <ac:grpSpMk id="29" creationId="{CD4A0C46-304C-4267-88B8-C4CD5B48E36C}"/>
          </ac:grpSpMkLst>
        </pc:grpChg>
        <pc:grpChg chg="del">
          <ac:chgData name="COSMOSFREN" userId="S::cosmosfren_yahoo.com#ext#@risebcg.onmicrosoft.com::5462f5f4-f618-47aa-abd8-fd504e002570" providerId="AD" clId="Web-{DCEE5406-83BB-48F0-AF89-99663C2BD9DB}" dt="2022-01-08T16:20:35.860" v="1534"/>
          <ac:grpSpMkLst>
            <pc:docMk/>
            <pc:sldMk cId="2651815169" sldId="283"/>
            <ac:grpSpMk id="34" creationId="{4087CC36-C158-47EB-BAF4-D71516D3E5DA}"/>
          </ac:grpSpMkLst>
        </pc:grpChg>
      </pc:sldChg>
      <pc:sldChg chg="ord">
        <pc:chgData name="COSMOSFREN" userId="S::cosmosfren_yahoo.com#ext#@risebcg.onmicrosoft.com::5462f5f4-f618-47aa-abd8-fd504e002570" providerId="AD" clId="Web-{DCEE5406-83BB-48F0-AF89-99663C2BD9DB}" dt="2022-01-08T16:10:11.006" v="1150"/>
        <pc:sldMkLst>
          <pc:docMk/>
          <pc:sldMk cId="2307665363" sldId="309"/>
        </pc:sldMkLst>
      </pc:sldChg>
      <pc:sldChg chg="modSp modNotes">
        <pc:chgData name="COSMOSFREN" userId="S::cosmosfren_yahoo.com#ext#@risebcg.onmicrosoft.com::5462f5f4-f618-47aa-abd8-fd504e002570" providerId="AD" clId="Web-{DCEE5406-83BB-48F0-AF89-99663C2BD9DB}" dt="2022-01-08T16:01:25.355" v="1146" actId="20577"/>
        <pc:sldMkLst>
          <pc:docMk/>
          <pc:sldMk cId="4084366951" sldId="318"/>
        </pc:sldMkLst>
        <pc:spChg chg="mod">
          <ac:chgData name="COSMOSFREN" userId="S::cosmosfren_yahoo.com#ext#@risebcg.onmicrosoft.com::5462f5f4-f618-47aa-abd8-fd504e002570" providerId="AD" clId="Web-{DCEE5406-83BB-48F0-AF89-99663C2BD9DB}" dt="2022-01-08T16:01:25.355" v="1146" actId="20577"/>
          <ac:spMkLst>
            <pc:docMk/>
            <pc:sldMk cId="4084366951" sldId="318"/>
            <ac:spMk id="32" creationId="{41E099E5-F68B-4939-9F7A-B9CC2E5F333A}"/>
          </ac:spMkLst>
        </pc:spChg>
      </pc:sldChg>
      <pc:sldChg chg="ord">
        <pc:chgData name="COSMOSFREN" userId="S::cosmosfren_yahoo.com#ext#@risebcg.onmicrosoft.com::5462f5f4-f618-47aa-abd8-fd504e002570" providerId="AD" clId="Web-{DCEE5406-83BB-48F0-AF89-99663C2BD9DB}" dt="2022-01-08T16:10:14.662" v="1151"/>
        <pc:sldMkLst>
          <pc:docMk/>
          <pc:sldMk cId="1791060006" sldId="319"/>
        </pc:sldMkLst>
      </pc:sldChg>
      <pc:sldChg chg="addSp delSp modSp">
        <pc:chgData name="COSMOSFREN" userId="S::cosmosfren_yahoo.com#ext#@risebcg.onmicrosoft.com::5462f5f4-f618-47aa-abd8-fd504e002570" providerId="AD" clId="Web-{DCEE5406-83BB-48F0-AF89-99663C2BD9DB}" dt="2022-01-08T14:47:15.587" v="547" actId="14100"/>
        <pc:sldMkLst>
          <pc:docMk/>
          <pc:sldMk cId="3666302761" sldId="324"/>
        </pc:sldMkLst>
        <pc:spChg chg="del">
          <ac:chgData name="COSMOSFREN" userId="S::cosmosfren_yahoo.com#ext#@risebcg.onmicrosoft.com::5462f5f4-f618-47aa-abd8-fd504e002570" providerId="AD" clId="Web-{DCEE5406-83BB-48F0-AF89-99663C2BD9DB}" dt="2022-01-08T14:21:04.279" v="78"/>
          <ac:spMkLst>
            <pc:docMk/>
            <pc:sldMk cId="3666302761" sldId="324"/>
            <ac:spMk id="4" creationId="{19708EDC-3A90-4EC0-A789-51301070BDC6}"/>
          </ac:spMkLst>
        </pc:spChg>
        <pc:spChg chg="add mod">
          <ac:chgData name="COSMOSFREN" userId="S::cosmosfren_yahoo.com#ext#@risebcg.onmicrosoft.com::5462f5f4-f618-47aa-abd8-fd504e002570" providerId="AD" clId="Web-{DCEE5406-83BB-48F0-AF89-99663C2BD9DB}" dt="2022-01-08T14:25:40.190" v="208" actId="1076"/>
          <ac:spMkLst>
            <pc:docMk/>
            <pc:sldMk cId="3666302761" sldId="324"/>
            <ac:spMk id="5" creationId="{0A784A15-5CA4-4DDF-B588-22BE7AFBC9A8}"/>
          </ac:spMkLst>
        </pc:spChg>
        <pc:spChg chg="mod">
          <ac:chgData name="COSMOSFREN" userId="S::cosmosfren_yahoo.com#ext#@risebcg.onmicrosoft.com::5462f5f4-f618-47aa-abd8-fd504e002570" providerId="AD" clId="Web-{DCEE5406-83BB-48F0-AF89-99663C2BD9DB}" dt="2022-01-08T14:43:04.349" v="482" actId="1076"/>
          <ac:spMkLst>
            <pc:docMk/>
            <pc:sldMk cId="3666302761" sldId="324"/>
            <ac:spMk id="6" creationId="{2421FA36-AD2A-4740-8B15-775BD01D9062}"/>
          </ac:spMkLst>
        </pc:spChg>
        <pc:spChg chg="mod">
          <ac:chgData name="COSMOSFREN" userId="S::cosmosfren_yahoo.com#ext#@risebcg.onmicrosoft.com::5462f5f4-f618-47aa-abd8-fd504e002570" providerId="AD" clId="Web-{DCEE5406-83BB-48F0-AF89-99663C2BD9DB}" dt="2022-01-08T14:18:28.870" v="64" actId="1076"/>
          <ac:spMkLst>
            <pc:docMk/>
            <pc:sldMk cId="3666302761" sldId="324"/>
            <ac:spMk id="7" creationId="{5040411B-0A54-429E-94AB-0F4DA7C1917E}"/>
          </ac:spMkLst>
        </pc:spChg>
        <pc:spChg chg="add del mod">
          <ac:chgData name="COSMOSFREN" userId="S::cosmosfren_yahoo.com#ext#@risebcg.onmicrosoft.com::5462f5f4-f618-47aa-abd8-fd504e002570" providerId="AD" clId="Web-{DCEE5406-83BB-48F0-AF89-99663C2BD9DB}" dt="2022-01-08T14:42:33.645" v="481"/>
          <ac:spMkLst>
            <pc:docMk/>
            <pc:sldMk cId="3666302761" sldId="324"/>
            <ac:spMk id="10" creationId="{BA5A4344-237C-4981-843D-17E5A74D5601}"/>
          </ac:spMkLst>
        </pc:spChg>
        <pc:spChg chg="mod">
          <ac:chgData name="COSMOSFREN" userId="S::cosmosfren_yahoo.com#ext#@risebcg.onmicrosoft.com::5462f5f4-f618-47aa-abd8-fd504e002570" providerId="AD" clId="Web-{DCEE5406-83BB-48F0-AF89-99663C2BD9DB}" dt="2022-01-08T14:18:30.886" v="65" actId="1076"/>
          <ac:spMkLst>
            <pc:docMk/>
            <pc:sldMk cId="3666302761" sldId="324"/>
            <ac:spMk id="12" creationId="{844D08C5-3EE5-4BAC-9392-6CA8001CAD4E}"/>
          </ac:spMkLst>
        </pc:spChg>
        <pc:spChg chg="del">
          <ac:chgData name="COSMOSFREN" userId="S::cosmosfren_yahoo.com#ext#@risebcg.onmicrosoft.com::5462f5f4-f618-47aa-abd8-fd504e002570" providerId="AD" clId="Web-{DCEE5406-83BB-48F0-AF89-99663C2BD9DB}" dt="2022-01-08T14:17:52.667" v="60"/>
          <ac:spMkLst>
            <pc:docMk/>
            <pc:sldMk cId="3666302761" sldId="324"/>
            <ac:spMk id="13" creationId="{003E35E4-DB87-4D35-8663-60FF12DD7B69}"/>
          </ac:spMkLst>
        </pc:spChg>
        <pc:spChg chg="del mod">
          <ac:chgData name="COSMOSFREN" userId="S::cosmosfren_yahoo.com#ext#@risebcg.onmicrosoft.com::5462f5f4-f618-47aa-abd8-fd504e002570" providerId="AD" clId="Web-{DCEE5406-83BB-48F0-AF89-99663C2BD9DB}" dt="2022-01-08T14:17:49.963" v="59"/>
          <ac:spMkLst>
            <pc:docMk/>
            <pc:sldMk cId="3666302761" sldId="324"/>
            <ac:spMk id="14" creationId="{CD92118D-BCDA-4C90-B9D2-09972FA65EE3}"/>
          </ac:spMkLst>
        </pc:spChg>
        <pc:spChg chg="del">
          <ac:chgData name="COSMOSFREN" userId="S::cosmosfren_yahoo.com#ext#@risebcg.onmicrosoft.com::5462f5f4-f618-47aa-abd8-fd504e002570" providerId="AD" clId="Web-{DCEE5406-83BB-48F0-AF89-99663C2BD9DB}" dt="2022-01-08T14:17:56.839" v="62"/>
          <ac:spMkLst>
            <pc:docMk/>
            <pc:sldMk cId="3666302761" sldId="324"/>
            <ac:spMk id="21" creationId="{46156451-ECB4-4520-895C-009D1F9E8343}"/>
          </ac:spMkLst>
        </pc:spChg>
        <pc:spChg chg="del">
          <ac:chgData name="COSMOSFREN" userId="S::cosmosfren_yahoo.com#ext#@risebcg.onmicrosoft.com::5462f5f4-f618-47aa-abd8-fd504e002570" providerId="AD" clId="Web-{DCEE5406-83BB-48F0-AF89-99663C2BD9DB}" dt="2022-01-08T14:14:26.241" v="3"/>
          <ac:spMkLst>
            <pc:docMk/>
            <pc:sldMk cId="3666302761" sldId="324"/>
            <ac:spMk id="22" creationId="{C16AF6E1-B243-4B07-9F33-544B588862C6}"/>
          </ac:spMkLst>
        </pc:spChg>
        <pc:spChg chg="del mod">
          <ac:chgData name="COSMOSFREN" userId="S::cosmosfren_yahoo.com#ext#@risebcg.onmicrosoft.com::5462f5f4-f618-47aa-abd8-fd504e002570" providerId="AD" clId="Web-{DCEE5406-83BB-48F0-AF89-99663C2BD9DB}" dt="2022-01-08T14:17:55.604" v="61"/>
          <ac:spMkLst>
            <pc:docMk/>
            <pc:sldMk cId="3666302761" sldId="324"/>
            <ac:spMk id="23" creationId="{437837FB-28C6-4D49-A0CB-199C96E6B187}"/>
          </ac:spMkLst>
        </pc:spChg>
        <pc:spChg chg="del">
          <ac:chgData name="COSMOSFREN" userId="S::cosmosfren_yahoo.com#ext#@risebcg.onmicrosoft.com::5462f5f4-f618-47aa-abd8-fd504e002570" providerId="AD" clId="Web-{DCEE5406-83BB-48F0-AF89-99663C2BD9DB}" dt="2022-01-08T14:14:24.366" v="2"/>
          <ac:spMkLst>
            <pc:docMk/>
            <pc:sldMk cId="3666302761" sldId="324"/>
            <ac:spMk id="24" creationId="{3A5B42D3-2732-4D38-8D3A-233FB4F41BD0}"/>
          </ac:spMkLst>
        </pc:spChg>
        <pc:spChg chg="del mod">
          <ac:chgData name="COSMOSFREN" userId="S::cosmosfren_yahoo.com#ext#@risebcg.onmicrosoft.com::5462f5f4-f618-47aa-abd8-fd504e002570" providerId="AD" clId="Web-{DCEE5406-83BB-48F0-AF89-99663C2BD9DB}" dt="2022-01-08T14:46:28.118" v="540"/>
          <ac:spMkLst>
            <pc:docMk/>
            <pc:sldMk cId="3666302761" sldId="324"/>
            <ac:spMk id="25" creationId="{A72C66DB-3DFA-4DD0-BB16-94A4A31F5E94}"/>
          </ac:spMkLst>
        </pc:spChg>
        <pc:spChg chg="del">
          <ac:chgData name="COSMOSFREN" userId="S::cosmosfren_yahoo.com#ext#@risebcg.onmicrosoft.com::5462f5f4-f618-47aa-abd8-fd504e002570" providerId="AD" clId="Web-{DCEE5406-83BB-48F0-AF89-99663C2BD9DB}" dt="2022-01-08T14:17:39.307" v="57"/>
          <ac:spMkLst>
            <pc:docMk/>
            <pc:sldMk cId="3666302761" sldId="324"/>
            <ac:spMk id="26" creationId="{22DD1760-D9EC-405F-9AAD-63EC690DC033}"/>
          </ac:spMkLst>
        </pc:spChg>
        <pc:spChg chg="del mod">
          <ac:chgData name="COSMOSFREN" userId="S::cosmosfren_yahoo.com#ext#@risebcg.onmicrosoft.com::5462f5f4-f618-47aa-abd8-fd504e002570" providerId="AD" clId="Web-{DCEE5406-83BB-48F0-AF89-99663C2BD9DB}" dt="2022-01-08T14:17:40.995" v="58"/>
          <ac:spMkLst>
            <pc:docMk/>
            <pc:sldMk cId="3666302761" sldId="324"/>
            <ac:spMk id="27" creationId="{B2BF4484-08EE-483A-BA89-BC8EDC410538}"/>
          </ac:spMkLst>
        </pc:spChg>
        <pc:spChg chg="add mod">
          <ac:chgData name="COSMOSFREN" userId="S::cosmosfren_yahoo.com#ext#@risebcg.onmicrosoft.com::5462f5f4-f618-47aa-abd8-fd504e002570" providerId="AD" clId="Web-{DCEE5406-83BB-48F0-AF89-99663C2BD9DB}" dt="2022-01-08T14:47:15.587" v="547" actId="14100"/>
          <ac:spMkLst>
            <pc:docMk/>
            <pc:sldMk cId="3666302761" sldId="324"/>
            <ac:spMk id="28" creationId="{5BEF8CBE-6A99-4BE1-8789-ABAC27A176FF}"/>
          </ac:spMkLst>
        </pc:spChg>
        <pc:picChg chg="add del mod">
          <ac:chgData name="COSMOSFREN" userId="S::cosmosfren_yahoo.com#ext#@risebcg.onmicrosoft.com::5462f5f4-f618-47aa-abd8-fd504e002570" providerId="AD" clId="Web-{DCEE5406-83BB-48F0-AF89-99663C2BD9DB}" dt="2022-01-08T14:23:28.172" v="147"/>
          <ac:picMkLst>
            <pc:docMk/>
            <pc:sldMk cId="3666302761" sldId="324"/>
            <ac:picMk id="2" creationId="{88762641-72FA-4693-B862-FC23B606047C}"/>
          </ac:picMkLst>
        </pc:picChg>
        <pc:picChg chg="add del mod">
          <ac:chgData name="COSMOSFREN" userId="S::cosmosfren_yahoo.com#ext#@risebcg.onmicrosoft.com::5462f5f4-f618-47aa-abd8-fd504e002570" providerId="AD" clId="Web-{DCEE5406-83BB-48F0-AF89-99663C2BD9DB}" dt="2022-01-08T14:24:42.939" v="196"/>
          <ac:picMkLst>
            <pc:docMk/>
            <pc:sldMk cId="3666302761" sldId="324"/>
            <ac:picMk id="3" creationId="{4E5F2E46-8730-40D6-B3BE-CE1B16367A34}"/>
          </ac:picMkLst>
        </pc:picChg>
        <pc:picChg chg="del">
          <ac:chgData name="COSMOSFREN" userId="S::cosmosfren_yahoo.com#ext#@risebcg.onmicrosoft.com::5462f5f4-f618-47aa-abd8-fd504e002570" providerId="AD" clId="Web-{DCEE5406-83BB-48F0-AF89-99663C2BD9DB}" dt="2022-01-08T14:17:35.135" v="56"/>
          <ac:picMkLst>
            <pc:docMk/>
            <pc:sldMk cId="3666302761" sldId="324"/>
            <ac:picMk id="11" creationId="{CD86A313-65D2-4D12-B76F-922156737525}"/>
          </ac:picMkLst>
        </pc:picChg>
        <pc:picChg chg="mod">
          <ac:chgData name="COSMOSFREN" userId="S::cosmosfren_yahoo.com#ext#@risebcg.onmicrosoft.com::5462f5f4-f618-47aa-abd8-fd504e002570" providerId="AD" clId="Web-{DCEE5406-83BB-48F0-AF89-99663C2BD9DB}" dt="2022-01-08T14:25:35.565" v="207" actId="14100"/>
          <ac:picMkLst>
            <pc:docMk/>
            <pc:sldMk cId="3666302761" sldId="324"/>
            <ac:picMk id="15" creationId="{5D59DB1C-172C-47ED-95FD-1E3F001466CE}"/>
          </ac:picMkLst>
        </pc:picChg>
        <pc:picChg chg="add del">
          <ac:chgData name="COSMOSFREN" userId="S::cosmosfren_yahoo.com#ext#@risebcg.onmicrosoft.com::5462f5f4-f618-47aa-abd8-fd504e002570" providerId="AD" clId="Web-{DCEE5406-83BB-48F0-AF89-99663C2BD9DB}" dt="2022-01-08T14:22:55.141" v="139"/>
          <ac:picMkLst>
            <pc:docMk/>
            <pc:sldMk cId="3666302761" sldId="324"/>
            <ac:picMk id="20" creationId="{AC1AE87E-05CA-4ABD-ADB8-D114BBAF3D4D}"/>
          </ac:picMkLst>
        </pc:picChg>
      </pc:sldChg>
      <pc:sldChg chg="delSp modSp ord">
        <pc:chgData name="COSMOSFREN" userId="S::cosmosfren_yahoo.com#ext#@risebcg.onmicrosoft.com::5462f5f4-f618-47aa-abd8-fd504e002570" providerId="AD" clId="Web-{DCEE5406-83BB-48F0-AF89-99663C2BD9DB}" dt="2022-01-08T14:58:13.583" v="564"/>
        <pc:sldMkLst>
          <pc:docMk/>
          <pc:sldMk cId="2316358039" sldId="325"/>
        </pc:sldMkLst>
        <pc:spChg chg="del mod">
          <ac:chgData name="COSMOSFREN" userId="S::cosmosfren_yahoo.com#ext#@risebcg.onmicrosoft.com::5462f5f4-f618-47aa-abd8-fd504e002570" providerId="AD" clId="Web-{DCEE5406-83BB-48F0-AF89-99663C2BD9DB}" dt="2022-01-08T14:13:47.662" v="1"/>
          <ac:spMkLst>
            <pc:docMk/>
            <pc:sldMk cId="2316358039" sldId="325"/>
            <ac:spMk id="3" creationId="{424AF61A-30BE-4BE9-9F56-D2497C21C355}"/>
          </ac:spMkLst>
        </pc:spChg>
        <pc:spChg chg="mod">
          <ac:chgData name="COSMOSFREN" userId="S::cosmosfren_yahoo.com#ext#@risebcg.onmicrosoft.com::5462f5f4-f618-47aa-abd8-fd504e002570" providerId="AD" clId="Web-{DCEE5406-83BB-48F0-AF89-99663C2BD9DB}" dt="2022-01-08T14:55:35.971" v="563" actId="14100"/>
          <ac:spMkLst>
            <pc:docMk/>
            <pc:sldMk cId="2316358039" sldId="325"/>
            <ac:spMk id="6" creationId="{208993E5-B009-40A8-BC89-286E139EA12D}"/>
          </ac:spMkLst>
        </pc:spChg>
        <pc:spChg chg="del mod">
          <ac:chgData name="COSMOSFREN" userId="S::cosmosfren_yahoo.com#ext#@risebcg.onmicrosoft.com::5462f5f4-f618-47aa-abd8-fd504e002570" providerId="AD" clId="Web-{DCEE5406-83BB-48F0-AF89-99663C2BD9DB}" dt="2022-01-08T14:52:17.155" v="557"/>
          <ac:spMkLst>
            <pc:docMk/>
            <pc:sldMk cId="2316358039" sldId="325"/>
            <ac:spMk id="11" creationId="{2EFF56F4-3D9E-4EE7-83BA-042A94F63CC3}"/>
          </ac:spMkLst>
        </pc:spChg>
        <pc:spChg chg="del mod">
          <ac:chgData name="COSMOSFREN" userId="S::cosmosfren_yahoo.com#ext#@risebcg.onmicrosoft.com::5462f5f4-f618-47aa-abd8-fd504e002570" providerId="AD" clId="Web-{DCEE5406-83BB-48F0-AF89-99663C2BD9DB}" dt="2022-01-08T14:52:13.639" v="556"/>
          <ac:spMkLst>
            <pc:docMk/>
            <pc:sldMk cId="2316358039" sldId="325"/>
            <ac:spMk id="21" creationId="{E9143E79-0358-464A-ACC6-31293226C369}"/>
          </ac:spMkLst>
        </pc:spChg>
        <pc:picChg chg="mod">
          <ac:chgData name="COSMOSFREN" userId="S::cosmosfren_yahoo.com#ext#@risebcg.onmicrosoft.com::5462f5f4-f618-47aa-abd8-fd504e002570" providerId="AD" clId="Web-{DCEE5406-83BB-48F0-AF89-99663C2BD9DB}" dt="2022-01-08T14:52:43.952" v="558" actId="14100"/>
          <ac:picMkLst>
            <pc:docMk/>
            <pc:sldMk cId="2316358039" sldId="325"/>
            <ac:picMk id="2" creationId="{69CF128B-0B09-4BF1-B2CA-1BA877B1F78B}"/>
          </ac:picMkLst>
        </pc:picChg>
      </pc:sldChg>
      <pc:sldChg chg="addSp delSp modSp ord modNotes">
        <pc:chgData name="COSMOSFREN" userId="S::cosmosfren_yahoo.com#ext#@risebcg.onmicrosoft.com::5462f5f4-f618-47aa-abd8-fd504e002570" providerId="AD" clId="Web-{DCEE5406-83BB-48F0-AF89-99663C2BD9DB}" dt="2022-01-08T16:29:50.092" v="2212" actId="1076"/>
        <pc:sldMkLst>
          <pc:docMk/>
          <pc:sldMk cId="2652119032" sldId="335"/>
        </pc:sldMkLst>
        <pc:spChg chg="del mod">
          <ac:chgData name="COSMOSFREN" userId="S::cosmosfren_yahoo.com#ext#@risebcg.onmicrosoft.com::5462f5f4-f618-47aa-abd8-fd504e002570" providerId="AD" clId="Web-{DCEE5406-83BB-48F0-AF89-99663C2BD9DB}" dt="2022-01-08T16:14:20.401" v="1163"/>
          <ac:spMkLst>
            <pc:docMk/>
            <pc:sldMk cId="2652119032" sldId="335"/>
            <ac:spMk id="3" creationId="{CB7BAFB0-445F-4F96-BCE3-50C0E2AB21AD}"/>
          </ac:spMkLst>
        </pc:spChg>
        <pc:spChg chg="mod">
          <ac:chgData name="COSMOSFREN" userId="S::cosmosfren_yahoo.com#ext#@risebcg.onmicrosoft.com::5462f5f4-f618-47aa-abd8-fd504e002570" providerId="AD" clId="Web-{DCEE5406-83BB-48F0-AF89-99663C2BD9DB}" dt="2022-01-08T16:25:38.928" v="1907" actId="20577"/>
          <ac:spMkLst>
            <pc:docMk/>
            <pc:sldMk cId="2652119032" sldId="335"/>
            <ac:spMk id="4" creationId="{7BCAFA08-4D06-4459-BDE0-CAB790C8CB40}"/>
          </ac:spMkLst>
        </pc:spChg>
        <pc:spChg chg="del mod">
          <ac:chgData name="COSMOSFREN" userId="S::cosmosfren_yahoo.com#ext#@risebcg.onmicrosoft.com::5462f5f4-f618-47aa-abd8-fd504e002570" providerId="AD" clId="Web-{DCEE5406-83BB-48F0-AF89-99663C2BD9DB}" dt="2022-01-08T16:20:51.032" v="1539"/>
          <ac:spMkLst>
            <pc:docMk/>
            <pc:sldMk cId="2652119032" sldId="335"/>
            <ac:spMk id="9" creationId="{7E2F8E19-F56B-4CB8-9CA2-A1277727EBFD}"/>
          </ac:spMkLst>
        </pc:spChg>
        <pc:spChg chg="add mod">
          <ac:chgData name="COSMOSFREN" userId="S::cosmosfren_yahoo.com#ext#@risebcg.onmicrosoft.com::5462f5f4-f618-47aa-abd8-fd504e002570" providerId="AD" clId="Web-{DCEE5406-83BB-48F0-AF89-99663C2BD9DB}" dt="2022-01-08T16:29:50.092" v="2212" actId="1076"/>
          <ac:spMkLst>
            <pc:docMk/>
            <pc:sldMk cId="2652119032" sldId="335"/>
            <ac:spMk id="10" creationId="{5B136050-0C52-4973-B00A-9438EBC773F2}"/>
          </ac:spMkLst>
        </pc:spChg>
      </pc:sldChg>
      <pc:sldChg chg="modSp">
        <pc:chgData name="COSMOSFREN" userId="S::cosmosfren_yahoo.com#ext#@risebcg.onmicrosoft.com::5462f5f4-f618-47aa-abd8-fd504e002570" providerId="AD" clId="Web-{DCEE5406-83BB-48F0-AF89-99663C2BD9DB}" dt="2022-01-08T16:12:22.274" v="1161" actId="20577"/>
        <pc:sldMkLst>
          <pc:docMk/>
          <pc:sldMk cId="2538826858" sldId="336"/>
        </pc:sldMkLst>
        <pc:spChg chg="mod">
          <ac:chgData name="COSMOSFREN" userId="S::cosmosfren_yahoo.com#ext#@risebcg.onmicrosoft.com::5462f5f4-f618-47aa-abd8-fd504e002570" providerId="AD" clId="Web-{DCEE5406-83BB-48F0-AF89-99663C2BD9DB}" dt="2022-01-08T16:12:22.274" v="1161" actId="20577"/>
          <ac:spMkLst>
            <pc:docMk/>
            <pc:sldMk cId="2538826858" sldId="336"/>
            <ac:spMk id="3" creationId="{164E3C0E-342F-4895-87DC-B14BCB7446FE}"/>
          </ac:spMkLst>
        </pc:spChg>
      </pc:sldChg>
      <pc:sldChg chg="addSp delSp modSp">
        <pc:chgData name="COSMOSFREN" userId="S::cosmosfren_yahoo.com#ext#@risebcg.onmicrosoft.com::5462f5f4-f618-47aa-abd8-fd504e002570" providerId="AD" clId="Web-{DCEE5406-83BB-48F0-AF89-99663C2BD9DB}" dt="2022-01-08T15:47:56.872" v="1082" actId="20577"/>
        <pc:sldMkLst>
          <pc:docMk/>
          <pc:sldMk cId="3391215681" sldId="339"/>
        </pc:sldMkLst>
        <pc:spChg chg="mod">
          <ac:chgData name="COSMOSFREN" userId="S::cosmosfren_yahoo.com#ext#@risebcg.onmicrosoft.com::5462f5f4-f618-47aa-abd8-fd504e002570" providerId="AD" clId="Web-{DCEE5406-83BB-48F0-AF89-99663C2BD9DB}" dt="2022-01-08T15:45:36.651" v="1008" actId="20577"/>
          <ac:spMkLst>
            <pc:docMk/>
            <pc:sldMk cId="3391215681" sldId="339"/>
            <ac:spMk id="49" creationId="{1A40ECD8-EC71-4C0D-A629-C5042C9FBE1B}"/>
          </ac:spMkLst>
        </pc:spChg>
        <pc:spChg chg="add mod">
          <ac:chgData name="COSMOSFREN" userId="S::cosmosfren_yahoo.com#ext#@risebcg.onmicrosoft.com::5462f5f4-f618-47aa-abd8-fd504e002570" providerId="AD" clId="Web-{DCEE5406-83BB-48F0-AF89-99663C2BD9DB}" dt="2022-01-08T15:44:55.666" v="985" actId="20577"/>
          <ac:spMkLst>
            <pc:docMk/>
            <pc:sldMk cId="3391215681" sldId="339"/>
            <ac:spMk id="124" creationId="{C91A31F3-23FB-421F-8BC0-FD3F5F868D91}"/>
          </ac:spMkLst>
        </pc:spChg>
        <pc:spChg chg="add del">
          <ac:chgData name="COSMOSFREN" userId="S::cosmosfren_yahoo.com#ext#@risebcg.onmicrosoft.com::5462f5f4-f618-47aa-abd8-fd504e002570" providerId="AD" clId="Web-{DCEE5406-83BB-48F0-AF89-99663C2BD9DB}" dt="2022-01-08T15:45:46.901" v="1010"/>
          <ac:spMkLst>
            <pc:docMk/>
            <pc:sldMk cId="3391215681" sldId="339"/>
            <ac:spMk id="125" creationId="{DE05C0AB-8DF0-47E3-A404-02FB6A737303}"/>
          </ac:spMkLst>
        </pc:spChg>
        <pc:spChg chg="add mod">
          <ac:chgData name="COSMOSFREN" userId="S::cosmosfren_yahoo.com#ext#@risebcg.onmicrosoft.com::5462f5f4-f618-47aa-abd8-fd504e002570" providerId="AD" clId="Web-{DCEE5406-83BB-48F0-AF89-99663C2BD9DB}" dt="2022-01-08T15:45:40.604" v="1009" actId="1076"/>
          <ac:spMkLst>
            <pc:docMk/>
            <pc:sldMk cId="3391215681" sldId="339"/>
            <ac:spMk id="126" creationId="{B0791398-D0B2-4A5B-9918-DABD658B5B39}"/>
          </ac:spMkLst>
        </pc:spChg>
        <pc:graphicFrameChg chg="modGraphic">
          <ac:chgData name="COSMOSFREN" userId="S::cosmosfren_yahoo.com#ext#@risebcg.onmicrosoft.com::5462f5f4-f618-47aa-abd8-fd504e002570" providerId="AD" clId="Web-{DCEE5406-83BB-48F0-AF89-99663C2BD9DB}" dt="2022-01-08T15:47:56.872" v="1082" actId="20577"/>
          <ac:graphicFrameMkLst>
            <pc:docMk/>
            <pc:sldMk cId="3391215681" sldId="339"/>
            <ac:graphicFrameMk id="28" creationId="{9D58B7B4-DE29-4DDF-BB8A-729D2B705659}"/>
          </ac:graphicFrameMkLst>
        </pc:graphicFrameChg>
      </pc:sldChg>
      <pc:sldChg chg="modSp ord">
        <pc:chgData name="COSMOSFREN" userId="S::cosmosfren_yahoo.com#ext#@risebcg.onmicrosoft.com::5462f5f4-f618-47aa-abd8-fd504e002570" providerId="AD" clId="Web-{DCEE5406-83BB-48F0-AF89-99663C2BD9DB}" dt="2022-01-08T16:09:03.911" v="1149"/>
        <pc:sldMkLst>
          <pc:docMk/>
          <pc:sldMk cId="3971465157" sldId="345"/>
        </pc:sldMkLst>
        <pc:spChg chg="mod">
          <ac:chgData name="COSMOSFREN" userId="S::cosmosfren_yahoo.com#ext#@risebcg.onmicrosoft.com::5462f5f4-f618-47aa-abd8-fd504e002570" providerId="AD" clId="Web-{DCEE5406-83BB-48F0-AF89-99663C2BD9DB}" dt="2022-01-08T15:01:04.695" v="581" actId="20577"/>
          <ac:spMkLst>
            <pc:docMk/>
            <pc:sldMk cId="3971465157" sldId="345"/>
            <ac:spMk id="2" creationId="{ED14AA63-35D8-4136-8B2F-DE1837A583A2}"/>
          </ac:spMkLst>
        </pc:spChg>
      </pc:sldChg>
      <pc:sldChg chg="ord">
        <pc:chgData name="COSMOSFREN" userId="S::cosmosfren_yahoo.com#ext#@risebcg.onmicrosoft.com::5462f5f4-f618-47aa-abd8-fd504e002570" providerId="AD" clId="Web-{DCEE5406-83BB-48F0-AF89-99663C2BD9DB}" dt="2022-01-08T16:08:22.691" v="1147"/>
        <pc:sldMkLst>
          <pc:docMk/>
          <pc:sldMk cId="2149037765" sldId="346"/>
        </pc:sldMkLst>
      </pc:sldChg>
      <pc:sldChg chg="new del">
        <pc:chgData name="COSMOSFREN" userId="S::cosmosfren_yahoo.com#ext#@risebcg.onmicrosoft.com::5462f5f4-f618-47aa-abd8-fd504e002570" providerId="AD" clId="Web-{DCEE5406-83BB-48F0-AF89-99663C2BD9DB}" dt="2022-01-08T14:17:15.604" v="55"/>
        <pc:sldMkLst>
          <pc:docMk/>
          <pc:sldMk cId="618635901" sldId="354"/>
        </pc:sldMkLst>
      </pc:sldChg>
      <pc:sldChg chg="addSp add ord replId">
        <pc:chgData name="COSMOSFREN" userId="S::cosmosfren_yahoo.com#ext#@risebcg.onmicrosoft.com::5462f5f4-f618-47aa-abd8-fd504e002570" providerId="AD" clId="Web-{DCEE5406-83BB-48F0-AF89-99663C2BD9DB}" dt="2022-01-08T14:43:38.224" v="485"/>
        <pc:sldMkLst>
          <pc:docMk/>
          <pc:sldMk cId="165658709" sldId="355"/>
        </pc:sldMkLst>
        <pc:picChg chg="add">
          <ac:chgData name="COSMOSFREN" userId="S::cosmosfren_yahoo.com#ext#@risebcg.onmicrosoft.com::5462f5f4-f618-47aa-abd8-fd504e002570" providerId="AD" clId="Web-{DCEE5406-83BB-48F0-AF89-99663C2BD9DB}" dt="2022-01-08T14:23:25.547" v="146"/>
          <ac:picMkLst>
            <pc:docMk/>
            <pc:sldMk cId="165658709" sldId="355"/>
            <ac:picMk id="2" creationId="{BD070F67-C046-4FA4-BC49-57AF06A15A77}"/>
          </ac:picMkLst>
        </pc:picChg>
      </pc:sldChg>
      <pc:sldChg chg="addSp modSp ord">
        <pc:chgData name="COSMOSFREN" userId="S::cosmosfren_yahoo.com#ext#@risebcg.onmicrosoft.com::5462f5f4-f618-47aa-abd8-fd504e002570" providerId="AD" clId="Web-{DCEE5406-83BB-48F0-AF89-99663C2BD9DB}" dt="2022-01-08T16:08:54.130" v="1148"/>
        <pc:sldMkLst>
          <pc:docMk/>
          <pc:sldMk cId="1227236751" sldId="356"/>
        </pc:sldMkLst>
        <pc:spChg chg="mod">
          <ac:chgData name="COSMOSFREN" userId="S::cosmosfren_yahoo.com#ext#@risebcg.onmicrosoft.com::5462f5f4-f618-47aa-abd8-fd504e002570" providerId="AD" clId="Web-{DCEE5406-83BB-48F0-AF89-99663C2BD9DB}" dt="2022-01-08T15:13:14.145" v="895" actId="1076"/>
          <ac:spMkLst>
            <pc:docMk/>
            <pc:sldMk cId="1227236751" sldId="356"/>
            <ac:spMk id="2" creationId="{ED14AA63-35D8-4136-8B2F-DE1837A583A2}"/>
          </ac:spMkLst>
        </pc:spChg>
        <pc:spChg chg="mod">
          <ac:chgData name="COSMOSFREN" userId="S::cosmosfren_yahoo.com#ext#@risebcg.onmicrosoft.com::5462f5f4-f618-47aa-abd8-fd504e002570" providerId="AD" clId="Web-{DCEE5406-83BB-48F0-AF89-99663C2BD9DB}" dt="2022-01-08T15:13:26.989" v="902" actId="1076"/>
          <ac:spMkLst>
            <pc:docMk/>
            <pc:sldMk cId="1227236751" sldId="356"/>
            <ac:spMk id="3" creationId="{2321500F-B116-49E9-B713-1C89E59A92D6}"/>
          </ac:spMkLst>
        </pc:spChg>
        <pc:spChg chg="mod">
          <ac:chgData name="COSMOSFREN" userId="S::cosmosfren_yahoo.com#ext#@risebcg.onmicrosoft.com::5462f5f4-f618-47aa-abd8-fd504e002570" providerId="AD" clId="Web-{DCEE5406-83BB-48F0-AF89-99663C2BD9DB}" dt="2022-01-08T15:12:40.816" v="881" actId="20577"/>
          <ac:spMkLst>
            <pc:docMk/>
            <pc:sldMk cId="1227236751" sldId="356"/>
            <ac:spMk id="4" creationId="{215644EC-E1A2-4B5F-BA53-79EB189605EC}"/>
          </ac:spMkLst>
        </pc:spChg>
        <pc:spChg chg="mod">
          <ac:chgData name="COSMOSFREN" userId="S::cosmosfren_yahoo.com#ext#@risebcg.onmicrosoft.com::5462f5f4-f618-47aa-abd8-fd504e002570" providerId="AD" clId="Web-{DCEE5406-83BB-48F0-AF89-99663C2BD9DB}" dt="2022-01-08T15:13:31.395" v="903" actId="1076"/>
          <ac:spMkLst>
            <pc:docMk/>
            <pc:sldMk cId="1227236751" sldId="356"/>
            <ac:spMk id="12" creationId="{95E46411-4A0C-41AA-9250-790D71323EA7}"/>
          </ac:spMkLst>
        </pc:spChg>
        <pc:picChg chg="mod">
          <ac:chgData name="COSMOSFREN" userId="S::cosmosfren_yahoo.com#ext#@risebcg.onmicrosoft.com::5462f5f4-f618-47aa-abd8-fd504e002570" providerId="AD" clId="Web-{DCEE5406-83BB-48F0-AF89-99663C2BD9DB}" dt="2022-01-08T15:22:47.764" v="907" actId="1076"/>
          <ac:picMkLst>
            <pc:docMk/>
            <pc:sldMk cId="1227236751" sldId="356"/>
            <ac:picMk id="8" creationId="{1C37FA25-553F-4164-8C97-7E76EEDF8003}"/>
          </ac:picMkLst>
        </pc:picChg>
        <pc:picChg chg="add mod">
          <ac:chgData name="COSMOSFREN" userId="S::cosmosfren_yahoo.com#ext#@risebcg.onmicrosoft.com::5462f5f4-f618-47aa-abd8-fd504e002570" providerId="AD" clId="Web-{DCEE5406-83BB-48F0-AF89-99663C2BD9DB}" dt="2022-01-08T15:01:20.289" v="583" actId="1076"/>
          <ac:picMkLst>
            <pc:docMk/>
            <pc:sldMk cId="1227236751" sldId="356"/>
            <ac:picMk id="11" creationId="{B9CA3DF6-D1DE-4B59-9A07-B34CE4EC9917}"/>
          </ac:picMkLst>
        </pc:picChg>
        <pc:picChg chg="add mod">
          <ac:chgData name="COSMOSFREN" userId="S::cosmosfren_yahoo.com#ext#@risebcg.onmicrosoft.com::5462f5f4-f618-47aa-abd8-fd504e002570" providerId="AD" clId="Web-{DCEE5406-83BB-48F0-AF89-99663C2BD9DB}" dt="2022-01-08T15:22:45.233" v="906" actId="1076"/>
          <ac:picMkLst>
            <pc:docMk/>
            <pc:sldMk cId="1227236751" sldId="356"/>
            <ac:picMk id="13" creationId="{6031EC29-FB42-4498-A4A9-E35C4E061CC4}"/>
          </ac:picMkLst>
        </pc:picChg>
      </pc:sldChg>
    </pc:docChg>
  </pc:docChgLst>
  <pc:docChgLst>
    <pc:chgData name="WONGYONGLIN91" userId="S::wongyonglin91_gmail.com#ext#@risebcg.onmicrosoft.com::b2d94f93-e580-4f0d-9dda-2138509d25ae" providerId="AD" clId="Web-{EC2A99E8-D57E-404D-978A-0C90CBE96F0A}"/>
    <pc:docChg chg="addSld delSld modSld">
      <pc:chgData name="WONGYONGLIN91" userId="S::wongyonglin91_gmail.com#ext#@risebcg.onmicrosoft.com::b2d94f93-e580-4f0d-9dda-2138509d25ae" providerId="AD" clId="Web-{EC2A99E8-D57E-404D-978A-0C90CBE96F0A}" dt="2022-01-08T18:36:54.308" v="52" actId="14100"/>
      <pc:docMkLst>
        <pc:docMk/>
      </pc:docMkLst>
      <pc:sldChg chg="del">
        <pc:chgData name="WONGYONGLIN91" userId="S::wongyonglin91_gmail.com#ext#@risebcg.onmicrosoft.com::b2d94f93-e580-4f0d-9dda-2138509d25ae" providerId="AD" clId="Web-{EC2A99E8-D57E-404D-978A-0C90CBE96F0A}" dt="2022-01-08T16:18:53.833" v="1"/>
        <pc:sldMkLst>
          <pc:docMk/>
          <pc:sldMk cId="1227236751" sldId="356"/>
        </pc:sldMkLst>
      </pc:sldChg>
      <pc:sldChg chg="addSp delSp modSp">
        <pc:chgData name="WONGYONGLIN91" userId="S::wongyonglin91_gmail.com#ext#@risebcg.onmicrosoft.com::b2d94f93-e580-4f0d-9dda-2138509d25ae" providerId="AD" clId="Web-{EC2A99E8-D57E-404D-978A-0C90CBE96F0A}" dt="2022-01-08T18:36:54.308" v="52" actId="14100"/>
        <pc:sldMkLst>
          <pc:docMk/>
          <pc:sldMk cId="1894441827" sldId="358"/>
        </pc:sldMkLst>
        <pc:spChg chg="mod">
          <ac:chgData name="WONGYONGLIN91" userId="S::wongyonglin91_gmail.com#ext#@risebcg.onmicrosoft.com::b2d94f93-e580-4f0d-9dda-2138509d25ae" providerId="AD" clId="Web-{EC2A99E8-D57E-404D-978A-0C90CBE96F0A}" dt="2022-01-08T18:31:59.862" v="34" actId="1076"/>
          <ac:spMkLst>
            <pc:docMk/>
            <pc:sldMk cId="1894441827" sldId="358"/>
            <ac:spMk id="10" creationId="{42FB9C20-3D6F-40FF-ABFC-89E5858742B1}"/>
          </ac:spMkLst>
        </pc:spChg>
        <pc:spChg chg="mod">
          <ac:chgData name="WONGYONGLIN91" userId="S::wongyonglin91_gmail.com#ext#@risebcg.onmicrosoft.com::b2d94f93-e580-4f0d-9dda-2138509d25ae" providerId="AD" clId="Web-{EC2A99E8-D57E-404D-978A-0C90CBE96F0A}" dt="2022-01-08T18:24:39.059" v="31" actId="1076"/>
          <ac:spMkLst>
            <pc:docMk/>
            <pc:sldMk cId="1894441827" sldId="358"/>
            <ac:spMk id="12" creationId="{95E46411-4A0C-41AA-9250-790D71323EA7}"/>
          </ac:spMkLst>
        </pc:spChg>
        <pc:spChg chg="mod">
          <ac:chgData name="WONGYONGLIN91" userId="S::wongyonglin91_gmail.com#ext#@risebcg.onmicrosoft.com::b2d94f93-e580-4f0d-9dda-2138509d25ae" providerId="AD" clId="Web-{EC2A99E8-D57E-404D-978A-0C90CBE96F0A}" dt="2022-01-08T18:32:05.659" v="35" actId="1076"/>
          <ac:spMkLst>
            <pc:docMk/>
            <pc:sldMk cId="1894441827" sldId="358"/>
            <ac:spMk id="17" creationId="{815F3179-193A-4F5E-A1A9-12297C608458}"/>
          </ac:spMkLst>
        </pc:spChg>
        <pc:picChg chg="add del mod">
          <ac:chgData name="WONGYONGLIN91" userId="S::wongyonglin91_gmail.com#ext#@risebcg.onmicrosoft.com::b2d94f93-e580-4f0d-9dda-2138509d25ae" providerId="AD" clId="Web-{EC2A99E8-D57E-404D-978A-0C90CBE96F0A}" dt="2022-01-08T18:20:06.770" v="14"/>
          <ac:picMkLst>
            <pc:docMk/>
            <pc:sldMk cId="1894441827" sldId="358"/>
            <ac:picMk id="4" creationId="{0A2CEA9C-3B44-4930-8C81-9261CEA29D54}"/>
          </ac:picMkLst>
        </pc:picChg>
        <pc:picChg chg="add del mod">
          <ac:chgData name="WONGYONGLIN91" userId="S::wongyonglin91_gmail.com#ext#@risebcg.onmicrosoft.com::b2d94f93-e580-4f0d-9dda-2138509d25ae" providerId="AD" clId="Web-{EC2A99E8-D57E-404D-978A-0C90CBE96F0A}" dt="2022-01-08T18:35:48.244" v="45"/>
          <ac:picMkLst>
            <pc:docMk/>
            <pc:sldMk cId="1894441827" sldId="358"/>
            <ac:picMk id="6" creationId="{C94AA325-23D9-4628-A982-751B8727F001}"/>
          </ac:picMkLst>
        </pc:picChg>
        <pc:picChg chg="add del mod">
          <ac:chgData name="WONGYONGLIN91" userId="S::wongyonglin91_gmail.com#ext#@risebcg.onmicrosoft.com::b2d94f93-e580-4f0d-9dda-2138509d25ae" providerId="AD" clId="Web-{EC2A99E8-D57E-404D-978A-0C90CBE96F0A}" dt="2022-01-08T18:35:51.009" v="46"/>
          <ac:picMkLst>
            <pc:docMk/>
            <pc:sldMk cId="1894441827" sldId="358"/>
            <ac:picMk id="7" creationId="{0C442316-BA83-4A6C-8E4B-61FE22300DF2}"/>
          </ac:picMkLst>
        </pc:picChg>
        <pc:picChg chg="del">
          <ac:chgData name="WONGYONGLIN91" userId="S::wongyonglin91_gmail.com#ext#@risebcg.onmicrosoft.com::b2d94f93-e580-4f0d-9dda-2138509d25ae" providerId="AD" clId="Web-{EC2A99E8-D57E-404D-978A-0C90CBE96F0A}" dt="2022-01-08T18:03:31.236" v="13"/>
          <ac:picMkLst>
            <pc:docMk/>
            <pc:sldMk cId="1894441827" sldId="358"/>
            <ac:picMk id="7" creationId="{F2806C6D-F724-4DED-AEF0-61ECCAB05DB6}"/>
          </ac:picMkLst>
        </pc:picChg>
        <pc:picChg chg="del">
          <ac:chgData name="WONGYONGLIN91" userId="S::wongyonglin91_gmail.com#ext#@risebcg.onmicrosoft.com::b2d94f93-e580-4f0d-9dda-2138509d25ae" providerId="AD" clId="Web-{EC2A99E8-D57E-404D-978A-0C90CBE96F0A}" dt="2022-01-08T16:19:07.489" v="3"/>
          <ac:picMkLst>
            <pc:docMk/>
            <pc:sldMk cId="1894441827" sldId="358"/>
            <ac:picMk id="8" creationId="{1C37FA25-553F-4164-8C97-7E76EEDF8003}"/>
          </ac:picMkLst>
        </pc:picChg>
        <pc:picChg chg="add mod">
          <ac:chgData name="WONGYONGLIN91" userId="S::wongyonglin91_gmail.com#ext#@risebcg.onmicrosoft.com::b2d94f93-e580-4f0d-9dda-2138509d25ae" providerId="AD" clId="Web-{EC2A99E8-D57E-404D-978A-0C90CBE96F0A}" dt="2022-01-08T18:33:12.599" v="39" actId="1076"/>
          <ac:picMkLst>
            <pc:docMk/>
            <pc:sldMk cId="1894441827" sldId="358"/>
            <ac:picMk id="8" creationId="{80090A9D-A882-4EB8-927C-696FEDD289AC}"/>
          </ac:picMkLst>
        </pc:picChg>
        <pc:picChg chg="add mod">
          <ac:chgData name="WONGYONGLIN91" userId="S::wongyonglin91_gmail.com#ext#@risebcg.onmicrosoft.com::b2d94f93-e580-4f0d-9dda-2138509d25ae" providerId="AD" clId="Web-{EC2A99E8-D57E-404D-978A-0C90CBE96F0A}" dt="2022-01-08T18:34:40.742" v="44" actId="14100"/>
          <ac:picMkLst>
            <pc:docMk/>
            <pc:sldMk cId="1894441827" sldId="358"/>
            <ac:picMk id="9" creationId="{AE0C5261-EE51-4A4C-8F2E-CF83910177AF}"/>
          </ac:picMkLst>
        </pc:picChg>
        <pc:picChg chg="del">
          <ac:chgData name="WONGYONGLIN91" userId="S::wongyonglin91_gmail.com#ext#@risebcg.onmicrosoft.com::b2d94f93-e580-4f0d-9dda-2138509d25ae" providerId="AD" clId="Web-{EC2A99E8-D57E-404D-978A-0C90CBE96F0A}" dt="2022-01-08T16:20:09.178" v="6"/>
          <ac:picMkLst>
            <pc:docMk/>
            <pc:sldMk cId="1894441827" sldId="358"/>
            <ac:picMk id="11" creationId="{B9CA3DF6-D1DE-4B59-9A07-B34CE4EC9917}"/>
          </ac:picMkLst>
        </pc:picChg>
        <pc:picChg chg="add mod">
          <ac:chgData name="WONGYONGLIN91" userId="S::wongyonglin91_gmail.com#ext#@risebcg.onmicrosoft.com::b2d94f93-e580-4f0d-9dda-2138509d25ae" providerId="AD" clId="Web-{EC2A99E8-D57E-404D-978A-0C90CBE96F0A}" dt="2022-01-08T18:36:15.260" v="49" actId="14100"/>
          <ac:picMkLst>
            <pc:docMk/>
            <pc:sldMk cId="1894441827" sldId="358"/>
            <ac:picMk id="11" creationId="{BCAB455B-1F72-43F9-AE57-6EC5913938BF}"/>
          </ac:picMkLst>
        </pc:picChg>
        <pc:picChg chg="add mod">
          <ac:chgData name="WONGYONGLIN91" userId="S::wongyonglin91_gmail.com#ext#@risebcg.onmicrosoft.com::b2d94f93-e580-4f0d-9dda-2138509d25ae" providerId="AD" clId="Web-{EC2A99E8-D57E-404D-978A-0C90CBE96F0A}" dt="2022-01-08T18:36:54.308" v="52" actId="14100"/>
          <ac:picMkLst>
            <pc:docMk/>
            <pc:sldMk cId="1894441827" sldId="358"/>
            <ac:picMk id="13" creationId="{527B4510-4D9B-455A-B6C2-3238A0275F12}"/>
          </ac:picMkLst>
        </pc:picChg>
        <pc:picChg chg="del">
          <ac:chgData name="WONGYONGLIN91" userId="S::wongyonglin91_gmail.com#ext#@risebcg.onmicrosoft.com::b2d94f93-e580-4f0d-9dda-2138509d25ae" providerId="AD" clId="Web-{EC2A99E8-D57E-404D-978A-0C90CBE96F0A}" dt="2022-01-08T16:19:06.771" v="2"/>
          <ac:picMkLst>
            <pc:docMk/>
            <pc:sldMk cId="1894441827" sldId="358"/>
            <ac:picMk id="13" creationId="{6031EC29-FB42-4498-A4A9-E35C4E061CC4}"/>
          </ac:picMkLst>
        </pc:picChg>
        <pc:cxnChg chg="mod">
          <ac:chgData name="WONGYONGLIN91" userId="S::wongyonglin91_gmail.com#ext#@risebcg.onmicrosoft.com::b2d94f93-e580-4f0d-9dda-2138509d25ae" providerId="AD" clId="Web-{EC2A99E8-D57E-404D-978A-0C90CBE96F0A}" dt="2022-01-08T18:31:37.909" v="33" actId="14100"/>
          <ac:cxnSpMkLst>
            <pc:docMk/>
            <pc:sldMk cId="1894441827" sldId="358"/>
            <ac:cxnSpMk id="5" creationId="{7650244C-E06B-41BA-A77C-2D20639EA927}"/>
          </ac:cxnSpMkLst>
        </pc:cxnChg>
      </pc:sldChg>
      <pc:sldChg chg="add replId">
        <pc:chgData name="WONGYONGLIN91" userId="S::wongyonglin91_gmail.com#ext#@risebcg.onmicrosoft.com::b2d94f93-e580-4f0d-9dda-2138509d25ae" providerId="AD" clId="Web-{EC2A99E8-D57E-404D-978A-0C90CBE96F0A}" dt="2022-01-08T16:17:37.284" v="0"/>
        <pc:sldMkLst>
          <pc:docMk/>
          <pc:sldMk cId="373009354" sldId="359"/>
        </pc:sldMkLst>
      </pc:sldChg>
    </pc:docChg>
  </pc:docChgLst>
  <pc:docChgLst>
    <pc:chgData name="wei yuan" userId="S::pwy_92_hotmail.com#ext#@risebcg.onmicrosoft.com::ca38e7f8-9ace-4d94-b37a-86e65e91f2b0" providerId="AD" clId="Web-{2EA7E1D5-AE21-44E4-92AE-69268DACCF94}"/>
    <pc:docChg chg="modSld">
      <pc:chgData name="wei yuan" userId="S::pwy_92_hotmail.com#ext#@risebcg.onmicrosoft.com::ca38e7f8-9ace-4d94-b37a-86e65e91f2b0" providerId="AD" clId="Web-{2EA7E1D5-AE21-44E4-92AE-69268DACCF94}" dt="2022-01-10T15:02:02.024" v="88"/>
      <pc:docMkLst>
        <pc:docMk/>
      </pc:docMkLst>
      <pc:sldChg chg="addSp delSp modSp modTransition addAnim delAnim modNotes">
        <pc:chgData name="wei yuan" userId="S::pwy_92_hotmail.com#ext#@risebcg.onmicrosoft.com::ca38e7f8-9ace-4d94-b37a-86e65e91f2b0" providerId="AD" clId="Web-{2EA7E1D5-AE21-44E4-92AE-69268DACCF94}" dt="2022-01-10T15:02:02.024" v="88"/>
        <pc:sldMkLst>
          <pc:docMk/>
          <pc:sldMk cId="1894441827" sldId="358"/>
        </pc:sldMkLst>
        <pc:spChg chg="add del mod">
          <ac:chgData name="wei yuan" userId="S::pwy_92_hotmail.com#ext#@risebcg.onmicrosoft.com::ca38e7f8-9ace-4d94-b37a-86e65e91f2b0" providerId="AD" clId="Web-{2EA7E1D5-AE21-44E4-92AE-69268DACCF94}" dt="2022-01-10T15:01:55.992" v="87" actId="1076"/>
          <ac:spMkLst>
            <pc:docMk/>
            <pc:sldMk cId="1894441827" sldId="358"/>
            <ac:spMk id="4" creationId="{BDB31FE2-9758-4877-B34F-461A9AC9F934}"/>
          </ac:spMkLst>
        </pc:spChg>
        <pc:spChg chg="add del mod">
          <ac:chgData name="wei yuan" userId="S::pwy_92_hotmail.com#ext#@risebcg.onmicrosoft.com::ca38e7f8-9ace-4d94-b37a-86e65e91f2b0" providerId="AD" clId="Web-{2EA7E1D5-AE21-44E4-92AE-69268DACCF94}" dt="2022-01-10T15:01:47.664" v="85"/>
          <ac:spMkLst>
            <pc:docMk/>
            <pc:sldMk cId="1894441827" sldId="358"/>
            <ac:spMk id="5" creationId="{95E18D23-4CC9-436B-AF75-363065E87885}"/>
          </ac:spMkLst>
        </pc:spChg>
      </pc:sldChg>
    </pc:docChg>
  </pc:docChgLst>
  <pc:docChgLst>
    <pc:chgData name="wei yuan" userId="S::pwy_92_hotmail.com#ext#@risebcg.onmicrosoft.com::ca38e7f8-9ace-4d94-b37a-86e65e91f2b0" providerId="AD" clId="Web-{3DD3E0D8-2C05-47AB-82DF-4BAE0BF55AF8}"/>
    <pc:docChg chg="modSld">
      <pc:chgData name="wei yuan" userId="S::pwy_92_hotmail.com#ext#@risebcg.onmicrosoft.com::ca38e7f8-9ace-4d94-b37a-86e65e91f2b0" providerId="AD" clId="Web-{3DD3E0D8-2C05-47AB-82DF-4BAE0BF55AF8}" dt="2022-01-10T09:04:14.239" v="40" actId="1076"/>
      <pc:docMkLst>
        <pc:docMk/>
      </pc:docMkLst>
      <pc:sldChg chg="modNotes">
        <pc:chgData name="wei yuan" userId="S::pwy_92_hotmail.com#ext#@risebcg.onmicrosoft.com::ca38e7f8-9ace-4d94-b37a-86e65e91f2b0" providerId="AD" clId="Web-{3DD3E0D8-2C05-47AB-82DF-4BAE0BF55AF8}" dt="2022-01-10T08:17:55.083" v="5"/>
        <pc:sldMkLst>
          <pc:docMk/>
          <pc:sldMk cId="2316358039" sldId="325"/>
        </pc:sldMkLst>
      </pc:sldChg>
      <pc:sldChg chg="modNotes">
        <pc:chgData name="wei yuan" userId="S::pwy_92_hotmail.com#ext#@risebcg.onmicrosoft.com::ca38e7f8-9ace-4d94-b37a-86e65e91f2b0" providerId="AD" clId="Web-{3DD3E0D8-2C05-47AB-82DF-4BAE0BF55AF8}" dt="2022-01-10T08:18:26.787" v="17"/>
        <pc:sldMkLst>
          <pc:docMk/>
          <pc:sldMk cId="2160415509" sldId="326"/>
        </pc:sldMkLst>
      </pc:sldChg>
      <pc:sldChg chg="modSp">
        <pc:chgData name="wei yuan" userId="S::pwy_92_hotmail.com#ext#@risebcg.onmicrosoft.com::ca38e7f8-9ace-4d94-b37a-86e65e91f2b0" providerId="AD" clId="Web-{3DD3E0D8-2C05-47AB-82DF-4BAE0BF55AF8}" dt="2022-01-10T09:04:14.239" v="40" actId="1076"/>
        <pc:sldMkLst>
          <pc:docMk/>
          <pc:sldMk cId="165658709" sldId="355"/>
        </pc:sldMkLst>
        <pc:spChg chg="mod">
          <ac:chgData name="wei yuan" userId="S::pwy_92_hotmail.com#ext#@risebcg.onmicrosoft.com::ca38e7f8-9ace-4d94-b37a-86e65e91f2b0" providerId="AD" clId="Web-{3DD3E0D8-2C05-47AB-82DF-4BAE0BF55AF8}" dt="2022-01-10T09:04:12.911" v="39" actId="1076"/>
          <ac:spMkLst>
            <pc:docMk/>
            <pc:sldMk cId="165658709" sldId="355"/>
            <ac:spMk id="25" creationId="{A72C66DB-3DFA-4DD0-BB16-94A4A31F5E94}"/>
          </ac:spMkLst>
        </pc:spChg>
        <pc:picChg chg="mod">
          <ac:chgData name="wei yuan" userId="S::pwy_92_hotmail.com#ext#@risebcg.onmicrosoft.com::ca38e7f8-9ace-4d94-b37a-86e65e91f2b0" providerId="AD" clId="Web-{3DD3E0D8-2C05-47AB-82DF-4BAE0BF55AF8}" dt="2022-01-10T09:04:14.239" v="40" actId="1076"/>
          <ac:picMkLst>
            <pc:docMk/>
            <pc:sldMk cId="165658709" sldId="355"/>
            <ac:picMk id="2" creationId="{BD070F67-C046-4FA4-BC49-57AF06A15A77}"/>
          </ac:picMkLst>
        </pc:picChg>
        <pc:picChg chg="mod">
          <ac:chgData name="wei yuan" userId="S::pwy_92_hotmail.com#ext#@risebcg.onmicrosoft.com::ca38e7f8-9ace-4d94-b37a-86e65e91f2b0" providerId="AD" clId="Web-{3DD3E0D8-2C05-47AB-82DF-4BAE0BF55AF8}" dt="2022-01-10T09:04:10.864" v="38" actId="1076"/>
          <ac:picMkLst>
            <pc:docMk/>
            <pc:sldMk cId="165658709" sldId="355"/>
            <ac:picMk id="15" creationId="{5D59DB1C-172C-47ED-95FD-1E3F001466CE}"/>
          </ac:picMkLst>
        </pc:picChg>
      </pc:sldChg>
      <pc:sldChg chg="modNotes">
        <pc:chgData name="wei yuan" userId="S::pwy_92_hotmail.com#ext#@risebcg.onmicrosoft.com::ca38e7f8-9ace-4d94-b37a-86e65e91f2b0" providerId="AD" clId="Web-{3DD3E0D8-2C05-47AB-82DF-4BAE0BF55AF8}" dt="2022-01-10T08:17:38.223" v="1"/>
        <pc:sldMkLst>
          <pc:docMk/>
          <pc:sldMk cId="1894441827" sldId="358"/>
        </pc:sldMkLst>
      </pc:sldChg>
      <pc:sldChg chg="addSp modSp">
        <pc:chgData name="wei yuan" userId="S::pwy_92_hotmail.com#ext#@risebcg.onmicrosoft.com::ca38e7f8-9ace-4d94-b37a-86e65e91f2b0" providerId="AD" clId="Web-{3DD3E0D8-2C05-47AB-82DF-4BAE0BF55AF8}" dt="2022-01-10T08:43:51.616" v="25" actId="1076"/>
        <pc:sldMkLst>
          <pc:docMk/>
          <pc:sldMk cId="1067422059" sldId="372"/>
        </pc:sldMkLst>
        <pc:spChg chg="add mod">
          <ac:chgData name="wei yuan" userId="S::pwy_92_hotmail.com#ext#@risebcg.onmicrosoft.com::ca38e7f8-9ace-4d94-b37a-86e65e91f2b0" providerId="AD" clId="Web-{3DD3E0D8-2C05-47AB-82DF-4BAE0BF55AF8}" dt="2022-01-10T08:43:51.616" v="24" actId="1076"/>
          <ac:spMkLst>
            <pc:docMk/>
            <pc:sldMk cId="1067422059" sldId="372"/>
            <ac:spMk id="5" creationId="{1F833F2B-3FA0-4C2A-B76F-4329E3133C13}"/>
          </ac:spMkLst>
        </pc:spChg>
        <pc:picChg chg="add mod">
          <ac:chgData name="wei yuan" userId="S::pwy_92_hotmail.com#ext#@risebcg.onmicrosoft.com::ca38e7f8-9ace-4d94-b37a-86e65e91f2b0" providerId="AD" clId="Web-{3DD3E0D8-2C05-47AB-82DF-4BAE0BF55AF8}" dt="2022-01-10T08:43:51.616" v="25" actId="1076"/>
          <ac:picMkLst>
            <pc:docMk/>
            <pc:sldMk cId="1067422059" sldId="372"/>
            <ac:picMk id="7" creationId="{8286D36F-03F0-411F-8CCC-9C83C38408F7}"/>
          </ac:picMkLst>
        </pc:picChg>
      </pc:sldChg>
    </pc:docChg>
  </pc:docChgLst>
  <pc:docChgLst>
    <pc:chgData name="WESLEY.TBW" userId="S::wesley.tbw_gmail.com#ext#@risebcg.onmicrosoft.com::1034df62-ee6d-4b2f-8a56-03c4406a0a8a" providerId="AD" clId="Web-{3B0288CD-6438-43D8-A754-2C00C1097321}"/>
    <pc:docChg chg="modSld">
      <pc:chgData name="WESLEY.TBW" userId="S::wesley.tbw_gmail.com#ext#@risebcg.onmicrosoft.com::1034df62-ee6d-4b2f-8a56-03c4406a0a8a" providerId="AD" clId="Web-{3B0288CD-6438-43D8-A754-2C00C1097321}" dt="2022-01-08T09:20:41.361" v="92" actId="1076"/>
      <pc:docMkLst>
        <pc:docMk/>
      </pc:docMkLst>
      <pc:sldChg chg="addSp delSp modSp">
        <pc:chgData name="WESLEY.TBW" userId="S::wesley.tbw_gmail.com#ext#@risebcg.onmicrosoft.com::1034df62-ee6d-4b2f-8a56-03c4406a0a8a" providerId="AD" clId="Web-{3B0288CD-6438-43D8-A754-2C00C1097321}" dt="2022-01-08T09:20:41.361" v="92" actId="1076"/>
        <pc:sldMkLst>
          <pc:docMk/>
          <pc:sldMk cId="4084366951" sldId="318"/>
        </pc:sldMkLst>
        <pc:spChg chg="mod">
          <ac:chgData name="WESLEY.TBW" userId="S::wesley.tbw_gmail.com#ext#@risebcg.onmicrosoft.com::1034df62-ee6d-4b2f-8a56-03c4406a0a8a" providerId="AD" clId="Web-{3B0288CD-6438-43D8-A754-2C00C1097321}" dt="2022-01-08T09:00:12.256" v="20" actId="14100"/>
          <ac:spMkLst>
            <pc:docMk/>
            <pc:sldMk cId="4084366951" sldId="318"/>
            <ac:spMk id="2" creationId="{1CAEE4F4-60D4-46CA-A79F-1CD22235EEA0}"/>
          </ac:spMkLst>
        </pc:spChg>
        <pc:spChg chg="del">
          <ac:chgData name="WESLEY.TBW" userId="S::wesley.tbw_gmail.com#ext#@risebcg.onmicrosoft.com::1034df62-ee6d-4b2f-8a56-03c4406a0a8a" providerId="AD" clId="Web-{3B0288CD-6438-43D8-A754-2C00C1097321}" dt="2022-01-08T09:00:20.365" v="23"/>
          <ac:spMkLst>
            <pc:docMk/>
            <pc:sldMk cId="4084366951" sldId="318"/>
            <ac:spMk id="5" creationId="{78DD61BE-D1D7-401B-B576-C4CC8A01AA78}"/>
          </ac:spMkLst>
        </pc:spChg>
        <pc:spChg chg="add mod">
          <ac:chgData name="WESLEY.TBW" userId="S::wesley.tbw_gmail.com#ext#@risebcg.onmicrosoft.com::1034df62-ee6d-4b2f-8a56-03c4406a0a8a" providerId="AD" clId="Web-{3B0288CD-6438-43D8-A754-2C00C1097321}" dt="2022-01-08T09:00:33.272" v="33" actId="1076"/>
          <ac:spMkLst>
            <pc:docMk/>
            <pc:sldMk cId="4084366951" sldId="318"/>
            <ac:spMk id="7" creationId="{B3BF61C1-43C3-4800-B5DD-5D8A55C1B3E9}"/>
          </ac:spMkLst>
        </pc:spChg>
        <pc:spChg chg="add mod">
          <ac:chgData name="WESLEY.TBW" userId="S::wesley.tbw_gmail.com#ext#@risebcg.onmicrosoft.com::1034df62-ee6d-4b2f-8a56-03c4406a0a8a" providerId="AD" clId="Web-{3B0288CD-6438-43D8-A754-2C00C1097321}" dt="2022-01-08T09:00:47.132" v="40" actId="1076"/>
          <ac:spMkLst>
            <pc:docMk/>
            <pc:sldMk cId="4084366951" sldId="318"/>
            <ac:spMk id="8" creationId="{B4102324-67C0-4946-A006-7D0AB358D531}"/>
          </ac:spMkLst>
        </pc:spChg>
        <pc:spChg chg="add mod">
          <ac:chgData name="WESLEY.TBW" userId="S::wesley.tbw_gmail.com#ext#@risebcg.onmicrosoft.com::1034df62-ee6d-4b2f-8a56-03c4406a0a8a" providerId="AD" clId="Web-{3B0288CD-6438-43D8-A754-2C00C1097321}" dt="2022-01-08T09:20:38.564" v="90" actId="1076"/>
          <ac:spMkLst>
            <pc:docMk/>
            <pc:sldMk cId="4084366951" sldId="318"/>
            <ac:spMk id="19" creationId="{40F287F0-B118-4CB9-ACBF-1E5B0A5817A5}"/>
          </ac:spMkLst>
        </pc:spChg>
        <pc:spChg chg="add mod">
          <ac:chgData name="WESLEY.TBW" userId="S::wesley.tbw_gmail.com#ext#@risebcg.onmicrosoft.com::1034df62-ee6d-4b2f-8a56-03c4406a0a8a" providerId="AD" clId="Web-{3B0288CD-6438-43D8-A754-2C00C1097321}" dt="2022-01-08T09:20:41.361" v="92" actId="1076"/>
          <ac:spMkLst>
            <pc:docMk/>
            <pc:sldMk cId="4084366951" sldId="318"/>
            <ac:spMk id="20" creationId="{FD3BCB8E-6B17-4F0A-A7A8-AA17BE71B8A2}"/>
          </ac:spMkLst>
        </pc:spChg>
        <pc:picChg chg="add mod">
          <ac:chgData name="WESLEY.TBW" userId="S::wesley.tbw_gmail.com#ext#@risebcg.onmicrosoft.com::1034df62-ee6d-4b2f-8a56-03c4406a0a8a" providerId="AD" clId="Web-{3B0288CD-6438-43D8-A754-2C00C1097321}" dt="2022-01-08T09:00:49.600" v="41" actId="1076"/>
          <ac:picMkLst>
            <pc:docMk/>
            <pc:sldMk cId="4084366951" sldId="318"/>
            <ac:picMk id="3" creationId="{4EA9D4D3-D6BE-4DD3-A185-A6287A9302E7}"/>
          </ac:picMkLst>
        </pc:picChg>
        <pc:picChg chg="del mod">
          <ac:chgData name="WESLEY.TBW" userId="S::wesley.tbw_gmail.com#ext#@risebcg.onmicrosoft.com::1034df62-ee6d-4b2f-8a56-03c4406a0a8a" providerId="AD" clId="Web-{3B0288CD-6438-43D8-A754-2C00C1097321}" dt="2022-01-08T08:58:58.285" v="1"/>
          <ac:picMkLst>
            <pc:docMk/>
            <pc:sldMk cId="4084366951" sldId="318"/>
            <ac:picMk id="4" creationId="{E637BE80-4027-4B69-9D4B-56D59ADC9A3A}"/>
          </ac:picMkLst>
        </pc:picChg>
        <pc:picChg chg="add mod modCrop">
          <ac:chgData name="WESLEY.TBW" userId="S::wesley.tbw_gmail.com#ext#@risebcg.onmicrosoft.com::1034df62-ee6d-4b2f-8a56-03c4406a0a8a" providerId="AD" clId="Web-{3B0288CD-6438-43D8-A754-2C00C1097321}" dt="2022-01-08T09:19:17.156" v="77" actId="14100"/>
          <ac:picMkLst>
            <pc:docMk/>
            <pc:sldMk cId="4084366951" sldId="318"/>
            <ac:picMk id="9" creationId="{329F3741-BB5B-4CA9-80DC-60382768BE40}"/>
          </ac:picMkLst>
        </pc:picChg>
        <pc:picChg chg="add mod">
          <ac:chgData name="WESLEY.TBW" userId="S::wesley.tbw_gmail.com#ext#@risebcg.onmicrosoft.com::1034df62-ee6d-4b2f-8a56-03c4406a0a8a" providerId="AD" clId="Web-{3B0288CD-6438-43D8-A754-2C00C1097321}" dt="2022-01-08T09:02:06.868" v="50" actId="1076"/>
          <ac:picMkLst>
            <pc:docMk/>
            <pc:sldMk cId="4084366951" sldId="318"/>
            <ac:picMk id="11" creationId="{079CE0C2-D9FF-4DFE-967B-E9EFC7681473}"/>
          </ac:picMkLst>
        </pc:picChg>
        <pc:picChg chg="add mod modCrop">
          <ac:chgData name="WESLEY.TBW" userId="S::wesley.tbw_gmail.com#ext#@risebcg.onmicrosoft.com::1034df62-ee6d-4b2f-8a56-03c4406a0a8a" providerId="AD" clId="Web-{3B0288CD-6438-43D8-A754-2C00C1097321}" dt="2022-01-08T09:15:37.229" v="70" actId="1076"/>
          <ac:picMkLst>
            <pc:docMk/>
            <pc:sldMk cId="4084366951" sldId="318"/>
            <ac:picMk id="16" creationId="{D69CAFA9-4C9E-4C9D-8063-6AB7F66A7981}"/>
          </ac:picMkLst>
        </pc:picChg>
        <pc:picChg chg="add mod">
          <ac:chgData name="WESLEY.TBW" userId="S::wesley.tbw_gmail.com#ext#@risebcg.onmicrosoft.com::1034df62-ee6d-4b2f-8a56-03c4406a0a8a" providerId="AD" clId="Web-{3B0288CD-6438-43D8-A754-2C00C1097321}" dt="2022-01-08T09:14:12.884" v="59" actId="14100"/>
          <ac:picMkLst>
            <pc:docMk/>
            <pc:sldMk cId="4084366951" sldId="318"/>
            <ac:picMk id="17" creationId="{C02E3874-4ED2-4407-929C-4049D332C643}"/>
          </ac:picMkLst>
        </pc:picChg>
        <pc:picChg chg="add mod">
          <ac:chgData name="WESLEY.TBW" userId="S::wesley.tbw_gmail.com#ext#@risebcg.onmicrosoft.com::1034df62-ee6d-4b2f-8a56-03c4406a0a8a" providerId="AD" clId="Web-{3B0288CD-6438-43D8-A754-2C00C1097321}" dt="2022-01-08T09:19:33.234" v="80" actId="14100"/>
          <ac:picMkLst>
            <pc:docMk/>
            <pc:sldMk cId="4084366951" sldId="318"/>
            <ac:picMk id="18" creationId="{01844450-929B-4C6F-8685-6FF3118F02E2}"/>
          </ac:picMkLst>
        </pc:picChg>
      </pc:sldChg>
    </pc:docChg>
  </pc:docChgLst>
  <pc:docChgLst>
    <pc:chgData name="EVELYNSM.YONG" userId="S::evelynsm.yong_gmail.com#ext#@risebcg.onmicrosoft.com::67a27a72-2420-4d38-b745-316a53f4b99a" providerId="AD" clId="Web-{11BCB7EC-2CD9-4DDE-8140-3BA1CF4EA7FC}"/>
    <pc:docChg chg="modSld">
      <pc:chgData name="EVELYNSM.YONG" userId="S::evelynsm.yong_gmail.com#ext#@risebcg.onmicrosoft.com::67a27a72-2420-4d38-b745-316a53f4b99a" providerId="AD" clId="Web-{11BCB7EC-2CD9-4DDE-8140-3BA1CF4EA7FC}" dt="2022-01-07T15:49:01.823" v="347" actId="1076"/>
      <pc:docMkLst>
        <pc:docMk/>
      </pc:docMkLst>
      <pc:sldChg chg="modSp">
        <pc:chgData name="EVELYNSM.YONG" userId="S::evelynsm.yong_gmail.com#ext#@risebcg.onmicrosoft.com::67a27a72-2420-4d38-b745-316a53f4b99a" providerId="AD" clId="Web-{11BCB7EC-2CD9-4DDE-8140-3BA1CF4EA7FC}" dt="2022-01-07T14:31:30.196" v="248" actId="14100"/>
        <pc:sldMkLst>
          <pc:docMk/>
          <pc:sldMk cId="2651815169" sldId="283"/>
        </pc:sldMkLst>
        <pc:spChg chg="mod">
          <ac:chgData name="EVELYNSM.YONG" userId="S::evelynsm.yong_gmail.com#ext#@risebcg.onmicrosoft.com::67a27a72-2420-4d38-b745-316a53f4b99a" providerId="AD" clId="Web-{11BCB7EC-2CD9-4DDE-8140-3BA1CF4EA7FC}" dt="2022-01-07T14:31:30.196" v="248" actId="14100"/>
          <ac:spMkLst>
            <pc:docMk/>
            <pc:sldMk cId="2651815169" sldId="283"/>
            <ac:spMk id="4" creationId="{C3F6C5B1-254F-4FE6-BDCC-5FB9103008E3}"/>
          </ac:spMkLst>
        </pc:spChg>
      </pc:sldChg>
      <pc:sldChg chg="modSp">
        <pc:chgData name="EVELYNSM.YONG" userId="S::evelynsm.yong_gmail.com#ext#@risebcg.onmicrosoft.com::67a27a72-2420-4d38-b745-316a53f4b99a" providerId="AD" clId="Web-{11BCB7EC-2CD9-4DDE-8140-3BA1CF4EA7FC}" dt="2022-01-07T15:46:59.492" v="307" actId="1076"/>
        <pc:sldMkLst>
          <pc:docMk/>
          <pc:sldMk cId="1791060006" sldId="319"/>
        </pc:sldMkLst>
        <pc:picChg chg="mod">
          <ac:chgData name="EVELYNSM.YONG" userId="S::evelynsm.yong_gmail.com#ext#@risebcg.onmicrosoft.com::67a27a72-2420-4d38-b745-316a53f4b99a" providerId="AD" clId="Web-{11BCB7EC-2CD9-4DDE-8140-3BA1CF4EA7FC}" dt="2022-01-07T15:46:59.492" v="307" actId="1076"/>
          <ac:picMkLst>
            <pc:docMk/>
            <pc:sldMk cId="1791060006" sldId="319"/>
            <ac:picMk id="3" creationId="{E1B7C9CC-CAC9-40CB-9FC8-D33951793167}"/>
          </ac:picMkLst>
        </pc:picChg>
      </pc:sldChg>
      <pc:sldChg chg="addSp delSp modSp">
        <pc:chgData name="EVELYNSM.YONG" userId="S::evelynsm.yong_gmail.com#ext#@risebcg.onmicrosoft.com::67a27a72-2420-4d38-b745-316a53f4b99a" providerId="AD" clId="Web-{11BCB7EC-2CD9-4DDE-8140-3BA1CF4EA7FC}" dt="2022-01-07T15:08:30.352" v="254" actId="1076"/>
        <pc:sldMkLst>
          <pc:docMk/>
          <pc:sldMk cId="3666302761" sldId="324"/>
        </pc:sldMkLst>
        <pc:spChg chg="mod">
          <ac:chgData name="EVELYNSM.YONG" userId="S::evelynsm.yong_gmail.com#ext#@risebcg.onmicrosoft.com::67a27a72-2420-4d38-b745-316a53f4b99a" providerId="AD" clId="Web-{11BCB7EC-2CD9-4DDE-8140-3BA1CF4EA7FC}" dt="2022-01-07T15:08:30.352" v="254" actId="1076"/>
          <ac:spMkLst>
            <pc:docMk/>
            <pc:sldMk cId="3666302761" sldId="324"/>
            <ac:spMk id="12" creationId="{844D08C5-3EE5-4BAC-9392-6CA8001CAD4E}"/>
          </ac:spMkLst>
        </pc:spChg>
        <pc:spChg chg="mod">
          <ac:chgData name="EVELYNSM.YONG" userId="S::evelynsm.yong_gmail.com#ext#@risebcg.onmicrosoft.com::67a27a72-2420-4d38-b745-316a53f4b99a" providerId="AD" clId="Web-{11BCB7EC-2CD9-4DDE-8140-3BA1CF4EA7FC}" dt="2022-01-07T14:26:53.440" v="165" actId="1076"/>
          <ac:spMkLst>
            <pc:docMk/>
            <pc:sldMk cId="3666302761" sldId="324"/>
            <ac:spMk id="13" creationId="{003E35E4-DB87-4D35-8663-60FF12DD7B69}"/>
          </ac:spMkLst>
        </pc:spChg>
        <pc:spChg chg="mod">
          <ac:chgData name="EVELYNSM.YONG" userId="S::evelynsm.yong_gmail.com#ext#@risebcg.onmicrosoft.com::67a27a72-2420-4d38-b745-316a53f4b99a" providerId="AD" clId="Web-{11BCB7EC-2CD9-4DDE-8140-3BA1CF4EA7FC}" dt="2022-01-07T14:27:04.097" v="168" actId="1076"/>
          <ac:spMkLst>
            <pc:docMk/>
            <pc:sldMk cId="3666302761" sldId="324"/>
            <ac:spMk id="14" creationId="{CD92118D-BCDA-4C90-B9D2-09972FA65EE3}"/>
          </ac:spMkLst>
        </pc:spChg>
        <pc:spChg chg="mod">
          <ac:chgData name="EVELYNSM.YONG" userId="S::evelynsm.yong_gmail.com#ext#@risebcg.onmicrosoft.com::67a27a72-2420-4d38-b745-316a53f4b99a" providerId="AD" clId="Web-{11BCB7EC-2CD9-4DDE-8140-3BA1CF4EA7FC}" dt="2022-01-07T14:27:07.659" v="169" actId="1076"/>
          <ac:spMkLst>
            <pc:docMk/>
            <pc:sldMk cId="3666302761" sldId="324"/>
            <ac:spMk id="21" creationId="{46156451-ECB4-4520-895C-009D1F9E8343}"/>
          </ac:spMkLst>
        </pc:spChg>
        <pc:spChg chg="mod">
          <ac:chgData name="EVELYNSM.YONG" userId="S::evelynsm.yong_gmail.com#ext#@risebcg.onmicrosoft.com::67a27a72-2420-4d38-b745-316a53f4b99a" providerId="AD" clId="Web-{11BCB7EC-2CD9-4DDE-8140-3BA1CF4EA7FC}" dt="2022-01-07T14:27:13.925" v="172" actId="1076"/>
          <ac:spMkLst>
            <pc:docMk/>
            <pc:sldMk cId="3666302761" sldId="324"/>
            <ac:spMk id="22" creationId="{C16AF6E1-B243-4B07-9F33-544B588862C6}"/>
          </ac:spMkLst>
        </pc:spChg>
        <pc:spChg chg="mod">
          <ac:chgData name="EVELYNSM.YONG" userId="S::evelynsm.yong_gmail.com#ext#@risebcg.onmicrosoft.com::67a27a72-2420-4d38-b745-316a53f4b99a" providerId="AD" clId="Web-{11BCB7EC-2CD9-4DDE-8140-3BA1CF4EA7FC}" dt="2022-01-07T14:27:20.456" v="174" actId="1076"/>
          <ac:spMkLst>
            <pc:docMk/>
            <pc:sldMk cId="3666302761" sldId="324"/>
            <ac:spMk id="23" creationId="{437837FB-28C6-4D49-A0CB-199C96E6B187}"/>
          </ac:spMkLst>
        </pc:spChg>
        <pc:spChg chg="mod">
          <ac:chgData name="EVELYNSM.YONG" userId="S::evelynsm.yong_gmail.com#ext#@risebcg.onmicrosoft.com::67a27a72-2420-4d38-b745-316a53f4b99a" providerId="AD" clId="Web-{11BCB7EC-2CD9-4DDE-8140-3BA1CF4EA7FC}" dt="2022-01-07T14:27:22.206" v="175" actId="1076"/>
          <ac:spMkLst>
            <pc:docMk/>
            <pc:sldMk cId="3666302761" sldId="324"/>
            <ac:spMk id="24" creationId="{3A5B42D3-2732-4D38-8D3A-233FB4F41BD0}"/>
          </ac:spMkLst>
        </pc:spChg>
        <pc:spChg chg="mod">
          <ac:chgData name="EVELYNSM.YONG" userId="S::evelynsm.yong_gmail.com#ext#@risebcg.onmicrosoft.com::67a27a72-2420-4d38-b745-316a53f4b99a" providerId="AD" clId="Web-{11BCB7EC-2CD9-4DDE-8140-3BA1CF4EA7FC}" dt="2022-01-07T14:27:58.848" v="179" actId="14100"/>
          <ac:spMkLst>
            <pc:docMk/>
            <pc:sldMk cId="3666302761" sldId="324"/>
            <ac:spMk id="25" creationId="{A72C66DB-3DFA-4DD0-BB16-94A4A31F5E94}"/>
          </ac:spMkLst>
        </pc:spChg>
        <pc:spChg chg="mod">
          <ac:chgData name="EVELYNSM.YONG" userId="S::evelynsm.yong_gmail.com#ext#@risebcg.onmicrosoft.com::67a27a72-2420-4d38-b745-316a53f4b99a" providerId="AD" clId="Web-{11BCB7EC-2CD9-4DDE-8140-3BA1CF4EA7FC}" dt="2022-01-07T14:26:56.003" v="166" actId="1076"/>
          <ac:spMkLst>
            <pc:docMk/>
            <pc:sldMk cId="3666302761" sldId="324"/>
            <ac:spMk id="26" creationId="{22DD1760-D9EC-405F-9AAD-63EC690DC033}"/>
          </ac:spMkLst>
        </pc:spChg>
        <pc:spChg chg="mod">
          <ac:chgData name="EVELYNSM.YONG" userId="S::evelynsm.yong_gmail.com#ext#@risebcg.onmicrosoft.com::67a27a72-2420-4d38-b745-316a53f4b99a" providerId="AD" clId="Web-{11BCB7EC-2CD9-4DDE-8140-3BA1CF4EA7FC}" dt="2022-01-07T14:26:59.378" v="167" actId="14100"/>
          <ac:spMkLst>
            <pc:docMk/>
            <pc:sldMk cId="3666302761" sldId="324"/>
            <ac:spMk id="27" creationId="{B2BF4484-08EE-483A-BA89-BC8EDC410538}"/>
          </ac:spMkLst>
        </pc:spChg>
        <pc:picChg chg="add del mod">
          <ac:chgData name="EVELYNSM.YONG" userId="S::evelynsm.yong_gmail.com#ext#@risebcg.onmicrosoft.com::67a27a72-2420-4d38-b745-316a53f4b99a" providerId="AD" clId="Web-{11BCB7EC-2CD9-4DDE-8140-3BA1CF4EA7FC}" dt="2022-01-07T14:11:57.734" v="65"/>
          <ac:picMkLst>
            <pc:docMk/>
            <pc:sldMk cId="3666302761" sldId="324"/>
            <ac:picMk id="2" creationId="{07083257-A2A9-4D1B-ABE4-5EA65B8A4D32}"/>
          </ac:picMkLst>
        </pc:picChg>
        <pc:picChg chg="del">
          <ac:chgData name="EVELYNSM.YONG" userId="S::evelynsm.yong_gmail.com#ext#@risebcg.onmicrosoft.com::67a27a72-2420-4d38-b745-316a53f4b99a" providerId="AD" clId="Web-{11BCB7EC-2CD9-4DDE-8140-3BA1CF4EA7FC}" dt="2022-01-07T14:15:48.473" v="87"/>
          <ac:picMkLst>
            <pc:docMk/>
            <pc:sldMk cId="3666302761" sldId="324"/>
            <ac:picMk id="3" creationId="{1E3FFB43-7F0A-45FE-BF03-B63BEC254DF1}"/>
          </ac:picMkLst>
        </pc:picChg>
        <pc:picChg chg="add del mod modCrop">
          <ac:chgData name="EVELYNSM.YONG" userId="S::evelynsm.yong_gmail.com#ext#@risebcg.onmicrosoft.com::67a27a72-2420-4d38-b745-316a53f4b99a" providerId="AD" clId="Web-{11BCB7EC-2CD9-4DDE-8140-3BA1CF4EA7FC}" dt="2022-01-07T14:19:21.212" v="120"/>
          <ac:picMkLst>
            <pc:docMk/>
            <pc:sldMk cId="3666302761" sldId="324"/>
            <ac:picMk id="5" creationId="{B816886F-D407-4652-B01A-40BCD59F2EC2}"/>
          </ac:picMkLst>
        </pc:picChg>
        <pc:picChg chg="add del mod">
          <ac:chgData name="EVELYNSM.YONG" userId="S::evelynsm.yong_gmail.com#ext#@risebcg.onmicrosoft.com::67a27a72-2420-4d38-b745-316a53f4b99a" providerId="AD" clId="Web-{11BCB7EC-2CD9-4DDE-8140-3BA1CF4EA7FC}" dt="2022-01-07T14:19:04.962" v="119"/>
          <ac:picMkLst>
            <pc:docMk/>
            <pc:sldMk cId="3666302761" sldId="324"/>
            <ac:picMk id="6" creationId="{89722958-31DF-4319-9CD2-E27447F9B68E}"/>
          </ac:picMkLst>
        </pc:picChg>
        <pc:picChg chg="add del mod modCrop">
          <ac:chgData name="EVELYNSM.YONG" userId="S::evelynsm.yong_gmail.com#ext#@risebcg.onmicrosoft.com::67a27a72-2420-4d38-b745-316a53f4b99a" providerId="AD" clId="Web-{11BCB7EC-2CD9-4DDE-8140-3BA1CF4EA7FC}" dt="2022-01-07T14:23:59.687" v="134"/>
          <ac:picMkLst>
            <pc:docMk/>
            <pc:sldMk cId="3666302761" sldId="324"/>
            <ac:picMk id="8" creationId="{BF1E0173-F402-4BB7-84EB-B7B1EA72E13B}"/>
          </ac:picMkLst>
        </pc:picChg>
        <pc:picChg chg="add del mod">
          <ac:chgData name="EVELYNSM.YONG" userId="S::evelynsm.yong_gmail.com#ext#@risebcg.onmicrosoft.com::67a27a72-2420-4d38-b745-316a53f4b99a" providerId="AD" clId="Web-{11BCB7EC-2CD9-4DDE-8140-3BA1CF4EA7FC}" dt="2022-01-07T14:24:05.030" v="137"/>
          <ac:picMkLst>
            <pc:docMk/>
            <pc:sldMk cId="3666302761" sldId="324"/>
            <ac:picMk id="9" creationId="{DD124C38-7B13-4276-8CDE-C3E9F8FC1B36}"/>
          </ac:picMkLst>
        </pc:picChg>
        <pc:picChg chg="add del mod">
          <ac:chgData name="EVELYNSM.YONG" userId="S::evelynsm.yong_gmail.com#ext#@risebcg.onmicrosoft.com::67a27a72-2420-4d38-b745-316a53f4b99a" providerId="AD" clId="Web-{11BCB7EC-2CD9-4DDE-8140-3BA1CF4EA7FC}" dt="2022-01-07T14:24:29.125" v="144"/>
          <ac:picMkLst>
            <pc:docMk/>
            <pc:sldMk cId="3666302761" sldId="324"/>
            <ac:picMk id="10" creationId="{B8F47726-A30A-4691-BD13-A70A3E844138}"/>
          </ac:picMkLst>
        </pc:picChg>
        <pc:picChg chg="mod">
          <ac:chgData name="EVELYNSM.YONG" userId="S::evelynsm.yong_gmail.com#ext#@risebcg.onmicrosoft.com::67a27a72-2420-4d38-b745-316a53f4b99a" providerId="AD" clId="Web-{11BCB7EC-2CD9-4DDE-8140-3BA1CF4EA7FC}" dt="2022-01-07T14:27:10.034" v="171" actId="1076"/>
          <ac:picMkLst>
            <pc:docMk/>
            <pc:sldMk cId="3666302761" sldId="324"/>
            <ac:picMk id="11" creationId="{CD86A313-65D2-4D12-B76F-922156737525}"/>
          </ac:picMkLst>
        </pc:picChg>
        <pc:picChg chg="add mod">
          <ac:chgData name="EVELYNSM.YONG" userId="S::evelynsm.yong_gmail.com#ext#@risebcg.onmicrosoft.com::67a27a72-2420-4d38-b745-316a53f4b99a" providerId="AD" clId="Web-{11BCB7EC-2CD9-4DDE-8140-3BA1CF4EA7FC}" dt="2022-01-07T14:26:37.237" v="155" actId="1076"/>
          <ac:picMkLst>
            <pc:docMk/>
            <pc:sldMk cId="3666302761" sldId="324"/>
            <ac:picMk id="15" creationId="{5D59DB1C-172C-47ED-95FD-1E3F001466CE}"/>
          </ac:picMkLst>
        </pc:picChg>
      </pc:sldChg>
      <pc:sldChg chg="modSp">
        <pc:chgData name="EVELYNSM.YONG" userId="S::evelynsm.yong_gmail.com#ext#@risebcg.onmicrosoft.com::67a27a72-2420-4d38-b745-316a53f4b99a" providerId="AD" clId="Web-{11BCB7EC-2CD9-4DDE-8140-3BA1CF4EA7FC}" dt="2022-01-07T14:15:10.535" v="84" actId="14100"/>
        <pc:sldMkLst>
          <pc:docMk/>
          <pc:sldMk cId="2316358039" sldId="325"/>
        </pc:sldMkLst>
        <pc:spChg chg="mod">
          <ac:chgData name="EVELYNSM.YONG" userId="S::evelynsm.yong_gmail.com#ext#@risebcg.onmicrosoft.com::67a27a72-2420-4d38-b745-316a53f4b99a" providerId="AD" clId="Web-{11BCB7EC-2CD9-4DDE-8140-3BA1CF4EA7FC}" dt="2022-01-07T14:15:10.535" v="84" actId="14100"/>
          <ac:spMkLst>
            <pc:docMk/>
            <pc:sldMk cId="2316358039" sldId="325"/>
            <ac:spMk id="3" creationId="{424AF61A-30BE-4BE9-9F56-D2497C21C355}"/>
          </ac:spMkLst>
        </pc:spChg>
        <pc:picChg chg="mod">
          <ac:chgData name="EVELYNSM.YONG" userId="S::evelynsm.yong_gmail.com#ext#@risebcg.onmicrosoft.com::67a27a72-2420-4d38-b745-316a53f4b99a" providerId="AD" clId="Web-{11BCB7EC-2CD9-4DDE-8140-3BA1CF4EA7FC}" dt="2022-01-07T14:15:08.082" v="83" actId="14100"/>
          <ac:picMkLst>
            <pc:docMk/>
            <pc:sldMk cId="2316358039" sldId="325"/>
            <ac:picMk id="2" creationId="{69CF128B-0B09-4BF1-B2CA-1BA877B1F78B}"/>
          </ac:picMkLst>
        </pc:picChg>
      </pc:sldChg>
      <pc:sldChg chg="addSp modSp">
        <pc:chgData name="EVELYNSM.YONG" userId="S::evelynsm.yong_gmail.com#ext#@risebcg.onmicrosoft.com::67a27a72-2420-4d38-b745-316a53f4b99a" providerId="AD" clId="Web-{11BCB7EC-2CD9-4DDE-8140-3BA1CF4EA7FC}" dt="2022-01-07T15:49:01.823" v="347" actId="1076"/>
        <pc:sldMkLst>
          <pc:docMk/>
          <pc:sldMk cId="2652119032" sldId="335"/>
        </pc:sldMkLst>
        <pc:spChg chg="mod">
          <ac:chgData name="EVELYNSM.YONG" userId="S::evelynsm.yong_gmail.com#ext#@risebcg.onmicrosoft.com::67a27a72-2420-4d38-b745-316a53f4b99a" providerId="AD" clId="Web-{11BCB7EC-2CD9-4DDE-8140-3BA1CF4EA7FC}" dt="2022-01-07T14:40:12.193" v="251" actId="20577"/>
          <ac:spMkLst>
            <pc:docMk/>
            <pc:sldMk cId="2652119032" sldId="335"/>
            <ac:spMk id="3" creationId="{CB7BAFB0-445F-4F96-BCE3-50C0E2AB21AD}"/>
          </ac:spMkLst>
        </pc:spChg>
        <pc:spChg chg="mod">
          <ac:chgData name="EVELYNSM.YONG" userId="S::evelynsm.yong_gmail.com#ext#@risebcg.onmicrosoft.com::67a27a72-2420-4d38-b745-316a53f4b99a" providerId="AD" clId="Web-{11BCB7EC-2CD9-4DDE-8140-3BA1CF4EA7FC}" dt="2022-01-07T14:09:02.997" v="53" actId="14100"/>
          <ac:spMkLst>
            <pc:docMk/>
            <pc:sldMk cId="2652119032" sldId="335"/>
            <ac:spMk id="4" creationId="{7BCAFA08-4D06-4459-BDE0-CAB790C8CB40}"/>
          </ac:spMkLst>
        </pc:spChg>
        <pc:spChg chg="add mod">
          <ac:chgData name="EVELYNSM.YONG" userId="S::evelynsm.yong_gmail.com#ext#@risebcg.onmicrosoft.com::67a27a72-2420-4d38-b745-316a53f4b99a" providerId="AD" clId="Web-{11BCB7EC-2CD9-4DDE-8140-3BA1CF4EA7FC}" dt="2022-01-07T15:49:01.823" v="347" actId="1076"/>
          <ac:spMkLst>
            <pc:docMk/>
            <pc:sldMk cId="2652119032" sldId="335"/>
            <ac:spMk id="9" creationId="{7E2F8E19-F56B-4CB8-9CA2-A1277727EBFD}"/>
          </ac:spMkLst>
        </pc:spChg>
      </pc:sldChg>
      <pc:sldChg chg="modSp">
        <pc:chgData name="EVELYNSM.YONG" userId="S::evelynsm.yong_gmail.com#ext#@risebcg.onmicrosoft.com::67a27a72-2420-4d38-b745-316a53f4b99a" providerId="AD" clId="Web-{11BCB7EC-2CD9-4DDE-8140-3BA1CF4EA7FC}" dt="2022-01-07T14:05:05.158" v="50" actId="20577"/>
        <pc:sldMkLst>
          <pc:docMk/>
          <pc:sldMk cId="3391215681" sldId="339"/>
        </pc:sldMkLst>
        <pc:spChg chg="mod">
          <ac:chgData name="EVELYNSM.YONG" userId="S::evelynsm.yong_gmail.com#ext#@risebcg.onmicrosoft.com::67a27a72-2420-4d38-b745-316a53f4b99a" providerId="AD" clId="Web-{11BCB7EC-2CD9-4DDE-8140-3BA1CF4EA7FC}" dt="2022-01-07T14:04:36.548" v="47" actId="14100"/>
          <ac:spMkLst>
            <pc:docMk/>
            <pc:sldMk cId="3391215681" sldId="339"/>
            <ac:spMk id="47" creationId="{B72F6C48-B470-4163-9AC9-2982A10656DA}"/>
          </ac:spMkLst>
        </pc:spChg>
        <pc:graphicFrameChg chg="modGraphic">
          <ac:chgData name="EVELYNSM.YONG" userId="S::evelynsm.yong_gmail.com#ext#@risebcg.onmicrosoft.com::67a27a72-2420-4d38-b745-316a53f4b99a" providerId="AD" clId="Web-{11BCB7EC-2CD9-4DDE-8140-3BA1CF4EA7FC}" dt="2022-01-07T14:05:05.158" v="50" actId="20577"/>
          <ac:graphicFrameMkLst>
            <pc:docMk/>
            <pc:sldMk cId="3391215681" sldId="339"/>
            <ac:graphicFrameMk id="28" creationId="{9D58B7B4-DE29-4DDF-BB8A-729D2B705659}"/>
          </ac:graphicFrameMkLst>
        </pc:graphicFrameChg>
      </pc:sldChg>
      <pc:sldChg chg="modSp">
        <pc:chgData name="EVELYNSM.YONG" userId="S::evelynsm.yong_gmail.com#ext#@risebcg.onmicrosoft.com::67a27a72-2420-4d38-b745-316a53f4b99a" providerId="AD" clId="Web-{11BCB7EC-2CD9-4DDE-8140-3BA1CF4EA7FC}" dt="2022-01-07T15:42:19.002" v="286" actId="20577"/>
        <pc:sldMkLst>
          <pc:docMk/>
          <pc:sldMk cId="4159389698" sldId="342"/>
        </pc:sldMkLst>
        <pc:spChg chg="mod">
          <ac:chgData name="EVELYNSM.YONG" userId="S::evelynsm.yong_gmail.com#ext#@risebcg.onmicrosoft.com::67a27a72-2420-4d38-b745-316a53f4b99a" providerId="AD" clId="Web-{11BCB7EC-2CD9-4DDE-8140-3BA1CF4EA7FC}" dt="2022-01-07T15:42:19.002" v="286" actId="20577"/>
          <ac:spMkLst>
            <pc:docMk/>
            <pc:sldMk cId="4159389698" sldId="342"/>
            <ac:spMk id="3" creationId="{1EADC3E2-9A88-4CFF-8CDC-C7B034C116B1}"/>
          </ac:spMkLst>
        </pc:spChg>
      </pc:sldChg>
    </pc:docChg>
  </pc:docChgLst>
  <pc:docChgLst>
    <pc:chgData name="EVELYNSM.YONG" userId="S::evelynsm.yong_gmail.com#ext#@risebcg.onmicrosoft.com::67a27a72-2420-4d38-b745-316a53f4b99a" providerId="AD" clId="Web-{0DBCE264-42AB-4E4D-92BD-92ADD1AB384F}"/>
    <pc:docChg chg="addSld delSld modSld sldOrd">
      <pc:chgData name="EVELYNSM.YONG" userId="S::evelynsm.yong_gmail.com#ext#@risebcg.onmicrosoft.com::67a27a72-2420-4d38-b745-316a53f4b99a" providerId="AD" clId="Web-{0DBCE264-42AB-4E4D-92BD-92ADD1AB384F}" dt="2022-01-09T08:50:17.590" v="1731"/>
      <pc:docMkLst>
        <pc:docMk/>
      </pc:docMkLst>
      <pc:sldChg chg="add del ord">
        <pc:chgData name="EVELYNSM.YONG" userId="S::evelynsm.yong_gmail.com#ext#@risebcg.onmicrosoft.com::67a27a72-2420-4d38-b745-316a53f4b99a" providerId="AD" clId="Web-{0DBCE264-42AB-4E4D-92BD-92ADD1AB384F}" dt="2022-01-09T08:43:13.598" v="1646"/>
        <pc:sldMkLst>
          <pc:docMk/>
          <pc:sldMk cId="1771006094" sldId="285"/>
        </pc:sldMkLst>
      </pc:sldChg>
      <pc:sldChg chg="modSp">
        <pc:chgData name="EVELYNSM.YONG" userId="S::evelynsm.yong_gmail.com#ext#@risebcg.onmicrosoft.com::67a27a72-2420-4d38-b745-316a53f4b99a" providerId="AD" clId="Web-{0DBCE264-42AB-4E4D-92BD-92ADD1AB384F}" dt="2022-01-09T08:14:05.892" v="891" actId="1076"/>
        <pc:sldMkLst>
          <pc:docMk/>
          <pc:sldMk cId="4084366951" sldId="318"/>
        </pc:sldMkLst>
        <pc:picChg chg="mod">
          <ac:chgData name="EVELYNSM.YONG" userId="S::evelynsm.yong_gmail.com#ext#@risebcg.onmicrosoft.com::67a27a72-2420-4d38-b745-316a53f4b99a" providerId="AD" clId="Web-{0DBCE264-42AB-4E4D-92BD-92ADD1AB384F}" dt="2022-01-09T08:14:05.892" v="891" actId="1076"/>
          <ac:picMkLst>
            <pc:docMk/>
            <pc:sldMk cId="4084366951" sldId="318"/>
            <ac:picMk id="14" creationId="{9E82A69E-4635-4809-8566-FFBDBAB122DE}"/>
          </ac:picMkLst>
        </pc:picChg>
      </pc:sldChg>
      <pc:sldChg chg="ord">
        <pc:chgData name="EVELYNSM.YONG" userId="S::evelynsm.yong_gmail.com#ext#@risebcg.onmicrosoft.com::67a27a72-2420-4d38-b745-316a53f4b99a" providerId="AD" clId="Web-{0DBCE264-42AB-4E4D-92BD-92ADD1AB384F}" dt="2022-01-09T07:48:53.925" v="475"/>
        <pc:sldMkLst>
          <pc:docMk/>
          <pc:sldMk cId="768738816" sldId="330"/>
        </pc:sldMkLst>
      </pc:sldChg>
      <pc:sldChg chg="ord">
        <pc:chgData name="EVELYNSM.YONG" userId="S::evelynsm.yong_gmail.com#ext#@risebcg.onmicrosoft.com::67a27a72-2420-4d38-b745-316a53f4b99a" providerId="AD" clId="Web-{0DBCE264-42AB-4E4D-92BD-92ADD1AB384F}" dt="2022-01-09T07:48:53.925" v="474"/>
        <pc:sldMkLst>
          <pc:docMk/>
          <pc:sldMk cId="4030892583" sldId="332"/>
        </pc:sldMkLst>
      </pc:sldChg>
      <pc:sldChg chg="modSp">
        <pc:chgData name="EVELYNSM.YONG" userId="S::evelynsm.yong_gmail.com#ext#@risebcg.onmicrosoft.com::67a27a72-2420-4d38-b745-316a53f4b99a" providerId="AD" clId="Web-{0DBCE264-42AB-4E4D-92BD-92ADD1AB384F}" dt="2022-01-09T08:44:19.271" v="1654" actId="14100"/>
        <pc:sldMkLst>
          <pc:docMk/>
          <pc:sldMk cId="1249418479" sldId="334"/>
        </pc:sldMkLst>
        <pc:spChg chg="mod">
          <ac:chgData name="EVELYNSM.YONG" userId="S::evelynsm.yong_gmail.com#ext#@risebcg.onmicrosoft.com::67a27a72-2420-4d38-b745-316a53f4b99a" providerId="AD" clId="Web-{0DBCE264-42AB-4E4D-92BD-92ADD1AB384F}" dt="2022-01-09T08:44:19.271" v="1654" actId="14100"/>
          <ac:spMkLst>
            <pc:docMk/>
            <pc:sldMk cId="1249418479" sldId="334"/>
            <ac:spMk id="14" creationId="{DE96116D-A890-4EBF-BAFB-3F4B23F0096C}"/>
          </ac:spMkLst>
        </pc:spChg>
      </pc:sldChg>
      <pc:sldChg chg="delSp modSp ord">
        <pc:chgData name="EVELYNSM.YONG" userId="S::evelynsm.yong_gmail.com#ext#@risebcg.onmicrosoft.com::67a27a72-2420-4d38-b745-316a53f4b99a" providerId="AD" clId="Web-{0DBCE264-42AB-4E4D-92BD-92ADD1AB384F}" dt="2022-01-09T08:48:14.557" v="1704" actId="14100"/>
        <pc:sldMkLst>
          <pc:docMk/>
          <pc:sldMk cId="2652119032" sldId="335"/>
        </pc:sldMkLst>
        <pc:spChg chg="mod">
          <ac:chgData name="EVELYNSM.YONG" userId="S::evelynsm.yong_gmail.com#ext#@risebcg.onmicrosoft.com::67a27a72-2420-4d38-b745-316a53f4b99a" providerId="AD" clId="Web-{0DBCE264-42AB-4E4D-92BD-92ADD1AB384F}" dt="2022-01-09T08:40:03.266" v="1613" actId="20577"/>
          <ac:spMkLst>
            <pc:docMk/>
            <pc:sldMk cId="2652119032" sldId="335"/>
            <ac:spMk id="2" creationId="{7F6D02CC-FD9B-490C-B8FF-AA78D172BCDC}"/>
          </ac:spMkLst>
        </pc:spChg>
        <pc:spChg chg="mod">
          <ac:chgData name="EVELYNSM.YONG" userId="S::evelynsm.yong_gmail.com#ext#@risebcg.onmicrosoft.com::67a27a72-2420-4d38-b745-316a53f4b99a" providerId="AD" clId="Web-{0DBCE264-42AB-4E4D-92BD-92ADD1AB384F}" dt="2022-01-09T08:47:59.463" v="1700" actId="20577"/>
          <ac:spMkLst>
            <pc:docMk/>
            <pc:sldMk cId="2652119032" sldId="335"/>
            <ac:spMk id="4" creationId="{7BCAFA08-4D06-4459-BDE0-CAB790C8CB40}"/>
          </ac:spMkLst>
        </pc:spChg>
        <pc:spChg chg="mod">
          <ac:chgData name="EVELYNSM.YONG" userId="S::evelynsm.yong_gmail.com#ext#@risebcg.onmicrosoft.com::67a27a72-2420-4d38-b745-316a53f4b99a" providerId="AD" clId="Web-{0DBCE264-42AB-4E4D-92BD-92ADD1AB384F}" dt="2022-01-09T08:48:14.557" v="1704" actId="14100"/>
          <ac:spMkLst>
            <pc:docMk/>
            <pc:sldMk cId="2652119032" sldId="335"/>
            <ac:spMk id="10" creationId="{5B136050-0C52-4973-B00A-9438EBC773F2}"/>
          </ac:spMkLst>
        </pc:spChg>
        <pc:grpChg chg="del">
          <ac:chgData name="EVELYNSM.YONG" userId="S::evelynsm.yong_gmail.com#ext#@risebcg.onmicrosoft.com::67a27a72-2420-4d38-b745-316a53f4b99a" providerId="AD" clId="Web-{0DBCE264-42AB-4E4D-92BD-92ADD1AB384F}" dt="2022-01-09T08:05:23.288" v="624"/>
          <ac:grpSpMkLst>
            <pc:docMk/>
            <pc:sldMk cId="2652119032" sldId="335"/>
            <ac:grpSpMk id="8" creationId="{CAEC6CD7-B066-4DF9-94AD-FBA7CF3B0107}"/>
          </ac:grpSpMkLst>
        </pc:grpChg>
      </pc:sldChg>
      <pc:sldChg chg="ord">
        <pc:chgData name="EVELYNSM.YONG" userId="S::evelynsm.yong_gmail.com#ext#@risebcg.onmicrosoft.com::67a27a72-2420-4d38-b745-316a53f4b99a" providerId="AD" clId="Web-{0DBCE264-42AB-4E4D-92BD-92ADD1AB384F}" dt="2022-01-09T07:26:05.837" v="18"/>
        <pc:sldMkLst>
          <pc:docMk/>
          <pc:sldMk cId="2538826858" sldId="336"/>
        </pc:sldMkLst>
      </pc:sldChg>
      <pc:sldChg chg="addSp delSp modSp ord modNotes">
        <pc:chgData name="EVELYNSM.YONG" userId="S::evelynsm.yong_gmail.com#ext#@risebcg.onmicrosoft.com::67a27a72-2420-4d38-b745-316a53f4b99a" providerId="AD" clId="Web-{0DBCE264-42AB-4E4D-92BD-92ADD1AB384F}" dt="2022-01-09T08:39:40.266" v="1606"/>
        <pc:sldMkLst>
          <pc:docMk/>
          <pc:sldMk cId="3391215681" sldId="339"/>
        </pc:sldMkLst>
        <pc:spChg chg="mod">
          <ac:chgData name="EVELYNSM.YONG" userId="S::evelynsm.yong_gmail.com#ext#@risebcg.onmicrosoft.com::67a27a72-2420-4d38-b745-316a53f4b99a" providerId="AD" clId="Web-{0DBCE264-42AB-4E4D-92BD-92ADD1AB384F}" dt="2022-01-09T08:20:56.259" v="1144" actId="14100"/>
          <ac:spMkLst>
            <pc:docMk/>
            <pc:sldMk cId="3391215681" sldId="339"/>
            <ac:spMk id="47" creationId="{B72F6C48-B470-4163-9AC9-2982A10656DA}"/>
          </ac:spMkLst>
        </pc:spChg>
        <pc:spChg chg="mod">
          <ac:chgData name="EVELYNSM.YONG" userId="S::evelynsm.yong_gmail.com#ext#@risebcg.onmicrosoft.com::67a27a72-2420-4d38-b745-316a53f4b99a" providerId="AD" clId="Web-{0DBCE264-42AB-4E4D-92BD-92ADD1AB384F}" dt="2022-01-09T08:03:00.020" v="600" actId="14100"/>
          <ac:spMkLst>
            <pc:docMk/>
            <pc:sldMk cId="3391215681" sldId="339"/>
            <ac:spMk id="49" creationId="{1A40ECD8-EC71-4C0D-A629-C5042C9FBE1B}"/>
          </ac:spMkLst>
        </pc:spChg>
        <pc:spChg chg="mod">
          <ac:chgData name="EVELYNSM.YONG" userId="S::evelynsm.yong_gmail.com#ext#@risebcg.onmicrosoft.com::67a27a72-2420-4d38-b745-316a53f4b99a" providerId="AD" clId="Web-{0DBCE264-42AB-4E4D-92BD-92ADD1AB384F}" dt="2022-01-09T07:46:39.142" v="448" actId="20577"/>
          <ac:spMkLst>
            <pc:docMk/>
            <pc:sldMk cId="3391215681" sldId="339"/>
            <ac:spMk id="124" creationId="{C91A31F3-23FB-421F-8BC0-FD3F5F868D91}"/>
          </ac:spMkLst>
        </pc:spChg>
        <pc:spChg chg="add mod">
          <ac:chgData name="EVELYNSM.YONG" userId="S::evelynsm.yong_gmail.com#ext#@risebcg.onmicrosoft.com::67a27a72-2420-4d38-b745-316a53f4b99a" providerId="AD" clId="Web-{0DBCE264-42AB-4E4D-92BD-92ADD1AB384F}" dt="2022-01-09T08:38:49.249" v="1593" actId="1076"/>
          <ac:spMkLst>
            <pc:docMk/>
            <pc:sldMk cId="3391215681" sldId="339"/>
            <ac:spMk id="160" creationId="{129EBF9C-3DCE-40EC-8CFB-1CB201B252BE}"/>
          </ac:spMkLst>
        </pc:spChg>
        <pc:spChg chg="add mod">
          <ac:chgData name="EVELYNSM.YONG" userId="S::evelynsm.yong_gmail.com#ext#@risebcg.onmicrosoft.com::67a27a72-2420-4d38-b745-316a53f4b99a" providerId="AD" clId="Web-{0DBCE264-42AB-4E4D-92BD-92ADD1AB384F}" dt="2022-01-09T08:38:18.326" v="1581" actId="1076"/>
          <ac:spMkLst>
            <pc:docMk/>
            <pc:sldMk cId="3391215681" sldId="339"/>
            <ac:spMk id="211" creationId="{BE8EF75F-4A8F-4CC0-B3A0-4689491D690B}"/>
          </ac:spMkLst>
        </pc:spChg>
        <pc:spChg chg="add mod">
          <ac:chgData name="EVELYNSM.YONG" userId="S::evelynsm.yong_gmail.com#ext#@risebcg.onmicrosoft.com::67a27a72-2420-4d38-b745-316a53f4b99a" providerId="AD" clId="Web-{0DBCE264-42AB-4E4D-92BD-92ADD1AB384F}" dt="2022-01-09T08:38:57.890" v="1596" actId="1076"/>
          <ac:spMkLst>
            <pc:docMk/>
            <pc:sldMk cId="3391215681" sldId="339"/>
            <ac:spMk id="218" creationId="{3F919807-BA2C-40C1-9C13-9C7C88B0617F}"/>
          </ac:spMkLst>
        </pc:spChg>
        <pc:spChg chg="add mod">
          <ac:chgData name="EVELYNSM.YONG" userId="S::evelynsm.yong_gmail.com#ext#@risebcg.onmicrosoft.com::67a27a72-2420-4d38-b745-316a53f4b99a" providerId="AD" clId="Web-{0DBCE264-42AB-4E4D-92BD-92ADD1AB384F}" dt="2022-01-09T08:39:21.609" v="1601" actId="20577"/>
          <ac:spMkLst>
            <pc:docMk/>
            <pc:sldMk cId="3391215681" sldId="339"/>
            <ac:spMk id="229" creationId="{8CB63044-5013-4EFC-B813-E8D7A72DE7FF}"/>
          </ac:spMkLst>
        </pc:spChg>
        <pc:spChg chg="add del">
          <ac:chgData name="EVELYNSM.YONG" userId="S::evelynsm.yong_gmail.com#ext#@risebcg.onmicrosoft.com::67a27a72-2420-4d38-b745-316a53f4b99a" providerId="AD" clId="Web-{0DBCE264-42AB-4E4D-92BD-92ADD1AB384F}" dt="2022-01-09T07:34:18.237" v="143"/>
          <ac:spMkLst>
            <pc:docMk/>
            <pc:sldMk cId="3391215681" sldId="339"/>
            <ac:spMk id="230" creationId="{C927EFC1-94E4-4CF7-8300-A652081469BE}"/>
          </ac:spMkLst>
        </pc:spChg>
        <pc:spChg chg="add del mod">
          <ac:chgData name="EVELYNSM.YONG" userId="S::evelynsm.yong_gmail.com#ext#@risebcg.onmicrosoft.com::67a27a72-2420-4d38-b745-316a53f4b99a" providerId="AD" clId="Web-{0DBCE264-42AB-4E4D-92BD-92ADD1AB384F}" dt="2022-01-09T07:33:23.158" v="120"/>
          <ac:spMkLst>
            <pc:docMk/>
            <pc:sldMk cId="3391215681" sldId="339"/>
            <ac:spMk id="231" creationId="{80909143-A291-4302-956D-AB0C4506830B}"/>
          </ac:spMkLst>
        </pc:spChg>
        <pc:spChg chg="add mod">
          <ac:chgData name="EVELYNSM.YONG" userId="S::evelynsm.yong_gmail.com#ext#@risebcg.onmicrosoft.com::67a27a72-2420-4d38-b745-316a53f4b99a" providerId="AD" clId="Web-{0DBCE264-42AB-4E4D-92BD-92ADD1AB384F}" dt="2022-01-09T08:38:36.264" v="1586" actId="1076"/>
          <ac:spMkLst>
            <pc:docMk/>
            <pc:sldMk cId="3391215681" sldId="339"/>
            <ac:spMk id="3097" creationId="{B43BCD4D-C119-4545-A18A-03EFECDDCAC1}"/>
          </ac:spMkLst>
        </pc:spChg>
        <pc:grpChg chg="add mod">
          <ac:chgData name="EVELYNSM.YONG" userId="S::evelynsm.yong_gmail.com#ext#@risebcg.onmicrosoft.com::67a27a72-2420-4d38-b745-316a53f4b99a" providerId="AD" clId="Web-{0DBCE264-42AB-4E4D-92BD-92ADD1AB384F}" dt="2022-01-09T08:21:02.197" v="1145" actId="14100"/>
          <ac:grpSpMkLst>
            <pc:docMk/>
            <pc:sldMk cId="3391215681" sldId="339"/>
            <ac:grpSpMk id="417" creationId="{3422634B-E74A-464E-8891-948490F63923}"/>
          </ac:grpSpMkLst>
        </pc:grpChg>
        <pc:graphicFrameChg chg="mod modGraphic">
          <ac:chgData name="EVELYNSM.YONG" userId="S::evelynsm.yong_gmail.com#ext#@risebcg.onmicrosoft.com::67a27a72-2420-4d38-b745-316a53f4b99a" providerId="AD" clId="Web-{0DBCE264-42AB-4E4D-92BD-92ADD1AB384F}" dt="2022-01-09T08:34:22.713" v="1438" actId="20577"/>
          <ac:graphicFrameMkLst>
            <pc:docMk/>
            <pc:sldMk cId="3391215681" sldId="339"/>
            <ac:graphicFrameMk id="28" creationId="{9D58B7B4-DE29-4DDF-BB8A-729D2B705659}"/>
          </ac:graphicFrameMkLst>
        </pc:graphicFrameChg>
        <pc:picChg chg="add mod">
          <ac:chgData name="EVELYNSM.YONG" userId="S::evelynsm.yong_gmail.com#ext#@risebcg.onmicrosoft.com::67a27a72-2420-4d38-b745-316a53f4b99a" providerId="AD" clId="Web-{0DBCE264-42AB-4E4D-92BD-92ADD1AB384F}" dt="2022-01-09T08:39:00.765" v="1597" actId="1076"/>
          <ac:picMkLst>
            <pc:docMk/>
            <pc:sldMk cId="3391215681" sldId="339"/>
            <ac:picMk id="248" creationId="{135B6FD8-8BD5-4DF6-A276-BDEEDFD924A2}"/>
          </ac:picMkLst>
        </pc:picChg>
        <pc:picChg chg="add mod">
          <ac:chgData name="EVELYNSM.YONG" userId="S::evelynsm.yong_gmail.com#ext#@risebcg.onmicrosoft.com::67a27a72-2420-4d38-b745-316a53f4b99a" providerId="AD" clId="Web-{0DBCE264-42AB-4E4D-92BD-92ADD1AB384F}" dt="2022-01-09T08:13:30.141" v="890" actId="1076"/>
          <ac:picMkLst>
            <pc:docMk/>
            <pc:sldMk cId="3391215681" sldId="339"/>
            <ac:picMk id="1727" creationId="{4F4925B4-226E-4CE5-9A48-DF473BE5B5F7}"/>
          </ac:picMkLst>
        </pc:picChg>
        <pc:picChg chg="add mod">
          <ac:chgData name="EVELYNSM.YONG" userId="S::evelynsm.yong_gmail.com#ext#@risebcg.onmicrosoft.com::67a27a72-2420-4d38-b745-316a53f4b99a" providerId="AD" clId="Web-{0DBCE264-42AB-4E4D-92BD-92ADD1AB384F}" dt="2022-01-09T08:14:50.674" v="904"/>
          <ac:picMkLst>
            <pc:docMk/>
            <pc:sldMk cId="3391215681" sldId="339"/>
            <ac:picMk id="3132" creationId="{BA0FB811-9988-4232-A46F-6EF4FC07AD2C}"/>
          </ac:picMkLst>
        </pc:picChg>
        <pc:picChg chg="add mod">
          <ac:chgData name="EVELYNSM.YONG" userId="S::evelynsm.yong_gmail.com#ext#@risebcg.onmicrosoft.com::67a27a72-2420-4d38-b745-316a53f4b99a" providerId="AD" clId="Web-{0DBCE264-42AB-4E4D-92BD-92ADD1AB384F}" dt="2022-01-09T08:27:29.298" v="1371" actId="1076"/>
          <ac:picMkLst>
            <pc:docMk/>
            <pc:sldMk cId="3391215681" sldId="339"/>
            <ac:picMk id="3133" creationId="{01E138E9-826C-4F51-97A8-242CE7FFD6DC}"/>
          </ac:picMkLst>
        </pc:picChg>
      </pc:sldChg>
      <pc:sldChg chg="addSp delSp modSp modNotes">
        <pc:chgData name="EVELYNSM.YONG" userId="S::evelynsm.yong_gmail.com#ext#@risebcg.onmicrosoft.com::67a27a72-2420-4d38-b745-316a53f4b99a" providerId="AD" clId="Web-{0DBCE264-42AB-4E4D-92BD-92ADD1AB384F}" dt="2022-01-09T08:43:52.020" v="1652"/>
        <pc:sldMkLst>
          <pc:docMk/>
          <pc:sldMk cId="4159389698" sldId="342"/>
        </pc:sldMkLst>
        <pc:spChg chg="mod">
          <ac:chgData name="EVELYNSM.YONG" userId="S::evelynsm.yong_gmail.com#ext#@risebcg.onmicrosoft.com::67a27a72-2420-4d38-b745-316a53f4b99a" providerId="AD" clId="Web-{0DBCE264-42AB-4E4D-92BD-92ADD1AB384F}" dt="2022-01-09T08:02:19.316" v="593" actId="20577"/>
          <ac:spMkLst>
            <pc:docMk/>
            <pc:sldMk cId="4159389698" sldId="342"/>
            <ac:spMk id="2" creationId="{080435EA-AD4F-4934-83BC-D5D53AFD93E9}"/>
          </ac:spMkLst>
        </pc:spChg>
        <pc:spChg chg="del mod">
          <ac:chgData name="EVELYNSM.YONG" userId="S::evelynsm.yong_gmail.com#ext#@risebcg.onmicrosoft.com::67a27a72-2420-4d38-b745-316a53f4b99a" providerId="AD" clId="Web-{0DBCE264-42AB-4E4D-92BD-92ADD1AB384F}" dt="2022-01-09T08:42:54.941" v="1642"/>
          <ac:spMkLst>
            <pc:docMk/>
            <pc:sldMk cId="4159389698" sldId="342"/>
            <ac:spMk id="3" creationId="{B28C9884-8065-4F65-A34B-525EA6731753}"/>
          </ac:spMkLst>
        </pc:spChg>
        <pc:spChg chg="mod">
          <ac:chgData name="EVELYNSM.YONG" userId="S::evelynsm.yong_gmail.com#ext#@risebcg.onmicrosoft.com::67a27a72-2420-4d38-b745-316a53f4b99a" providerId="AD" clId="Web-{0DBCE264-42AB-4E4D-92BD-92ADD1AB384F}" dt="2022-01-09T08:02:31.519" v="596" actId="1076"/>
          <ac:spMkLst>
            <pc:docMk/>
            <pc:sldMk cId="4159389698" sldId="342"/>
            <ac:spMk id="9" creationId="{E953D56B-E197-4EF3-86AC-EB83FF562830}"/>
          </ac:spMkLst>
        </pc:spChg>
        <pc:spChg chg="mod">
          <ac:chgData name="EVELYNSM.YONG" userId="S::evelynsm.yong_gmail.com#ext#@risebcg.onmicrosoft.com::67a27a72-2420-4d38-b745-316a53f4b99a" providerId="AD" clId="Web-{0DBCE264-42AB-4E4D-92BD-92ADD1AB384F}" dt="2022-01-09T08:02:31.535" v="597" actId="1076"/>
          <ac:spMkLst>
            <pc:docMk/>
            <pc:sldMk cId="4159389698" sldId="342"/>
            <ac:spMk id="10" creationId="{A949E116-7148-4CA9-A41F-83DB47255D80}"/>
          </ac:spMkLst>
        </pc:spChg>
        <pc:spChg chg="mod">
          <ac:chgData name="EVELYNSM.YONG" userId="S::evelynsm.yong_gmail.com#ext#@risebcg.onmicrosoft.com::67a27a72-2420-4d38-b745-316a53f4b99a" providerId="AD" clId="Web-{0DBCE264-42AB-4E4D-92BD-92ADD1AB384F}" dt="2022-01-09T08:02:31.535" v="598" actId="1076"/>
          <ac:spMkLst>
            <pc:docMk/>
            <pc:sldMk cId="4159389698" sldId="342"/>
            <ac:spMk id="12" creationId="{AAEC2426-37C0-4083-9090-89DDF94F295F}"/>
          </ac:spMkLst>
        </pc:spChg>
        <pc:picChg chg="add mod">
          <ac:chgData name="EVELYNSM.YONG" userId="S::evelynsm.yong_gmail.com#ext#@risebcg.onmicrosoft.com::67a27a72-2420-4d38-b745-316a53f4b99a" providerId="AD" clId="Web-{0DBCE264-42AB-4E4D-92BD-92ADD1AB384F}" dt="2022-01-09T08:07:59.573" v="662" actId="1076"/>
          <ac:picMkLst>
            <pc:docMk/>
            <pc:sldMk cId="4159389698" sldId="342"/>
            <ac:picMk id="4" creationId="{A250FD57-6309-4718-A617-85A0EA99B27E}"/>
          </ac:picMkLst>
        </pc:picChg>
        <pc:picChg chg="del">
          <ac:chgData name="EVELYNSM.YONG" userId="S::evelynsm.yong_gmail.com#ext#@risebcg.onmicrosoft.com::67a27a72-2420-4d38-b745-316a53f4b99a" providerId="AD" clId="Web-{0DBCE264-42AB-4E4D-92BD-92ADD1AB384F}" dt="2022-01-09T08:01:51.128" v="584"/>
          <ac:picMkLst>
            <pc:docMk/>
            <pc:sldMk cId="4159389698" sldId="342"/>
            <ac:picMk id="8" creationId="{6B01C6A5-3C80-4889-B1DA-40342676F95C}"/>
          </ac:picMkLst>
        </pc:picChg>
      </pc:sldChg>
      <pc:sldChg chg="addSp delSp modSp add ord replId modNotes">
        <pc:chgData name="EVELYNSM.YONG" userId="S::evelynsm.yong_gmail.com#ext#@risebcg.onmicrosoft.com::67a27a72-2420-4d38-b745-316a53f4b99a" providerId="AD" clId="Web-{0DBCE264-42AB-4E4D-92BD-92ADD1AB384F}" dt="2022-01-09T08:50:17.590" v="1731"/>
        <pc:sldMkLst>
          <pc:docMk/>
          <pc:sldMk cId="3531645893" sldId="360"/>
        </pc:sldMkLst>
        <pc:spChg chg="del mod">
          <ac:chgData name="EVELYNSM.YONG" userId="S::evelynsm.yong_gmail.com#ext#@risebcg.onmicrosoft.com::67a27a72-2420-4d38-b745-316a53f4b99a" providerId="AD" clId="Web-{0DBCE264-42AB-4E4D-92BD-92ADD1AB384F}" dt="2022-01-09T07:25:21.398" v="15"/>
          <ac:spMkLst>
            <pc:docMk/>
            <pc:sldMk cId="3531645893" sldId="360"/>
            <ac:spMk id="3" creationId="{23B5890E-3952-4DA3-84DC-3B5A3B209183}"/>
          </ac:spMkLst>
        </pc:spChg>
        <pc:spChg chg="del mod">
          <ac:chgData name="EVELYNSM.YONG" userId="S::evelynsm.yong_gmail.com#ext#@risebcg.onmicrosoft.com::67a27a72-2420-4d38-b745-316a53f4b99a" providerId="AD" clId="Web-{0DBCE264-42AB-4E4D-92BD-92ADD1AB384F}" dt="2022-01-09T07:31:55.390" v="104"/>
          <ac:spMkLst>
            <pc:docMk/>
            <pc:sldMk cId="3531645893" sldId="360"/>
            <ac:spMk id="5" creationId="{08DC735E-1A7F-457B-A1FA-9F4F07DCE495}"/>
          </ac:spMkLst>
        </pc:spChg>
        <pc:spChg chg="add del mod">
          <ac:chgData name="EVELYNSM.YONG" userId="S::evelynsm.yong_gmail.com#ext#@risebcg.onmicrosoft.com::67a27a72-2420-4d38-b745-316a53f4b99a" providerId="AD" clId="Web-{0DBCE264-42AB-4E4D-92BD-92ADD1AB384F}" dt="2022-01-09T07:28:44.762" v="33"/>
          <ac:spMkLst>
            <pc:docMk/>
            <pc:sldMk cId="3531645893" sldId="360"/>
            <ac:spMk id="7" creationId="{2815EE3A-DE5B-4853-A5A3-44EA9CB7FB72}"/>
          </ac:spMkLst>
        </pc:spChg>
        <pc:spChg chg="del">
          <ac:chgData name="EVELYNSM.YONG" userId="S::evelynsm.yong_gmail.com#ext#@risebcg.onmicrosoft.com::67a27a72-2420-4d38-b745-316a53f4b99a" providerId="AD" clId="Web-{0DBCE264-42AB-4E4D-92BD-92ADD1AB384F}" dt="2022-01-09T07:27:55.526" v="25"/>
          <ac:spMkLst>
            <pc:docMk/>
            <pc:sldMk cId="3531645893" sldId="360"/>
            <ac:spMk id="8" creationId="{E6878894-26B8-4852-BD38-B27ACA222FCF}"/>
          </ac:spMkLst>
        </pc:spChg>
        <pc:spChg chg="mod">
          <ac:chgData name="EVELYNSM.YONG" userId="S::evelynsm.yong_gmail.com#ext#@risebcg.onmicrosoft.com::67a27a72-2420-4d38-b745-316a53f4b99a" providerId="AD" clId="Web-{0DBCE264-42AB-4E4D-92BD-92ADD1AB384F}" dt="2022-01-09T08:42:10.222" v="1638" actId="1076"/>
          <ac:spMkLst>
            <pc:docMk/>
            <pc:sldMk cId="3531645893" sldId="360"/>
            <ac:spMk id="9" creationId="{E3C0B427-9E9D-47EC-AFD8-3D8F22D59FE9}"/>
          </ac:spMkLst>
        </pc:spChg>
        <pc:spChg chg="add del mod">
          <ac:chgData name="EVELYNSM.YONG" userId="S::evelynsm.yong_gmail.com#ext#@risebcg.onmicrosoft.com::67a27a72-2420-4d38-b745-316a53f4b99a" providerId="AD" clId="Web-{0DBCE264-42AB-4E4D-92BD-92ADD1AB384F}" dt="2022-01-09T07:28:06.776" v="28"/>
          <ac:spMkLst>
            <pc:docMk/>
            <pc:sldMk cId="3531645893" sldId="360"/>
            <ac:spMk id="11" creationId="{30E1C671-2DF3-4840-82BF-F7F319B54D12}"/>
          </ac:spMkLst>
        </pc:spChg>
        <pc:spChg chg="add del">
          <ac:chgData name="EVELYNSM.YONG" userId="S::evelynsm.yong_gmail.com#ext#@risebcg.onmicrosoft.com::67a27a72-2420-4d38-b745-316a53f4b99a" providerId="AD" clId="Web-{0DBCE264-42AB-4E4D-92BD-92ADD1AB384F}" dt="2022-01-09T07:28:03.370" v="27"/>
          <ac:spMkLst>
            <pc:docMk/>
            <pc:sldMk cId="3531645893" sldId="360"/>
            <ac:spMk id="13" creationId="{B4D29716-D0D1-43FE-97B8-BF09BAA4C286}"/>
          </ac:spMkLst>
        </pc:spChg>
        <pc:spChg chg="add mod">
          <ac:chgData name="EVELYNSM.YONG" userId="S::evelynsm.yong_gmail.com#ext#@risebcg.onmicrosoft.com::67a27a72-2420-4d38-b745-316a53f4b99a" providerId="AD" clId="Web-{0DBCE264-42AB-4E4D-92BD-92ADD1AB384F}" dt="2022-01-09T08:42:27.222" v="1640" actId="20577"/>
          <ac:spMkLst>
            <pc:docMk/>
            <pc:sldMk cId="3531645893" sldId="360"/>
            <ac:spMk id="15" creationId="{EA512C5C-B61E-4EDE-A2CD-308BFA2920DA}"/>
          </ac:spMkLst>
        </pc:spChg>
        <pc:spChg chg="add del">
          <ac:chgData name="EVELYNSM.YONG" userId="S::evelynsm.yong_gmail.com#ext#@risebcg.onmicrosoft.com::67a27a72-2420-4d38-b745-316a53f4b99a" providerId="AD" clId="Web-{0DBCE264-42AB-4E4D-92BD-92ADD1AB384F}" dt="2022-01-09T07:31:44.265" v="98"/>
          <ac:spMkLst>
            <pc:docMk/>
            <pc:sldMk cId="3531645893" sldId="360"/>
            <ac:spMk id="18" creationId="{302AC003-856C-43F3-817C-F3ADBC19B3F9}"/>
          </ac:spMkLst>
        </pc:spChg>
        <pc:spChg chg="add mod">
          <ac:chgData name="EVELYNSM.YONG" userId="S::evelynsm.yong_gmail.com#ext#@risebcg.onmicrosoft.com::67a27a72-2420-4d38-b745-316a53f4b99a" providerId="AD" clId="Web-{0DBCE264-42AB-4E4D-92BD-92ADD1AB384F}" dt="2022-01-09T08:44:39.881" v="1658" actId="20577"/>
          <ac:spMkLst>
            <pc:docMk/>
            <pc:sldMk cId="3531645893" sldId="360"/>
            <ac:spMk id="19" creationId="{950C64E7-6661-4AEA-8068-716AD3707128}"/>
          </ac:spMkLst>
        </pc:spChg>
        <pc:spChg chg="add mod">
          <ac:chgData name="EVELYNSM.YONG" userId="S::evelynsm.yong_gmail.com#ext#@risebcg.onmicrosoft.com::67a27a72-2420-4d38-b745-316a53f4b99a" providerId="AD" clId="Web-{0DBCE264-42AB-4E4D-92BD-92ADD1AB384F}" dt="2022-01-09T08:42:06.925" v="1637" actId="1076"/>
          <ac:spMkLst>
            <pc:docMk/>
            <pc:sldMk cId="3531645893" sldId="360"/>
            <ac:spMk id="20" creationId="{64A6A166-6CE6-41F0-99B2-FC47AF50CD6C}"/>
          </ac:spMkLst>
        </pc:spChg>
        <pc:spChg chg="add del">
          <ac:chgData name="EVELYNSM.YONG" userId="S::evelynsm.yong_gmail.com#ext#@risebcg.onmicrosoft.com::67a27a72-2420-4d38-b745-316a53f4b99a" providerId="AD" clId="Web-{0DBCE264-42AB-4E4D-92BD-92ADD1AB384F}" dt="2022-01-09T08:23:28.309" v="1180"/>
          <ac:spMkLst>
            <pc:docMk/>
            <pc:sldMk cId="3531645893" sldId="360"/>
            <ac:spMk id="21" creationId="{DDCF0E25-C841-4BB4-8301-97D3E7A8A3C6}"/>
          </ac:spMkLst>
        </pc:spChg>
        <pc:spChg chg="add mod">
          <ac:chgData name="EVELYNSM.YONG" userId="S::evelynsm.yong_gmail.com#ext#@risebcg.onmicrosoft.com::67a27a72-2420-4d38-b745-316a53f4b99a" providerId="AD" clId="Web-{0DBCE264-42AB-4E4D-92BD-92ADD1AB384F}" dt="2022-01-09T08:41:29.768" v="1629" actId="1076"/>
          <ac:spMkLst>
            <pc:docMk/>
            <pc:sldMk cId="3531645893" sldId="360"/>
            <ac:spMk id="22" creationId="{31E2D2F4-E28C-4B52-9C47-E50AD68240D1}"/>
          </ac:spMkLst>
        </pc:spChg>
        <pc:spChg chg="add mod">
          <ac:chgData name="EVELYNSM.YONG" userId="S::evelynsm.yong_gmail.com#ext#@risebcg.onmicrosoft.com::67a27a72-2420-4d38-b745-316a53f4b99a" providerId="AD" clId="Web-{0DBCE264-42AB-4E4D-92BD-92ADD1AB384F}" dt="2022-01-09T08:41:31.408" v="1630" actId="1076"/>
          <ac:spMkLst>
            <pc:docMk/>
            <pc:sldMk cId="3531645893" sldId="360"/>
            <ac:spMk id="23" creationId="{2E06316D-D669-4187-8235-1A4EE0D9868B}"/>
          </ac:spMkLst>
        </pc:spChg>
        <pc:spChg chg="add mod">
          <ac:chgData name="EVELYNSM.YONG" userId="S::evelynsm.yong_gmail.com#ext#@risebcg.onmicrosoft.com::67a27a72-2420-4d38-b745-316a53f4b99a" providerId="AD" clId="Web-{0DBCE264-42AB-4E4D-92BD-92ADD1AB384F}" dt="2022-01-09T08:42:00.924" v="1636" actId="1076"/>
          <ac:spMkLst>
            <pc:docMk/>
            <pc:sldMk cId="3531645893" sldId="360"/>
            <ac:spMk id="24" creationId="{CEFC4E90-FB9D-4E3E-86B1-5712D705BC99}"/>
          </ac:spMkLst>
        </pc:spChg>
        <pc:spChg chg="add del mod">
          <ac:chgData name="EVELYNSM.YONG" userId="S::evelynsm.yong_gmail.com#ext#@risebcg.onmicrosoft.com::67a27a72-2420-4d38-b745-316a53f4b99a" providerId="AD" clId="Web-{0DBCE264-42AB-4E4D-92BD-92ADD1AB384F}" dt="2022-01-09T08:46:17.320" v="1684"/>
          <ac:spMkLst>
            <pc:docMk/>
            <pc:sldMk cId="3531645893" sldId="360"/>
            <ac:spMk id="26" creationId="{01851DD6-8A06-4787-8FE0-84ADE7A5FCC8}"/>
          </ac:spMkLst>
        </pc:spChg>
        <pc:spChg chg="add del mod">
          <ac:chgData name="EVELYNSM.YONG" userId="S::evelynsm.yong_gmail.com#ext#@risebcg.onmicrosoft.com::67a27a72-2420-4d38-b745-316a53f4b99a" providerId="AD" clId="Web-{0DBCE264-42AB-4E4D-92BD-92ADD1AB384F}" dt="2022-01-09T08:48:42.809" v="1709"/>
          <ac:spMkLst>
            <pc:docMk/>
            <pc:sldMk cId="3531645893" sldId="360"/>
            <ac:spMk id="28" creationId="{1BAEA2D4-E3FF-40E8-B397-7058B14A45EA}"/>
          </ac:spMkLst>
        </pc:spChg>
        <pc:spChg chg="add mod">
          <ac:chgData name="EVELYNSM.YONG" userId="S::evelynsm.yong_gmail.com#ext#@risebcg.onmicrosoft.com::67a27a72-2420-4d38-b745-316a53f4b99a" providerId="AD" clId="Web-{0DBCE264-42AB-4E4D-92BD-92ADD1AB384F}" dt="2022-01-09T08:49:59.684" v="1730" actId="1076"/>
          <ac:spMkLst>
            <pc:docMk/>
            <pc:sldMk cId="3531645893" sldId="360"/>
            <ac:spMk id="38" creationId="{FEF91957-B410-48E7-A904-8D71259BC55D}"/>
          </ac:spMkLst>
        </pc:spChg>
        <pc:spChg chg="add">
          <ac:chgData name="EVELYNSM.YONG" userId="S::evelynsm.yong_gmail.com#ext#@risebcg.onmicrosoft.com::67a27a72-2420-4d38-b745-316a53f4b99a" providerId="AD" clId="Web-{0DBCE264-42AB-4E4D-92BD-92ADD1AB384F}" dt="2022-01-09T08:50:17.590" v="1731"/>
          <ac:spMkLst>
            <pc:docMk/>
            <pc:sldMk cId="3531645893" sldId="360"/>
            <ac:spMk id="39" creationId="{42DA18B2-FE72-46C2-A8F6-3AEF6644F2B4}"/>
          </ac:spMkLst>
        </pc:spChg>
        <pc:picChg chg="add mod">
          <ac:chgData name="EVELYNSM.YONG" userId="S::evelynsm.yong_gmail.com#ext#@risebcg.onmicrosoft.com::67a27a72-2420-4d38-b745-316a53f4b99a" providerId="AD" clId="Web-{0DBCE264-42AB-4E4D-92BD-92ADD1AB384F}" dt="2022-01-09T08:46:09.070" v="1682" actId="1076"/>
          <ac:picMkLst>
            <pc:docMk/>
            <pc:sldMk cId="3531645893" sldId="360"/>
            <ac:picMk id="2" creationId="{AEC58EF5-F1D5-4E20-B8B5-7FD65E79DF0C}"/>
          </ac:picMkLst>
        </pc:picChg>
        <pc:picChg chg="del">
          <ac:chgData name="EVELYNSM.YONG" userId="S::evelynsm.yong_gmail.com#ext#@risebcg.onmicrosoft.com::67a27a72-2420-4d38-b745-316a53f4b99a" providerId="AD" clId="Web-{0DBCE264-42AB-4E4D-92BD-92ADD1AB384F}" dt="2022-01-09T07:24:29.694" v="1"/>
          <ac:picMkLst>
            <pc:docMk/>
            <pc:sldMk cId="3531645893" sldId="360"/>
            <ac:picMk id="6" creationId="{AD827BB6-5A24-46DC-8558-895FE49292CC}"/>
          </ac:picMkLst>
        </pc:picChg>
        <pc:picChg chg="add mod">
          <ac:chgData name="EVELYNSM.YONG" userId="S::evelynsm.yong_gmail.com#ext#@risebcg.onmicrosoft.com::67a27a72-2420-4d38-b745-316a53f4b99a" providerId="AD" clId="Web-{0DBCE264-42AB-4E4D-92BD-92ADD1AB384F}" dt="2022-01-09T08:22:35.136" v="1157" actId="1076"/>
          <ac:picMkLst>
            <pc:docMk/>
            <pc:sldMk cId="3531645893" sldId="360"/>
            <ac:picMk id="17" creationId="{B8401525-B70B-4EFA-8C14-01EE9116C492}"/>
          </ac:picMkLst>
        </pc:picChg>
        <pc:inkChg chg="add del">
          <ac:chgData name="EVELYNSM.YONG" userId="S::evelynsm.yong_gmail.com#ext#@risebcg.onmicrosoft.com::67a27a72-2420-4d38-b745-316a53f4b99a" providerId="AD" clId="Web-{0DBCE264-42AB-4E4D-92BD-92ADD1AB384F}" dt="2022-01-09T08:49:02.104" v="1713"/>
          <ac:inkMkLst>
            <pc:docMk/>
            <pc:sldMk cId="3531645893" sldId="360"/>
            <ac:inkMk id="29" creationId="{19043256-5BCD-44DD-A697-D8C9D493A038}"/>
          </ac:inkMkLst>
        </pc:inkChg>
        <pc:inkChg chg="add del">
          <ac:chgData name="EVELYNSM.YONG" userId="S::evelynsm.yong_gmail.com#ext#@risebcg.onmicrosoft.com::67a27a72-2420-4d38-b745-316a53f4b99a" providerId="AD" clId="Web-{0DBCE264-42AB-4E4D-92BD-92ADD1AB384F}" dt="2022-01-09T08:49:00.979" v="1712"/>
          <ac:inkMkLst>
            <pc:docMk/>
            <pc:sldMk cId="3531645893" sldId="360"/>
            <ac:inkMk id="30" creationId="{C091B004-3345-4AF6-8D93-61FF806B0682}"/>
          </ac:inkMkLst>
        </pc:inkChg>
        <pc:inkChg chg="add del">
          <ac:chgData name="EVELYNSM.YONG" userId="S::evelynsm.yong_gmail.com#ext#@risebcg.onmicrosoft.com::67a27a72-2420-4d38-b745-316a53f4b99a" providerId="AD" clId="Web-{0DBCE264-42AB-4E4D-92BD-92ADD1AB384F}" dt="2022-01-09T08:49:05.370" v="1715"/>
          <ac:inkMkLst>
            <pc:docMk/>
            <pc:sldMk cId="3531645893" sldId="360"/>
            <ac:inkMk id="31" creationId="{52EDD93F-7077-42D7-B6B9-80C751559599}"/>
          </ac:inkMkLst>
        </pc:inkChg>
        <pc:inkChg chg="add del">
          <ac:chgData name="EVELYNSM.YONG" userId="S::evelynsm.yong_gmail.com#ext#@risebcg.onmicrosoft.com::67a27a72-2420-4d38-b745-316a53f4b99a" providerId="AD" clId="Web-{0DBCE264-42AB-4E4D-92BD-92ADD1AB384F}" dt="2022-01-09T08:49:15.136" v="1719"/>
          <ac:inkMkLst>
            <pc:docMk/>
            <pc:sldMk cId="3531645893" sldId="360"/>
            <ac:inkMk id="32" creationId="{5557D70F-50A9-4458-BBF7-3FC42F08D80C}"/>
          </ac:inkMkLst>
        </pc:inkChg>
        <pc:inkChg chg="add del">
          <ac:chgData name="EVELYNSM.YONG" userId="S::evelynsm.yong_gmail.com#ext#@risebcg.onmicrosoft.com::67a27a72-2420-4d38-b745-316a53f4b99a" providerId="AD" clId="Web-{0DBCE264-42AB-4E4D-92BD-92ADD1AB384F}" dt="2022-01-09T08:49:13.964" v="1718"/>
          <ac:inkMkLst>
            <pc:docMk/>
            <pc:sldMk cId="3531645893" sldId="360"/>
            <ac:inkMk id="33" creationId="{26B3D837-805E-4AE3-BBC9-B78C9AFD96EF}"/>
          </ac:inkMkLst>
        </pc:inkChg>
        <pc:inkChg chg="add del">
          <ac:chgData name="EVELYNSM.YONG" userId="S::evelynsm.yong_gmail.com#ext#@risebcg.onmicrosoft.com::67a27a72-2420-4d38-b745-316a53f4b99a" providerId="AD" clId="Web-{0DBCE264-42AB-4E4D-92BD-92ADD1AB384F}" dt="2022-01-09T08:49:20.464" v="1721"/>
          <ac:inkMkLst>
            <pc:docMk/>
            <pc:sldMk cId="3531645893" sldId="360"/>
            <ac:inkMk id="34" creationId="{BBE130FF-2D40-4A3C-8792-312A0E679454}"/>
          </ac:inkMkLst>
        </pc:inkChg>
        <pc:inkChg chg="add del">
          <ac:chgData name="EVELYNSM.YONG" userId="S::evelynsm.yong_gmail.com#ext#@risebcg.onmicrosoft.com::67a27a72-2420-4d38-b745-316a53f4b99a" providerId="AD" clId="Web-{0DBCE264-42AB-4E4D-92BD-92ADD1AB384F}" dt="2022-01-09T08:49:23.855" v="1723"/>
          <ac:inkMkLst>
            <pc:docMk/>
            <pc:sldMk cId="3531645893" sldId="360"/>
            <ac:inkMk id="35" creationId="{6EF98B3C-9B16-42E0-A9C2-4A96E0FF5BCB}"/>
          </ac:inkMkLst>
        </pc:inkChg>
        <pc:inkChg chg="add del">
          <ac:chgData name="EVELYNSM.YONG" userId="S::evelynsm.yong_gmail.com#ext#@risebcg.onmicrosoft.com::67a27a72-2420-4d38-b745-316a53f4b99a" providerId="AD" clId="Web-{0DBCE264-42AB-4E4D-92BD-92ADD1AB384F}" dt="2022-01-09T08:49:34.105" v="1727"/>
          <ac:inkMkLst>
            <pc:docMk/>
            <pc:sldMk cId="3531645893" sldId="360"/>
            <ac:inkMk id="36" creationId="{FA21F0D2-39BB-4469-AC55-0083FE26EFA9}"/>
          </ac:inkMkLst>
        </pc:inkChg>
        <pc:inkChg chg="add del">
          <ac:chgData name="EVELYNSM.YONG" userId="S::evelynsm.yong_gmail.com#ext#@risebcg.onmicrosoft.com::67a27a72-2420-4d38-b745-316a53f4b99a" providerId="AD" clId="Web-{0DBCE264-42AB-4E4D-92BD-92ADD1AB384F}" dt="2022-01-09T08:49:30.121" v="1726"/>
          <ac:inkMkLst>
            <pc:docMk/>
            <pc:sldMk cId="3531645893" sldId="360"/>
            <ac:inkMk id="37" creationId="{7BF14B9B-9DF3-44E7-9D07-D7344C3B85A6}"/>
          </ac:inkMkLst>
        </pc:inkChg>
        <pc:cxnChg chg="add del mod">
          <ac:chgData name="EVELYNSM.YONG" userId="S::evelynsm.yong_gmail.com#ext#@risebcg.onmicrosoft.com::67a27a72-2420-4d38-b745-316a53f4b99a" providerId="AD" clId="Web-{0DBCE264-42AB-4E4D-92BD-92ADD1AB384F}" dt="2022-01-09T08:44:55.240" v="1662"/>
          <ac:cxnSpMkLst>
            <pc:docMk/>
            <pc:sldMk cId="3531645893" sldId="360"/>
            <ac:cxnSpMk id="25" creationId="{0F5B622B-9270-4A90-BF2C-00884AA3CB24}"/>
          </ac:cxnSpMkLst>
        </pc:cxnChg>
        <pc:cxnChg chg="add del mod">
          <ac:chgData name="EVELYNSM.YONG" userId="S::evelynsm.yong_gmail.com#ext#@risebcg.onmicrosoft.com::67a27a72-2420-4d38-b745-316a53f4b99a" providerId="AD" clId="Web-{0DBCE264-42AB-4E4D-92BD-92ADD1AB384F}" dt="2022-01-09T08:47:21.509" v="1694"/>
          <ac:cxnSpMkLst>
            <pc:docMk/>
            <pc:sldMk cId="3531645893" sldId="360"/>
            <ac:cxnSpMk id="27" creationId="{9F031AF3-3BC7-4863-AE70-C7E89B357EA0}"/>
          </ac:cxnSpMkLst>
        </pc:cxnChg>
      </pc:sldChg>
    </pc:docChg>
  </pc:docChgLst>
  <pc:docChgLst>
    <pc:chgData name="WONGYONGLIN91" userId="S::wongyonglin91_gmail.com#ext#@risebcg.onmicrosoft.com::b2d94f93-e580-4f0d-9dda-2138509d25ae" providerId="AD" clId="Web-{C6B74C6D-491E-41E5-B73F-A02C1ED83FFA}"/>
    <pc:docChg chg="modSld">
      <pc:chgData name="WONGYONGLIN91" userId="S::wongyonglin91_gmail.com#ext#@risebcg.onmicrosoft.com::b2d94f93-e580-4f0d-9dda-2138509d25ae" providerId="AD" clId="Web-{C6B74C6D-491E-41E5-B73F-A02C1ED83FFA}" dt="2022-01-09T08:32:09.601" v="164"/>
      <pc:docMkLst>
        <pc:docMk/>
      </pc:docMkLst>
      <pc:sldChg chg="addSp delSp modSp">
        <pc:chgData name="WONGYONGLIN91" userId="S::wongyonglin91_gmail.com#ext#@risebcg.onmicrosoft.com::b2d94f93-e580-4f0d-9dda-2138509d25ae" providerId="AD" clId="Web-{C6B74C6D-491E-41E5-B73F-A02C1ED83FFA}" dt="2022-01-09T08:32:09.601" v="164"/>
        <pc:sldMkLst>
          <pc:docMk/>
          <pc:sldMk cId="3391215681" sldId="339"/>
        </pc:sldMkLst>
        <pc:spChg chg="mod">
          <ac:chgData name="WONGYONGLIN91" userId="S::wongyonglin91_gmail.com#ext#@risebcg.onmicrosoft.com::b2d94f93-e580-4f0d-9dda-2138509d25ae" providerId="AD" clId="Web-{C6B74C6D-491E-41E5-B73F-A02C1ED83FFA}" dt="2022-01-09T07:44:52.570" v="131" actId="20577"/>
          <ac:spMkLst>
            <pc:docMk/>
            <pc:sldMk cId="3391215681" sldId="339"/>
            <ac:spMk id="160" creationId="{129EBF9C-3DCE-40EC-8CFB-1CB201B252BE}"/>
          </ac:spMkLst>
        </pc:spChg>
        <pc:picChg chg="add del mod">
          <ac:chgData name="WONGYONGLIN91" userId="S::wongyonglin91_gmail.com#ext#@risebcg.onmicrosoft.com::b2d94f93-e580-4f0d-9dda-2138509d25ae" providerId="AD" clId="Web-{C6B74C6D-491E-41E5-B73F-A02C1ED83FFA}" dt="2022-01-09T08:32:09.601" v="164"/>
          <ac:picMkLst>
            <pc:docMk/>
            <pc:sldMk cId="3391215681" sldId="339"/>
            <ac:picMk id="3194" creationId="{D4A0E8E6-C6FE-4F6C-8A47-D508562A3090}"/>
          </ac:picMkLst>
        </pc:picChg>
        <pc:inkChg chg="add del">
          <ac:chgData name="WONGYONGLIN91" userId="S::wongyonglin91_gmail.com#ext#@risebcg.onmicrosoft.com::b2d94f93-e580-4f0d-9dda-2138509d25ae" providerId="AD" clId="Web-{C6B74C6D-491E-41E5-B73F-A02C1ED83FFA}" dt="2022-01-09T07:45:34.384" v="142"/>
          <ac:inkMkLst>
            <pc:docMk/>
            <pc:sldMk cId="3391215681" sldId="339"/>
            <ac:inkMk id="3020" creationId="{34A32C8C-6797-46B9-A8EB-15C533EBE5A9}"/>
          </ac:inkMkLst>
        </pc:inkChg>
        <pc:inkChg chg="add del">
          <ac:chgData name="WONGYONGLIN91" userId="S::wongyonglin91_gmail.com#ext#@risebcg.onmicrosoft.com::b2d94f93-e580-4f0d-9dda-2138509d25ae" providerId="AD" clId="Web-{C6B74C6D-491E-41E5-B73F-A02C1ED83FFA}" dt="2022-01-09T07:45:36.540" v="147"/>
          <ac:inkMkLst>
            <pc:docMk/>
            <pc:sldMk cId="3391215681" sldId="339"/>
            <ac:inkMk id="3038" creationId="{19A6B60C-E6EB-4D3E-ABD1-AA4B81E0BF12}"/>
          </ac:inkMkLst>
        </pc:inkChg>
        <pc:inkChg chg="add del">
          <ac:chgData name="WONGYONGLIN91" userId="S::wongyonglin91_gmail.com#ext#@risebcg.onmicrosoft.com::b2d94f93-e580-4f0d-9dda-2138509d25ae" providerId="AD" clId="Web-{C6B74C6D-491E-41E5-B73F-A02C1ED83FFA}" dt="2022-01-09T07:45:34.884" v="143"/>
          <ac:inkMkLst>
            <pc:docMk/>
            <pc:sldMk cId="3391215681" sldId="339"/>
            <ac:inkMk id="3039" creationId="{811A4DAE-D128-4BF1-BBA6-0C4E3DE6F774}"/>
          </ac:inkMkLst>
        </pc:inkChg>
        <pc:inkChg chg="add del">
          <ac:chgData name="WONGYONGLIN91" userId="S::wongyonglin91_gmail.com#ext#@risebcg.onmicrosoft.com::b2d94f93-e580-4f0d-9dda-2138509d25ae" providerId="AD" clId="Web-{C6B74C6D-491E-41E5-B73F-A02C1ED83FFA}" dt="2022-01-09T07:45:34.384" v="141"/>
          <ac:inkMkLst>
            <pc:docMk/>
            <pc:sldMk cId="3391215681" sldId="339"/>
            <ac:inkMk id="3040" creationId="{EA121CB6-EC4E-4BAB-B8DE-F73977D5534E}"/>
          </ac:inkMkLst>
        </pc:inkChg>
        <pc:inkChg chg="add del">
          <ac:chgData name="WONGYONGLIN91" userId="S::wongyonglin91_gmail.com#ext#@risebcg.onmicrosoft.com::b2d94f93-e580-4f0d-9dda-2138509d25ae" providerId="AD" clId="Web-{C6B74C6D-491E-41E5-B73F-A02C1ED83FFA}" dt="2022-01-09T07:45:34.384" v="140"/>
          <ac:inkMkLst>
            <pc:docMk/>
            <pc:sldMk cId="3391215681" sldId="339"/>
            <ac:inkMk id="3041" creationId="{7326D55F-C5A6-4F9A-A556-52949139B5B8}"/>
          </ac:inkMkLst>
        </pc:inkChg>
        <pc:inkChg chg="add del">
          <ac:chgData name="WONGYONGLIN91" userId="S::wongyonglin91_gmail.com#ext#@risebcg.onmicrosoft.com::b2d94f93-e580-4f0d-9dda-2138509d25ae" providerId="AD" clId="Web-{C6B74C6D-491E-41E5-B73F-A02C1ED83FFA}" dt="2022-01-09T07:45:35.446" v="145"/>
          <ac:inkMkLst>
            <pc:docMk/>
            <pc:sldMk cId="3391215681" sldId="339"/>
            <ac:inkMk id="3042" creationId="{D9DF966D-3159-4FCC-9560-969DCB84E98C}"/>
          </ac:inkMkLst>
        </pc:inkChg>
        <pc:inkChg chg="add del">
          <ac:chgData name="WONGYONGLIN91" userId="S::wongyonglin91_gmail.com#ext#@risebcg.onmicrosoft.com::b2d94f93-e580-4f0d-9dda-2138509d25ae" providerId="AD" clId="Web-{C6B74C6D-491E-41E5-B73F-A02C1ED83FFA}" dt="2022-01-09T07:45:35.446" v="144"/>
          <ac:inkMkLst>
            <pc:docMk/>
            <pc:sldMk cId="3391215681" sldId="339"/>
            <ac:inkMk id="3043" creationId="{833FEF53-3C21-40A1-A0BC-7921998FEF2E}"/>
          </ac:inkMkLst>
        </pc:inkChg>
        <pc:inkChg chg="add del">
          <ac:chgData name="WONGYONGLIN91" userId="S::wongyonglin91_gmail.com#ext#@risebcg.onmicrosoft.com::b2d94f93-e580-4f0d-9dda-2138509d25ae" providerId="AD" clId="Web-{C6B74C6D-491E-41E5-B73F-A02C1ED83FFA}" dt="2022-01-09T07:45:35.618" v="146"/>
          <ac:inkMkLst>
            <pc:docMk/>
            <pc:sldMk cId="3391215681" sldId="339"/>
            <ac:inkMk id="3044" creationId="{0BFFA006-0A42-474C-8E3C-112731733D28}"/>
          </ac:inkMkLst>
        </pc:inkChg>
        <pc:inkChg chg="add del">
          <ac:chgData name="WONGYONGLIN91" userId="S::wongyonglin91_gmail.com#ext#@risebcg.onmicrosoft.com::b2d94f93-e580-4f0d-9dda-2138509d25ae" providerId="AD" clId="Web-{C6B74C6D-491E-41E5-B73F-A02C1ED83FFA}" dt="2022-01-09T07:46:09.650" v="149"/>
          <ac:inkMkLst>
            <pc:docMk/>
            <pc:sldMk cId="3391215681" sldId="339"/>
            <ac:inkMk id="3062" creationId="{031403EA-9769-459E-96D3-2F5BD546E543}"/>
          </ac:inkMkLst>
        </pc:inkChg>
      </pc:sldChg>
      <pc:sldChg chg="modSp">
        <pc:chgData name="WONGYONGLIN91" userId="S::wongyonglin91_gmail.com#ext#@risebcg.onmicrosoft.com::b2d94f93-e580-4f0d-9dda-2138509d25ae" providerId="AD" clId="Web-{C6B74C6D-491E-41E5-B73F-A02C1ED83FFA}" dt="2022-01-09T07:35:15.162" v="57" actId="20577"/>
        <pc:sldMkLst>
          <pc:docMk/>
          <pc:sldMk cId="3971465157" sldId="345"/>
        </pc:sldMkLst>
        <pc:spChg chg="mod">
          <ac:chgData name="WONGYONGLIN91" userId="S::wongyonglin91_gmail.com#ext#@risebcg.onmicrosoft.com::b2d94f93-e580-4f0d-9dda-2138509d25ae" providerId="AD" clId="Web-{C6B74C6D-491E-41E5-B73F-A02C1ED83FFA}" dt="2022-01-09T07:35:15.162" v="57" actId="20577"/>
          <ac:spMkLst>
            <pc:docMk/>
            <pc:sldMk cId="3971465157" sldId="345"/>
            <ac:spMk id="2" creationId="{ED14AA63-35D8-4136-8B2F-DE1837A583A2}"/>
          </ac:spMkLst>
        </pc:spChg>
      </pc:sldChg>
      <pc:sldChg chg="modSp">
        <pc:chgData name="WONGYONGLIN91" userId="S::wongyonglin91_gmail.com#ext#@risebcg.onmicrosoft.com::b2d94f93-e580-4f0d-9dda-2138509d25ae" providerId="AD" clId="Web-{C6B74C6D-491E-41E5-B73F-A02C1ED83FFA}" dt="2022-01-09T07:35:18.834" v="67" actId="20577"/>
        <pc:sldMkLst>
          <pc:docMk/>
          <pc:sldMk cId="2149037765" sldId="346"/>
        </pc:sldMkLst>
        <pc:spChg chg="mod">
          <ac:chgData name="WONGYONGLIN91" userId="S::wongyonglin91_gmail.com#ext#@risebcg.onmicrosoft.com::b2d94f93-e580-4f0d-9dda-2138509d25ae" providerId="AD" clId="Web-{C6B74C6D-491E-41E5-B73F-A02C1ED83FFA}" dt="2022-01-09T07:35:18.834" v="67" actId="20577"/>
          <ac:spMkLst>
            <pc:docMk/>
            <pc:sldMk cId="2149037765" sldId="346"/>
            <ac:spMk id="2" creationId="{ED14AA63-35D8-4136-8B2F-DE1837A583A2}"/>
          </ac:spMkLst>
        </pc:spChg>
      </pc:sldChg>
      <pc:sldChg chg="modSp modNotes">
        <pc:chgData name="WONGYONGLIN91" userId="S::wongyonglin91_gmail.com#ext#@risebcg.onmicrosoft.com::b2d94f93-e580-4f0d-9dda-2138509d25ae" providerId="AD" clId="Web-{C6B74C6D-491E-41E5-B73F-A02C1ED83FFA}" dt="2022-01-09T08:24:27.412" v="162"/>
        <pc:sldMkLst>
          <pc:docMk/>
          <pc:sldMk cId="1894441827" sldId="358"/>
        </pc:sldMkLst>
        <pc:spChg chg="mod">
          <ac:chgData name="WONGYONGLIN91" userId="S::wongyonglin91_gmail.com#ext#@risebcg.onmicrosoft.com::b2d94f93-e580-4f0d-9dda-2138509d25ae" providerId="AD" clId="Web-{C6B74C6D-491E-41E5-B73F-A02C1ED83FFA}" dt="2022-01-09T07:14:20.587" v="42" actId="20577"/>
          <ac:spMkLst>
            <pc:docMk/>
            <pc:sldMk cId="1894441827" sldId="358"/>
            <ac:spMk id="17" creationId="{815F3179-193A-4F5E-A1A9-12297C608458}"/>
          </ac:spMkLst>
        </pc:spChg>
        <pc:picChg chg="mod">
          <ac:chgData name="WONGYONGLIN91" userId="S::wongyonglin91_gmail.com#ext#@risebcg.onmicrosoft.com::b2d94f93-e580-4f0d-9dda-2138509d25ae" providerId="AD" clId="Web-{C6B74C6D-491E-41E5-B73F-A02C1ED83FFA}" dt="2022-01-09T07:34:09.065" v="43" actId="14100"/>
          <ac:picMkLst>
            <pc:docMk/>
            <pc:sldMk cId="1894441827" sldId="358"/>
            <ac:picMk id="6" creationId="{5F5024CD-EB7B-49D0-9E4B-B6BFDC4F5683}"/>
          </ac:picMkLst>
        </pc:picChg>
      </pc:sldChg>
    </pc:docChg>
  </pc:docChgLst>
  <pc:docChgLst>
    <pc:chgData name="EVELYNSM.YONG" userId="S::evelynsm.yong_gmail.com#ext#@risebcg.onmicrosoft.com::67a27a72-2420-4d38-b745-316a53f4b99a" providerId="AD" clId="Web-{55682CF0-600E-4A1C-988E-B1F5D773606E}"/>
    <pc:docChg chg="addSld modSld">
      <pc:chgData name="EVELYNSM.YONG" userId="S::evelynsm.yong_gmail.com#ext#@risebcg.onmicrosoft.com::67a27a72-2420-4d38-b745-316a53f4b99a" providerId="AD" clId="Web-{55682CF0-600E-4A1C-988E-B1F5D773606E}" dt="2022-01-10T07:13:01.522" v="221" actId="20577"/>
      <pc:docMkLst>
        <pc:docMk/>
      </pc:docMkLst>
      <pc:sldChg chg="addSp delSp">
        <pc:chgData name="EVELYNSM.YONG" userId="S::evelynsm.yong_gmail.com#ext#@risebcg.onmicrosoft.com::67a27a72-2420-4d38-b745-316a53f4b99a" providerId="AD" clId="Web-{55682CF0-600E-4A1C-988E-B1F5D773606E}" dt="2022-01-10T07:01:11.614" v="7"/>
        <pc:sldMkLst>
          <pc:docMk/>
          <pc:sldMk cId="2256265757" sldId="315"/>
        </pc:sldMkLst>
        <pc:graphicFrameChg chg="add del">
          <ac:chgData name="EVELYNSM.YONG" userId="S::evelynsm.yong_gmail.com#ext#@risebcg.onmicrosoft.com::67a27a72-2420-4d38-b745-316a53f4b99a" providerId="AD" clId="Web-{55682CF0-600E-4A1C-988E-B1F5D773606E}" dt="2022-01-10T07:01:11.614" v="7"/>
          <ac:graphicFrameMkLst>
            <pc:docMk/>
            <pc:sldMk cId="2256265757" sldId="315"/>
            <ac:graphicFrameMk id="38" creationId="{78554BF9-B2D3-4C2F-9370-17C6A071473A}"/>
          </ac:graphicFrameMkLst>
        </pc:graphicFrameChg>
      </pc:sldChg>
      <pc:sldChg chg="modNotes">
        <pc:chgData name="EVELYNSM.YONG" userId="S::evelynsm.yong_gmail.com#ext#@risebcg.onmicrosoft.com::67a27a72-2420-4d38-b745-316a53f4b99a" providerId="AD" clId="Web-{55682CF0-600E-4A1C-988E-B1F5D773606E}" dt="2022-01-10T07:03:26.258" v="17"/>
        <pc:sldMkLst>
          <pc:docMk/>
          <pc:sldMk cId="2652119032" sldId="335"/>
        </pc:sldMkLst>
      </pc:sldChg>
      <pc:sldChg chg="addSp modSp modNotes">
        <pc:chgData name="EVELYNSM.YONG" userId="S::evelynsm.yong_gmail.com#ext#@risebcg.onmicrosoft.com::67a27a72-2420-4d38-b745-316a53f4b99a" providerId="AD" clId="Web-{55682CF0-600E-4A1C-988E-B1F5D773606E}" dt="2022-01-10T07:08:45.375" v="159" actId="14100"/>
        <pc:sldMkLst>
          <pc:docMk/>
          <pc:sldMk cId="3391215681" sldId="339"/>
        </pc:sldMkLst>
        <pc:grpChg chg="mod">
          <ac:chgData name="EVELYNSM.YONG" userId="S::evelynsm.yong_gmail.com#ext#@risebcg.onmicrosoft.com::67a27a72-2420-4d38-b745-316a53f4b99a" providerId="AD" clId="Web-{55682CF0-600E-4A1C-988E-B1F5D773606E}" dt="2022-01-10T07:04:30.072" v="33" actId="1076"/>
          <ac:grpSpMkLst>
            <pc:docMk/>
            <pc:sldMk cId="3391215681" sldId="339"/>
            <ac:grpSpMk id="417" creationId="{3422634B-E74A-464E-8891-948490F63923}"/>
          </ac:grpSpMkLst>
        </pc:grpChg>
        <pc:graphicFrameChg chg="modGraphic">
          <ac:chgData name="EVELYNSM.YONG" userId="S::evelynsm.yong_gmail.com#ext#@risebcg.onmicrosoft.com::67a27a72-2420-4d38-b745-316a53f4b99a" providerId="AD" clId="Web-{55682CF0-600E-4A1C-988E-B1F5D773606E}" dt="2022-01-10T07:07:38.296" v="154" actId="20577"/>
          <ac:graphicFrameMkLst>
            <pc:docMk/>
            <pc:sldMk cId="3391215681" sldId="339"/>
            <ac:graphicFrameMk id="28" creationId="{9D58B7B4-DE29-4DDF-BB8A-729D2B705659}"/>
          </ac:graphicFrameMkLst>
        </pc:graphicFrameChg>
        <pc:picChg chg="mod">
          <ac:chgData name="EVELYNSM.YONG" userId="S::evelynsm.yong_gmail.com#ext#@risebcg.onmicrosoft.com::67a27a72-2420-4d38-b745-316a53f4b99a" providerId="AD" clId="Web-{55682CF0-600E-4A1C-988E-B1F5D773606E}" dt="2022-01-10T07:04:32.525" v="34" actId="1076"/>
          <ac:picMkLst>
            <pc:docMk/>
            <pc:sldMk cId="3391215681" sldId="339"/>
            <ac:picMk id="107" creationId="{02601E91-3DEE-4781-ACC9-2A3154DCC85D}"/>
          </ac:picMkLst>
        </pc:picChg>
        <pc:picChg chg="mod">
          <ac:chgData name="EVELYNSM.YONG" userId="S::evelynsm.yong_gmail.com#ext#@risebcg.onmicrosoft.com::67a27a72-2420-4d38-b745-316a53f4b99a" providerId="AD" clId="Web-{55682CF0-600E-4A1C-988E-B1F5D773606E}" dt="2022-01-10T07:04:34.588" v="35" actId="1076"/>
          <ac:picMkLst>
            <pc:docMk/>
            <pc:sldMk cId="3391215681" sldId="339"/>
            <ac:picMk id="108" creationId="{590458A9-D7D6-4978-B569-22D281AE5CF2}"/>
          </ac:picMkLst>
        </pc:picChg>
        <pc:picChg chg="mod">
          <ac:chgData name="EVELYNSM.YONG" userId="S::evelynsm.yong_gmail.com#ext#@risebcg.onmicrosoft.com::67a27a72-2420-4d38-b745-316a53f4b99a" providerId="AD" clId="Web-{55682CF0-600E-4A1C-988E-B1F5D773606E}" dt="2022-01-10T07:04:37.197" v="36" actId="1076"/>
          <ac:picMkLst>
            <pc:docMk/>
            <pc:sldMk cId="3391215681" sldId="339"/>
            <ac:picMk id="127" creationId="{50C2EFDE-AE92-48A3-8F2F-DEC4BC518951}"/>
          </ac:picMkLst>
        </pc:picChg>
        <pc:picChg chg="add mod">
          <ac:chgData name="EVELYNSM.YONG" userId="S::evelynsm.yong_gmail.com#ext#@risebcg.onmicrosoft.com::67a27a72-2420-4d38-b745-316a53f4b99a" providerId="AD" clId="Web-{55682CF0-600E-4A1C-988E-B1F5D773606E}" dt="2022-01-10T07:08:45.375" v="159" actId="14100"/>
          <ac:picMkLst>
            <pc:docMk/>
            <pc:sldMk cId="3391215681" sldId="339"/>
            <ac:picMk id="5328" creationId="{79187648-B5C6-4EDC-88C1-489201FB6DA0}"/>
          </ac:picMkLst>
        </pc:picChg>
      </pc:sldChg>
      <pc:sldChg chg="modSp modNotes">
        <pc:chgData name="EVELYNSM.YONG" userId="S::evelynsm.yong_gmail.com#ext#@risebcg.onmicrosoft.com::67a27a72-2420-4d38-b745-316a53f4b99a" providerId="AD" clId="Web-{55682CF0-600E-4A1C-988E-B1F5D773606E}" dt="2022-01-10T07:10:16.534" v="171" actId="1076"/>
        <pc:sldMkLst>
          <pc:docMk/>
          <pc:sldMk cId="3531645893" sldId="360"/>
        </pc:sldMkLst>
        <pc:spChg chg="mod">
          <ac:chgData name="EVELYNSM.YONG" userId="S::evelynsm.yong_gmail.com#ext#@risebcg.onmicrosoft.com::67a27a72-2420-4d38-b745-316a53f4b99a" providerId="AD" clId="Web-{55682CF0-600E-4A1C-988E-B1F5D773606E}" dt="2022-01-10T07:10:16.518" v="170" actId="1076"/>
          <ac:spMkLst>
            <pc:docMk/>
            <pc:sldMk cId="3531645893" sldId="360"/>
            <ac:spMk id="5" creationId="{1999C9A4-8C8B-43CC-B77D-B8C58575D4DE}"/>
          </ac:spMkLst>
        </pc:spChg>
        <pc:spChg chg="mod">
          <ac:chgData name="EVELYNSM.YONG" userId="S::evelynsm.yong_gmail.com#ext#@risebcg.onmicrosoft.com::67a27a72-2420-4d38-b745-316a53f4b99a" providerId="AD" clId="Web-{55682CF0-600E-4A1C-988E-B1F5D773606E}" dt="2022-01-10T07:10:16.534" v="171" actId="1076"/>
          <ac:spMkLst>
            <pc:docMk/>
            <pc:sldMk cId="3531645893" sldId="360"/>
            <ac:spMk id="19" creationId="{950C64E7-6661-4AEA-8068-716AD3707128}"/>
          </ac:spMkLst>
        </pc:spChg>
        <pc:picChg chg="mod">
          <ac:chgData name="EVELYNSM.YONG" userId="S::evelynsm.yong_gmail.com#ext#@risebcg.onmicrosoft.com::67a27a72-2420-4d38-b745-316a53f4b99a" providerId="AD" clId="Web-{55682CF0-600E-4A1C-988E-B1F5D773606E}" dt="2022-01-10T07:10:16.503" v="169" actId="1076"/>
          <ac:picMkLst>
            <pc:docMk/>
            <pc:sldMk cId="3531645893" sldId="360"/>
            <ac:picMk id="6" creationId="{EF6EAEC0-2A43-4308-9642-0428A55E7A00}"/>
          </ac:picMkLst>
        </pc:picChg>
      </pc:sldChg>
      <pc:sldChg chg="addSp delSp modSp add replId">
        <pc:chgData name="EVELYNSM.YONG" userId="S::evelynsm.yong_gmail.com#ext#@risebcg.onmicrosoft.com::67a27a72-2420-4d38-b745-316a53f4b99a" providerId="AD" clId="Web-{55682CF0-600E-4A1C-988E-B1F5D773606E}" dt="2022-01-10T07:13:01.522" v="221" actId="20577"/>
        <pc:sldMkLst>
          <pc:docMk/>
          <pc:sldMk cId="2388905158" sldId="370"/>
        </pc:sldMkLst>
        <pc:graphicFrameChg chg="del">
          <ac:chgData name="EVELYNSM.YONG" userId="S::evelynsm.yong_gmail.com#ext#@risebcg.onmicrosoft.com::67a27a72-2420-4d38-b745-316a53f4b99a" providerId="AD" clId="Web-{55682CF0-600E-4A1C-988E-B1F5D773606E}" dt="2022-01-10T07:01:01.630" v="5"/>
          <ac:graphicFrameMkLst>
            <pc:docMk/>
            <pc:sldMk cId="2388905158" sldId="370"/>
            <ac:graphicFrameMk id="18" creationId="{2289CFB1-4EE4-43EC-A8B5-4E5FC402B3C5}"/>
          </ac:graphicFrameMkLst>
        </pc:graphicFrameChg>
        <pc:graphicFrameChg chg="add del mod modGraphic">
          <ac:chgData name="EVELYNSM.YONG" userId="S::evelynsm.yong_gmail.com#ext#@risebcg.onmicrosoft.com::67a27a72-2420-4d38-b745-316a53f4b99a" providerId="AD" clId="Web-{55682CF0-600E-4A1C-988E-B1F5D773606E}" dt="2022-01-10T07:13:01.522" v="221" actId="20577"/>
          <ac:graphicFrameMkLst>
            <pc:docMk/>
            <pc:sldMk cId="2388905158" sldId="370"/>
            <ac:graphicFrameMk id="38" creationId="{78554BF9-B2D3-4C2F-9370-17C6A071473A}"/>
          </ac:graphicFrameMkLst>
        </pc:graphicFrameChg>
      </pc:sldChg>
    </pc:docChg>
  </pc:docChgLst>
  <pc:docChgLst>
    <pc:chgData name="EVELYNSM.YONG" userId="S::evelynsm.yong_gmail.com#ext#@risebcg.onmicrosoft.com::67a27a72-2420-4d38-b745-316a53f4b99a" providerId="AD" clId="Web-{B7065643-81CF-4785-A43E-F7F8964C8BB8}"/>
    <pc:docChg chg="addSld delSld modSld sldOrd">
      <pc:chgData name="EVELYNSM.YONG" userId="S::evelynsm.yong_gmail.com#ext#@risebcg.onmicrosoft.com::67a27a72-2420-4d38-b745-316a53f4b99a" providerId="AD" clId="Web-{B7065643-81CF-4785-A43E-F7F8964C8BB8}" dt="2022-01-10T09:42:47.078" v="2564" actId="1076"/>
      <pc:docMkLst>
        <pc:docMk/>
      </pc:docMkLst>
      <pc:sldChg chg="addSp delSp modSp">
        <pc:chgData name="EVELYNSM.YONG" userId="S::evelynsm.yong_gmail.com#ext#@risebcg.onmicrosoft.com::67a27a72-2420-4d38-b745-316a53f4b99a" providerId="AD" clId="Web-{B7065643-81CF-4785-A43E-F7F8964C8BB8}" dt="2022-01-10T08:00:07.579" v="911" actId="14100"/>
        <pc:sldMkLst>
          <pc:docMk/>
          <pc:sldMk cId="2256265757" sldId="315"/>
        </pc:sldMkLst>
        <pc:graphicFrameChg chg="del">
          <ac:chgData name="EVELYNSM.YONG" userId="S::evelynsm.yong_gmail.com#ext#@risebcg.onmicrosoft.com::67a27a72-2420-4d38-b745-316a53f4b99a" providerId="AD" clId="Web-{B7065643-81CF-4785-A43E-F7F8964C8BB8}" dt="2022-01-10T07:27:00.878" v="0"/>
          <ac:graphicFrameMkLst>
            <pc:docMk/>
            <pc:sldMk cId="2256265757" sldId="315"/>
            <ac:graphicFrameMk id="18" creationId="{2289CFB1-4EE4-43EC-A8B5-4E5FC402B3C5}"/>
          </ac:graphicFrameMkLst>
        </pc:graphicFrameChg>
        <pc:graphicFrameChg chg="add mod modGraphic">
          <ac:chgData name="EVELYNSM.YONG" userId="S::evelynsm.yong_gmail.com#ext#@risebcg.onmicrosoft.com::67a27a72-2420-4d38-b745-316a53f4b99a" providerId="AD" clId="Web-{B7065643-81CF-4785-A43E-F7F8964C8BB8}" dt="2022-01-10T08:00:07.579" v="911" actId="14100"/>
          <ac:graphicFrameMkLst>
            <pc:docMk/>
            <pc:sldMk cId="2256265757" sldId="315"/>
            <ac:graphicFrameMk id="38" creationId="{2DAB4BA8-57FC-486D-A609-66F3FDCD540C}"/>
          </ac:graphicFrameMkLst>
        </pc:graphicFrameChg>
      </pc:sldChg>
      <pc:sldChg chg="addSp delSp modSp">
        <pc:chgData name="EVELYNSM.YONG" userId="S::evelynsm.yong_gmail.com#ext#@risebcg.onmicrosoft.com::67a27a72-2420-4d38-b745-316a53f4b99a" providerId="AD" clId="Web-{B7065643-81CF-4785-A43E-F7F8964C8BB8}" dt="2022-01-10T07:43:08.040" v="184" actId="1076"/>
        <pc:sldMkLst>
          <pc:docMk/>
          <pc:sldMk cId="4084366951" sldId="318"/>
        </pc:sldMkLst>
        <pc:spChg chg="mod">
          <ac:chgData name="EVELYNSM.YONG" userId="S::evelynsm.yong_gmail.com#ext#@risebcg.onmicrosoft.com::67a27a72-2420-4d38-b745-316a53f4b99a" providerId="AD" clId="Web-{B7065643-81CF-4785-A43E-F7F8964C8BB8}" dt="2022-01-10T07:31:11.212" v="35"/>
          <ac:spMkLst>
            <pc:docMk/>
            <pc:sldMk cId="4084366951" sldId="318"/>
            <ac:spMk id="3" creationId="{8217E3E6-EBA6-4390-8CAA-BF07F6ECED4C}"/>
          </ac:spMkLst>
        </pc:spChg>
        <pc:spChg chg="add del mod">
          <ac:chgData name="EVELYNSM.YONG" userId="S::evelynsm.yong_gmail.com#ext#@risebcg.onmicrosoft.com::67a27a72-2420-4d38-b745-316a53f4b99a" providerId="AD" clId="Web-{B7065643-81CF-4785-A43E-F7F8964C8BB8}" dt="2022-01-10T07:30:27.883" v="30"/>
          <ac:spMkLst>
            <pc:docMk/>
            <pc:sldMk cId="4084366951" sldId="318"/>
            <ac:spMk id="5" creationId="{5F5CCB00-80C2-451E-9F0A-A394B4156C50}"/>
          </ac:spMkLst>
        </pc:spChg>
        <pc:spChg chg="del mod">
          <ac:chgData name="EVELYNSM.YONG" userId="S::evelynsm.yong_gmail.com#ext#@risebcg.onmicrosoft.com::67a27a72-2420-4d38-b745-316a53f4b99a" providerId="AD" clId="Web-{B7065643-81CF-4785-A43E-F7F8964C8BB8}" dt="2022-01-10T07:32:03.494" v="45"/>
          <ac:spMkLst>
            <pc:docMk/>
            <pc:sldMk cId="4084366951" sldId="318"/>
            <ac:spMk id="9" creationId="{A9CC2315-97DB-4A2D-A986-E4654B36B78A}"/>
          </ac:spMkLst>
        </pc:spChg>
        <pc:spChg chg="mod">
          <ac:chgData name="EVELYNSM.YONG" userId="S::evelynsm.yong_gmail.com#ext#@risebcg.onmicrosoft.com::67a27a72-2420-4d38-b745-316a53f4b99a" providerId="AD" clId="Web-{B7065643-81CF-4785-A43E-F7F8964C8BB8}" dt="2022-01-10T07:43:08.040" v="184" actId="1076"/>
          <ac:spMkLst>
            <pc:docMk/>
            <pc:sldMk cId="4084366951" sldId="318"/>
            <ac:spMk id="11" creationId="{A6F20F02-BD7A-4398-8CBB-C5E420FA8443}"/>
          </ac:spMkLst>
        </pc:spChg>
        <pc:spChg chg="mod">
          <ac:chgData name="EVELYNSM.YONG" userId="S::evelynsm.yong_gmail.com#ext#@risebcg.onmicrosoft.com::67a27a72-2420-4d38-b745-316a53f4b99a" providerId="AD" clId="Web-{B7065643-81CF-4785-A43E-F7F8964C8BB8}" dt="2022-01-10T07:37:12.204" v="181" actId="1076"/>
          <ac:spMkLst>
            <pc:docMk/>
            <pc:sldMk cId="4084366951" sldId="318"/>
            <ac:spMk id="32" creationId="{41E099E5-F68B-4939-9F7A-B9CC2E5F333A}"/>
          </ac:spMkLst>
        </pc:spChg>
        <pc:picChg chg="add mod">
          <ac:chgData name="EVELYNSM.YONG" userId="S::evelynsm.yong_gmail.com#ext#@risebcg.onmicrosoft.com::67a27a72-2420-4d38-b745-316a53f4b99a" providerId="AD" clId="Web-{B7065643-81CF-4785-A43E-F7F8964C8BB8}" dt="2022-01-10T07:33:33.371" v="72" actId="14100"/>
          <ac:picMkLst>
            <pc:docMk/>
            <pc:sldMk cId="4084366951" sldId="318"/>
            <ac:picMk id="7" creationId="{7F5D9E48-B08B-444C-A287-52FEDFFC1CE4}"/>
          </ac:picMkLst>
        </pc:picChg>
        <pc:cxnChg chg="add del mod">
          <ac:chgData name="EVELYNSM.YONG" userId="S::evelynsm.yong_gmail.com#ext#@risebcg.onmicrosoft.com::67a27a72-2420-4d38-b745-316a53f4b99a" providerId="AD" clId="Web-{B7065643-81CF-4785-A43E-F7F8964C8BB8}" dt="2022-01-10T07:27:53.723" v="7"/>
          <ac:cxnSpMkLst>
            <pc:docMk/>
            <pc:sldMk cId="4084366951" sldId="318"/>
            <ac:cxnSpMk id="7" creationId="{4BF88BBE-5519-4309-9E51-FBE34F9988C4}"/>
          </ac:cxnSpMkLst>
        </pc:cxnChg>
        <pc:cxnChg chg="add del mod">
          <ac:chgData name="EVELYNSM.YONG" userId="S::evelynsm.yong_gmail.com#ext#@risebcg.onmicrosoft.com::67a27a72-2420-4d38-b745-316a53f4b99a" providerId="AD" clId="Web-{B7065643-81CF-4785-A43E-F7F8964C8BB8}" dt="2022-01-10T07:28:02.035" v="9"/>
          <ac:cxnSpMkLst>
            <pc:docMk/>
            <pc:sldMk cId="4084366951" sldId="318"/>
            <ac:cxnSpMk id="10" creationId="{E054A80D-AFE5-4FAE-AFE4-137FB71A5E42}"/>
          </ac:cxnSpMkLst>
        </pc:cxnChg>
        <pc:cxnChg chg="add del mod">
          <ac:chgData name="EVELYNSM.YONG" userId="S::evelynsm.yong_gmail.com#ext#@risebcg.onmicrosoft.com::67a27a72-2420-4d38-b745-316a53f4b99a" providerId="AD" clId="Web-{B7065643-81CF-4785-A43E-F7F8964C8BB8}" dt="2022-01-10T07:29:49.757" v="23"/>
          <ac:cxnSpMkLst>
            <pc:docMk/>
            <pc:sldMk cId="4084366951" sldId="318"/>
            <ac:cxnSpMk id="16" creationId="{4361743E-90CD-49B1-861F-6B6AF7563470}"/>
          </ac:cxnSpMkLst>
        </pc:cxnChg>
      </pc:sldChg>
      <pc:sldChg chg="modSp">
        <pc:chgData name="EVELYNSM.YONG" userId="S::evelynsm.yong_gmail.com#ext#@risebcg.onmicrosoft.com::67a27a72-2420-4d38-b745-316a53f4b99a" providerId="AD" clId="Web-{B7065643-81CF-4785-A43E-F7F8964C8BB8}" dt="2022-01-10T09:15:13.431" v="2149" actId="14100"/>
        <pc:sldMkLst>
          <pc:docMk/>
          <pc:sldMk cId="3666302761" sldId="324"/>
        </pc:sldMkLst>
        <pc:picChg chg="mod">
          <ac:chgData name="EVELYNSM.YONG" userId="S::evelynsm.yong_gmail.com#ext#@risebcg.onmicrosoft.com::67a27a72-2420-4d38-b745-316a53f4b99a" providerId="AD" clId="Web-{B7065643-81CF-4785-A43E-F7F8964C8BB8}" dt="2022-01-10T09:15:13.431" v="2149" actId="14100"/>
          <ac:picMkLst>
            <pc:docMk/>
            <pc:sldMk cId="3666302761" sldId="324"/>
            <ac:picMk id="15" creationId="{5D59DB1C-172C-47ED-95FD-1E3F001466CE}"/>
          </ac:picMkLst>
        </pc:picChg>
      </pc:sldChg>
      <pc:sldChg chg="addSp modSp addAnim modAnim">
        <pc:chgData name="EVELYNSM.YONG" userId="S::evelynsm.yong_gmail.com#ext#@risebcg.onmicrosoft.com::67a27a72-2420-4d38-b745-316a53f4b99a" providerId="AD" clId="Web-{B7065643-81CF-4785-A43E-F7F8964C8BB8}" dt="2022-01-10T09:16:42.433" v="2178"/>
        <pc:sldMkLst>
          <pc:docMk/>
          <pc:sldMk cId="416007632" sldId="327"/>
        </pc:sldMkLst>
        <pc:spChg chg="add mod ord">
          <ac:chgData name="EVELYNSM.YONG" userId="S::evelynsm.yong_gmail.com#ext#@risebcg.onmicrosoft.com::67a27a72-2420-4d38-b745-316a53f4b99a" providerId="AD" clId="Web-{B7065643-81CF-4785-A43E-F7F8964C8BB8}" dt="2022-01-10T09:16:42.433" v="2178"/>
          <ac:spMkLst>
            <pc:docMk/>
            <pc:sldMk cId="416007632" sldId="327"/>
            <ac:spMk id="3" creationId="{D007FF1E-895C-4A21-8D3B-FDC1BD41CEEA}"/>
          </ac:spMkLst>
        </pc:spChg>
      </pc:sldChg>
      <pc:sldChg chg="ord">
        <pc:chgData name="EVELYNSM.YONG" userId="S::evelynsm.yong_gmail.com#ext#@risebcg.onmicrosoft.com::67a27a72-2420-4d38-b745-316a53f4b99a" providerId="AD" clId="Web-{B7065643-81CF-4785-A43E-F7F8964C8BB8}" dt="2022-01-10T08:35:41.471" v="1424"/>
        <pc:sldMkLst>
          <pc:docMk/>
          <pc:sldMk cId="2652119032" sldId="335"/>
        </pc:sldMkLst>
      </pc:sldChg>
      <pc:sldChg chg="addSp delSp modSp modNotes">
        <pc:chgData name="EVELYNSM.YONG" userId="S::evelynsm.yong_gmail.com#ext#@risebcg.onmicrosoft.com::67a27a72-2420-4d38-b745-316a53f4b99a" providerId="AD" clId="Web-{B7065643-81CF-4785-A43E-F7F8964C8BB8}" dt="2022-01-10T08:38:08.318" v="1452"/>
        <pc:sldMkLst>
          <pc:docMk/>
          <pc:sldMk cId="3391215681" sldId="339"/>
        </pc:sldMkLst>
        <pc:spChg chg="mod">
          <ac:chgData name="EVELYNSM.YONG" userId="S::evelynsm.yong_gmail.com#ext#@risebcg.onmicrosoft.com::67a27a72-2420-4d38-b745-316a53f4b99a" providerId="AD" clId="Web-{B7065643-81CF-4785-A43E-F7F8964C8BB8}" dt="2022-01-10T08:10:06.046" v="996" actId="14100"/>
          <ac:spMkLst>
            <pc:docMk/>
            <pc:sldMk cId="3391215681" sldId="339"/>
            <ac:spMk id="47" creationId="{B72F6C48-B470-4163-9AC9-2982A10656DA}"/>
          </ac:spMkLst>
        </pc:spChg>
        <pc:spChg chg="mod">
          <ac:chgData name="EVELYNSM.YONG" userId="S::evelynsm.yong_gmail.com#ext#@risebcg.onmicrosoft.com::67a27a72-2420-4d38-b745-316a53f4b99a" providerId="AD" clId="Web-{B7065643-81CF-4785-A43E-F7F8964C8BB8}" dt="2022-01-10T08:20:52.295" v="1224" actId="1076"/>
          <ac:spMkLst>
            <pc:docMk/>
            <pc:sldMk cId="3391215681" sldId="339"/>
            <ac:spMk id="49" creationId="{1A40ECD8-EC71-4C0D-A629-C5042C9FBE1B}"/>
          </ac:spMkLst>
        </pc:spChg>
        <pc:spChg chg="mod">
          <ac:chgData name="EVELYNSM.YONG" userId="S::evelynsm.yong_gmail.com#ext#@risebcg.onmicrosoft.com::67a27a72-2420-4d38-b745-316a53f4b99a" providerId="AD" clId="Web-{B7065643-81CF-4785-A43E-F7F8964C8BB8}" dt="2022-01-10T08:20:52.311" v="1225" actId="1076"/>
          <ac:spMkLst>
            <pc:docMk/>
            <pc:sldMk cId="3391215681" sldId="339"/>
            <ac:spMk id="124" creationId="{C91A31F3-23FB-421F-8BC0-FD3F5F868D91}"/>
          </ac:spMkLst>
        </pc:spChg>
        <pc:spChg chg="mod">
          <ac:chgData name="EVELYNSM.YONG" userId="S::evelynsm.yong_gmail.com#ext#@risebcg.onmicrosoft.com::67a27a72-2420-4d38-b745-316a53f4b99a" providerId="AD" clId="Web-{B7065643-81CF-4785-A43E-F7F8964C8BB8}" dt="2022-01-10T08:30:29.652" v="1379" actId="14100"/>
          <ac:spMkLst>
            <pc:docMk/>
            <pc:sldMk cId="3391215681" sldId="339"/>
            <ac:spMk id="160" creationId="{129EBF9C-3DCE-40EC-8CFB-1CB201B252BE}"/>
          </ac:spMkLst>
        </pc:spChg>
        <pc:spChg chg="mod">
          <ac:chgData name="EVELYNSM.YONG" userId="S::evelynsm.yong_gmail.com#ext#@risebcg.onmicrosoft.com::67a27a72-2420-4d38-b745-316a53f4b99a" providerId="AD" clId="Web-{B7065643-81CF-4785-A43E-F7F8964C8BB8}" dt="2022-01-10T08:09:59.343" v="994" actId="1076"/>
          <ac:spMkLst>
            <pc:docMk/>
            <pc:sldMk cId="3391215681" sldId="339"/>
            <ac:spMk id="211" creationId="{BE8EF75F-4A8F-4CC0-B3A0-4689491D690B}"/>
          </ac:spMkLst>
        </pc:spChg>
        <pc:spChg chg="del">
          <ac:chgData name="EVELYNSM.YONG" userId="S::evelynsm.yong_gmail.com#ext#@risebcg.onmicrosoft.com::67a27a72-2420-4d38-b745-316a53f4b99a" providerId="AD" clId="Web-{B7065643-81CF-4785-A43E-F7F8964C8BB8}" dt="2022-01-10T08:09:36.561" v="985"/>
          <ac:spMkLst>
            <pc:docMk/>
            <pc:sldMk cId="3391215681" sldId="339"/>
            <ac:spMk id="218" creationId="{3F919807-BA2C-40C1-9C13-9C7C88B0617F}"/>
          </ac:spMkLst>
        </pc:spChg>
        <pc:spChg chg="add del">
          <ac:chgData name="EVELYNSM.YONG" userId="S::evelynsm.yong_gmail.com#ext#@risebcg.onmicrosoft.com::67a27a72-2420-4d38-b745-316a53f4b99a" providerId="AD" clId="Web-{B7065643-81CF-4785-A43E-F7F8964C8BB8}" dt="2022-01-10T08:09:34.139" v="983"/>
          <ac:spMkLst>
            <pc:docMk/>
            <pc:sldMk cId="3391215681" sldId="339"/>
            <ac:spMk id="229" creationId="{8CB63044-5013-4EFC-B813-E8D7A72DE7FF}"/>
          </ac:spMkLst>
        </pc:spChg>
        <pc:spChg chg="mod">
          <ac:chgData name="EVELYNSM.YONG" userId="S::evelynsm.yong_gmail.com#ext#@risebcg.onmicrosoft.com::67a27a72-2420-4d38-b745-316a53f4b99a" providerId="AD" clId="Web-{B7065643-81CF-4785-A43E-F7F8964C8BB8}" dt="2022-01-10T08:09:59.327" v="993" actId="1076"/>
          <ac:spMkLst>
            <pc:docMk/>
            <pc:sldMk cId="3391215681" sldId="339"/>
            <ac:spMk id="3097" creationId="{B43BCD4D-C119-4545-A18A-03EFECDDCAC1}"/>
          </ac:spMkLst>
        </pc:spChg>
        <pc:grpChg chg="mod">
          <ac:chgData name="EVELYNSM.YONG" userId="S::evelynsm.yong_gmail.com#ext#@risebcg.onmicrosoft.com::67a27a72-2420-4d38-b745-316a53f4b99a" providerId="AD" clId="Web-{B7065643-81CF-4785-A43E-F7F8964C8BB8}" dt="2022-01-10T08:10:17.374" v="1000" actId="1076"/>
          <ac:grpSpMkLst>
            <pc:docMk/>
            <pc:sldMk cId="3391215681" sldId="339"/>
            <ac:grpSpMk id="417" creationId="{3422634B-E74A-464E-8891-948490F63923}"/>
          </ac:grpSpMkLst>
        </pc:grpChg>
        <pc:graphicFrameChg chg="mod modGraphic">
          <ac:chgData name="EVELYNSM.YONG" userId="S::evelynsm.yong_gmail.com#ext#@risebcg.onmicrosoft.com::67a27a72-2420-4d38-b745-316a53f4b99a" providerId="AD" clId="Web-{B7065643-81CF-4785-A43E-F7F8964C8BB8}" dt="2022-01-10T08:20:31.076" v="1223" actId="20577"/>
          <ac:graphicFrameMkLst>
            <pc:docMk/>
            <pc:sldMk cId="3391215681" sldId="339"/>
            <ac:graphicFrameMk id="28" creationId="{9D58B7B4-DE29-4DDF-BB8A-729D2B705659}"/>
          </ac:graphicFrameMkLst>
        </pc:graphicFrameChg>
        <pc:picChg chg="mod">
          <ac:chgData name="EVELYNSM.YONG" userId="S::evelynsm.yong_gmail.com#ext#@risebcg.onmicrosoft.com::67a27a72-2420-4d38-b745-316a53f4b99a" providerId="AD" clId="Web-{B7065643-81CF-4785-A43E-F7F8964C8BB8}" dt="2022-01-10T08:10:22.140" v="1003" actId="1076"/>
          <ac:picMkLst>
            <pc:docMk/>
            <pc:sldMk cId="3391215681" sldId="339"/>
            <ac:picMk id="107" creationId="{02601E91-3DEE-4781-ACC9-2A3154DCC85D}"/>
          </ac:picMkLst>
        </pc:picChg>
        <pc:picChg chg="mod">
          <ac:chgData name="EVELYNSM.YONG" userId="S::evelynsm.yong_gmail.com#ext#@risebcg.onmicrosoft.com::67a27a72-2420-4d38-b745-316a53f4b99a" providerId="AD" clId="Web-{B7065643-81CF-4785-A43E-F7F8964C8BB8}" dt="2022-01-10T08:10:19.249" v="1001" actId="1076"/>
          <ac:picMkLst>
            <pc:docMk/>
            <pc:sldMk cId="3391215681" sldId="339"/>
            <ac:picMk id="108" creationId="{590458A9-D7D6-4978-B569-22D281AE5CF2}"/>
          </ac:picMkLst>
        </pc:picChg>
        <pc:picChg chg="mod">
          <ac:chgData name="EVELYNSM.YONG" userId="S::evelynsm.yong_gmail.com#ext#@risebcg.onmicrosoft.com::67a27a72-2420-4d38-b745-316a53f4b99a" providerId="AD" clId="Web-{B7065643-81CF-4785-A43E-F7F8964C8BB8}" dt="2022-01-10T08:10:21.046" v="1002" actId="1076"/>
          <ac:picMkLst>
            <pc:docMk/>
            <pc:sldMk cId="3391215681" sldId="339"/>
            <ac:picMk id="127" creationId="{50C2EFDE-AE92-48A3-8F2F-DEC4BC518951}"/>
          </ac:picMkLst>
        </pc:picChg>
        <pc:picChg chg="del">
          <ac:chgData name="EVELYNSM.YONG" userId="S::evelynsm.yong_gmail.com#ext#@risebcg.onmicrosoft.com::67a27a72-2420-4d38-b745-316a53f4b99a" providerId="AD" clId="Web-{B7065643-81CF-4785-A43E-F7F8964C8BB8}" dt="2022-01-10T08:09:35.358" v="984"/>
          <ac:picMkLst>
            <pc:docMk/>
            <pc:sldMk cId="3391215681" sldId="339"/>
            <ac:picMk id="248" creationId="{135B6FD8-8BD5-4DF6-A276-BDEEDFD924A2}"/>
          </ac:picMkLst>
        </pc:picChg>
        <pc:picChg chg="mod">
          <ac:chgData name="EVELYNSM.YONG" userId="S::evelynsm.yong_gmail.com#ext#@risebcg.onmicrosoft.com::67a27a72-2420-4d38-b745-316a53f4b99a" providerId="AD" clId="Web-{B7065643-81CF-4785-A43E-F7F8964C8BB8}" dt="2022-01-10T08:20:52.342" v="1226" actId="1076"/>
          <ac:picMkLst>
            <pc:docMk/>
            <pc:sldMk cId="3391215681" sldId="339"/>
            <ac:picMk id="1727" creationId="{4F4925B4-226E-4CE5-9A48-DF473BE5B5F7}"/>
          </ac:picMkLst>
        </pc:picChg>
        <pc:picChg chg="mod">
          <ac:chgData name="EVELYNSM.YONG" userId="S::evelynsm.yong_gmail.com#ext#@risebcg.onmicrosoft.com::67a27a72-2420-4d38-b745-316a53f4b99a" providerId="AD" clId="Web-{B7065643-81CF-4785-A43E-F7F8964C8BB8}" dt="2022-01-10T08:16:46.414" v="1164" actId="1076"/>
          <ac:picMkLst>
            <pc:docMk/>
            <pc:sldMk cId="3391215681" sldId="339"/>
            <ac:picMk id="5328" creationId="{79187648-B5C6-4EDC-88C1-489201FB6DA0}"/>
          </ac:picMkLst>
        </pc:picChg>
      </pc:sldChg>
      <pc:sldChg chg="addSp delSp modSp modNotes">
        <pc:chgData name="EVELYNSM.YONG" userId="S::evelynsm.yong_gmail.com#ext#@risebcg.onmicrosoft.com::67a27a72-2420-4d38-b745-316a53f4b99a" providerId="AD" clId="Web-{B7065643-81CF-4785-A43E-F7F8964C8BB8}" dt="2022-01-10T09:42:47.078" v="2564" actId="1076"/>
        <pc:sldMkLst>
          <pc:docMk/>
          <pc:sldMk cId="3531645893" sldId="360"/>
        </pc:sldMkLst>
        <pc:spChg chg="add mod ord">
          <ac:chgData name="EVELYNSM.YONG" userId="S::evelynsm.yong_gmail.com#ext#@risebcg.onmicrosoft.com::67a27a72-2420-4d38-b745-316a53f4b99a" providerId="AD" clId="Web-{B7065643-81CF-4785-A43E-F7F8964C8BB8}" dt="2022-01-10T09:35:02.286" v="2482"/>
          <ac:spMkLst>
            <pc:docMk/>
            <pc:sldMk cId="3531645893" sldId="360"/>
            <ac:spMk id="3" creationId="{FC2A26BC-6E3B-4E2F-9C36-577BA7E9132E}"/>
          </ac:spMkLst>
        </pc:spChg>
        <pc:spChg chg="mod ord">
          <ac:chgData name="EVELYNSM.YONG" userId="S::evelynsm.yong_gmail.com#ext#@risebcg.onmicrosoft.com::67a27a72-2420-4d38-b745-316a53f4b99a" providerId="AD" clId="Web-{B7065643-81CF-4785-A43E-F7F8964C8BB8}" dt="2022-01-10T09:30:18.905" v="2375"/>
          <ac:spMkLst>
            <pc:docMk/>
            <pc:sldMk cId="3531645893" sldId="360"/>
            <ac:spMk id="5" creationId="{1999C9A4-8C8B-43CC-B77D-B8C58575D4DE}"/>
          </ac:spMkLst>
        </pc:spChg>
        <pc:spChg chg="mod">
          <ac:chgData name="EVELYNSM.YONG" userId="S::evelynsm.yong_gmail.com#ext#@risebcg.onmicrosoft.com::67a27a72-2420-4d38-b745-316a53f4b99a" providerId="AD" clId="Web-{B7065643-81CF-4785-A43E-F7F8964C8BB8}" dt="2022-01-10T09:10:00.440" v="2104"/>
          <ac:spMkLst>
            <pc:docMk/>
            <pc:sldMk cId="3531645893" sldId="360"/>
            <ac:spMk id="9" creationId="{E3C0B427-9E9D-47EC-AFD8-3D8F22D59FE9}"/>
          </ac:spMkLst>
        </pc:spChg>
        <pc:spChg chg="add mod">
          <ac:chgData name="EVELYNSM.YONG" userId="S::evelynsm.yong_gmail.com#ext#@risebcg.onmicrosoft.com::67a27a72-2420-4d38-b745-316a53f4b99a" providerId="AD" clId="Web-{B7065643-81CF-4785-A43E-F7F8964C8BB8}" dt="2022-01-10T09:37:58.306" v="2519" actId="20577"/>
          <ac:spMkLst>
            <pc:docMk/>
            <pc:sldMk cId="3531645893" sldId="360"/>
            <ac:spMk id="16" creationId="{C5929122-1CD8-4F76-B666-CD1876A444F2}"/>
          </ac:spMkLst>
        </pc:spChg>
        <pc:spChg chg="add mod">
          <ac:chgData name="EVELYNSM.YONG" userId="S::evelynsm.yong_gmail.com#ext#@risebcg.onmicrosoft.com::67a27a72-2420-4d38-b745-316a53f4b99a" providerId="AD" clId="Web-{B7065643-81CF-4785-A43E-F7F8964C8BB8}" dt="2022-01-10T09:42:47.078" v="2564" actId="1076"/>
          <ac:spMkLst>
            <pc:docMk/>
            <pc:sldMk cId="3531645893" sldId="360"/>
            <ac:spMk id="17" creationId="{B0B180E1-89CE-47E9-9BE8-885E81BBC262}"/>
          </ac:spMkLst>
        </pc:spChg>
        <pc:spChg chg="mod">
          <ac:chgData name="EVELYNSM.YONG" userId="S::evelynsm.yong_gmail.com#ext#@risebcg.onmicrosoft.com::67a27a72-2420-4d38-b745-316a53f4b99a" providerId="AD" clId="Web-{B7065643-81CF-4785-A43E-F7F8964C8BB8}" dt="2022-01-10T09:37:36.524" v="2507" actId="1076"/>
          <ac:spMkLst>
            <pc:docMk/>
            <pc:sldMk cId="3531645893" sldId="360"/>
            <ac:spMk id="18" creationId="{83C6C493-EE06-4670-B1AB-91DD5175B793}"/>
          </ac:spMkLst>
        </pc:spChg>
        <pc:spChg chg="mod">
          <ac:chgData name="EVELYNSM.YONG" userId="S::evelynsm.yong_gmail.com#ext#@risebcg.onmicrosoft.com::67a27a72-2420-4d38-b745-316a53f4b99a" providerId="AD" clId="Web-{B7065643-81CF-4785-A43E-F7F8964C8BB8}" dt="2022-01-10T09:29:13.169" v="2361" actId="14100"/>
          <ac:spMkLst>
            <pc:docMk/>
            <pc:sldMk cId="3531645893" sldId="360"/>
            <ac:spMk id="19" creationId="{950C64E7-6661-4AEA-8068-716AD3707128}"/>
          </ac:spMkLst>
        </pc:spChg>
        <pc:spChg chg="mod">
          <ac:chgData name="EVELYNSM.YONG" userId="S::evelynsm.yong_gmail.com#ext#@risebcg.onmicrosoft.com::67a27a72-2420-4d38-b745-316a53f4b99a" providerId="AD" clId="Web-{B7065643-81CF-4785-A43E-F7F8964C8BB8}" dt="2022-01-10T09:42:13.343" v="2552" actId="14100"/>
          <ac:spMkLst>
            <pc:docMk/>
            <pc:sldMk cId="3531645893" sldId="360"/>
            <ac:spMk id="20" creationId="{64A6A166-6CE6-41F0-99B2-FC47AF50CD6C}"/>
          </ac:spMkLst>
        </pc:spChg>
        <pc:spChg chg="add mod">
          <ac:chgData name="EVELYNSM.YONG" userId="S::evelynsm.yong_gmail.com#ext#@risebcg.onmicrosoft.com::67a27a72-2420-4d38-b745-316a53f4b99a" providerId="AD" clId="Web-{B7065643-81CF-4785-A43E-F7F8964C8BB8}" dt="2022-01-10T09:42:27.078" v="2557" actId="1076"/>
          <ac:spMkLst>
            <pc:docMk/>
            <pc:sldMk cId="3531645893" sldId="360"/>
            <ac:spMk id="21" creationId="{3B725847-CDC2-41AB-A059-69A3E5F93F82}"/>
          </ac:spMkLst>
        </pc:spChg>
        <pc:spChg chg="del">
          <ac:chgData name="EVELYNSM.YONG" userId="S::evelynsm.yong_gmail.com#ext#@risebcg.onmicrosoft.com::67a27a72-2420-4d38-b745-316a53f4b99a" providerId="AD" clId="Web-{B7065643-81CF-4785-A43E-F7F8964C8BB8}" dt="2022-01-10T08:47:52.722" v="1548"/>
          <ac:spMkLst>
            <pc:docMk/>
            <pc:sldMk cId="3531645893" sldId="360"/>
            <ac:spMk id="22" creationId="{31E2D2F4-E28C-4B52-9C47-E50AD68240D1}"/>
          </ac:spMkLst>
        </pc:spChg>
        <pc:spChg chg="mod">
          <ac:chgData name="EVELYNSM.YONG" userId="S::evelynsm.yong_gmail.com#ext#@risebcg.onmicrosoft.com::67a27a72-2420-4d38-b745-316a53f4b99a" providerId="AD" clId="Web-{B7065643-81CF-4785-A43E-F7F8964C8BB8}" dt="2022-01-10T09:42:47.062" v="2563" actId="1076"/>
          <ac:spMkLst>
            <pc:docMk/>
            <pc:sldMk cId="3531645893" sldId="360"/>
            <ac:spMk id="23" creationId="{2E06316D-D669-4187-8235-1A4EE0D9868B}"/>
          </ac:spMkLst>
        </pc:spChg>
        <pc:spChg chg="mod">
          <ac:chgData name="EVELYNSM.YONG" userId="S::evelynsm.yong_gmail.com#ext#@risebcg.onmicrosoft.com::67a27a72-2420-4d38-b745-316a53f4b99a" providerId="AD" clId="Web-{B7065643-81CF-4785-A43E-F7F8964C8BB8}" dt="2022-01-10T09:42:25.187" v="2556" actId="1076"/>
          <ac:spMkLst>
            <pc:docMk/>
            <pc:sldMk cId="3531645893" sldId="360"/>
            <ac:spMk id="24" creationId="{CEFC4E90-FB9D-4E3E-86B1-5712D705BC99}"/>
          </ac:spMkLst>
        </pc:spChg>
        <pc:spChg chg="mod ord">
          <ac:chgData name="EVELYNSM.YONG" userId="S::evelynsm.yong_gmail.com#ext#@risebcg.onmicrosoft.com::67a27a72-2420-4d38-b745-316a53f4b99a" providerId="AD" clId="Web-{B7065643-81CF-4785-A43E-F7F8964C8BB8}" dt="2022-01-10T09:41:47.952" v="2545" actId="14100"/>
          <ac:spMkLst>
            <pc:docMk/>
            <pc:sldMk cId="3531645893" sldId="360"/>
            <ac:spMk id="25" creationId="{F2D8752B-46CF-482C-9E54-5BF79DDF6A1D}"/>
          </ac:spMkLst>
        </pc:spChg>
        <pc:spChg chg="add del mod">
          <ac:chgData name="EVELYNSM.YONG" userId="S::evelynsm.yong_gmail.com#ext#@risebcg.onmicrosoft.com::67a27a72-2420-4d38-b745-316a53f4b99a" providerId="AD" clId="Web-{B7065643-81CF-4785-A43E-F7F8964C8BB8}" dt="2022-01-10T09:02:04.538" v="1971"/>
          <ac:spMkLst>
            <pc:docMk/>
            <pc:sldMk cId="3531645893" sldId="360"/>
            <ac:spMk id="26" creationId="{29B66C0D-4048-4338-9F55-DFBFAAB14453}"/>
          </ac:spMkLst>
        </pc:spChg>
        <pc:spChg chg="add mod ord">
          <ac:chgData name="EVELYNSM.YONG" userId="S::evelynsm.yong_gmail.com#ext#@risebcg.onmicrosoft.com::67a27a72-2420-4d38-b745-316a53f4b99a" providerId="AD" clId="Web-{B7065643-81CF-4785-A43E-F7F8964C8BB8}" dt="2022-01-10T09:35:01.021" v="2479"/>
          <ac:spMkLst>
            <pc:docMk/>
            <pc:sldMk cId="3531645893" sldId="360"/>
            <ac:spMk id="27" creationId="{9C31BED3-CE5F-440A-A9B8-F5924562E1BA}"/>
          </ac:spMkLst>
        </pc:spChg>
        <pc:spChg chg="add del mod">
          <ac:chgData name="EVELYNSM.YONG" userId="S::evelynsm.yong_gmail.com#ext#@risebcg.onmicrosoft.com::67a27a72-2420-4d38-b745-316a53f4b99a" providerId="AD" clId="Web-{B7065643-81CF-4785-A43E-F7F8964C8BB8}" dt="2022-01-10T09:00:07.036" v="1854"/>
          <ac:spMkLst>
            <pc:docMk/>
            <pc:sldMk cId="3531645893" sldId="360"/>
            <ac:spMk id="28" creationId="{E5ECDA4D-C365-4527-863B-E7E1DC81B60A}"/>
          </ac:spMkLst>
        </pc:spChg>
        <pc:spChg chg="add mod ord">
          <ac:chgData name="EVELYNSM.YONG" userId="S::evelynsm.yong_gmail.com#ext#@risebcg.onmicrosoft.com::67a27a72-2420-4d38-b745-316a53f4b99a" providerId="AD" clId="Web-{B7065643-81CF-4785-A43E-F7F8964C8BB8}" dt="2022-01-10T09:35:01.880" v="2481"/>
          <ac:spMkLst>
            <pc:docMk/>
            <pc:sldMk cId="3531645893" sldId="360"/>
            <ac:spMk id="29" creationId="{C9BEC35E-523C-4554-8EBD-4475698ECF55}"/>
          </ac:spMkLst>
        </pc:spChg>
        <pc:spChg chg="add del">
          <ac:chgData name="EVELYNSM.YONG" userId="S::evelynsm.yong_gmail.com#ext#@risebcg.onmicrosoft.com::67a27a72-2420-4d38-b745-316a53f4b99a" providerId="AD" clId="Web-{B7065643-81CF-4785-A43E-F7F8964C8BB8}" dt="2022-01-10T09:04:03.885" v="1990"/>
          <ac:spMkLst>
            <pc:docMk/>
            <pc:sldMk cId="3531645893" sldId="360"/>
            <ac:spMk id="30" creationId="{27806096-68FC-4EC7-9B80-EFF6B2ECC93D}"/>
          </ac:spMkLst>
        </pc:spChg>
        <pc:spChg chg="add mod">
          <ac:chgData name="EVELYNSM.YONG" userId="S::evelynsm.yong_gmail.com#ext#@risebcg.onmicrosoft.com::67a27a72-2420-4d38-b745-316a53f4b99a" providerId="AD" clId="Web-{B7065643-81CF-4785-A43E-F7F8964C8BB8}" dt="2022-01-10T09:28:03.355" v="2309" actId="1076"/>
          <ac:spMkLst>
            <pc:docMk/>
            <pc:sldMk cId="3531645893" sldId="360"/>
            <ac:spMk id="32" creationId="{643819E7-FC5A-44D2-A6BA-F2C1071FA836}"/>
          </ac:spMkLst>
        </pc:spChg>
        <pc:spChg chg="add mod">
          <ac:chgData name="EVELYNSM.YONG" userId="S::evelynsm.yong_gmail.com#ext#@risebcg.onmicrosoft.com::67a27a72-2420-4d38-b745-316a53f4b99a" providerId="AD" clId="Web-{B7065643-81CF-4785-A43E-F7F8964C8BB8}" dt="2022-01-10T09:37:36.540" v="2508" actId="1076"/>
          <ac:spMkLst>
            <pc:docMk/>
            <pc:sldMk cId="3531645893" sldId="360"/>
            <ac:spMk id="33" creationId="{49617808-6BA1-41EC-8873-001A45EF30D5}"/>
          </ac:spMkLst>
        </pc:spChg>
        <pc:spChg chg="add mod">
          <ac:chgData name="EVELYNSM.YONG" userId="S::evelynsm.yong_gmail.com#ext#@risebcg.onmicrosoft.com::67a27a72-2420-4d38-b745-316a53f4b99a" providerId="AD" clId="Web-{B7065643-81CF-4785-A43E-F7F8964C8BB8}" dt="2022-01-10T09:38:36.994" v="2526"/>
          <ac:spMkLst>
            <pc:docMk/>
            <pc:sldMk cId="3531645893" sldId="360"/>
            <ac:spMk id="34" creationId="{BB464795-1EE5-4DAA-81B4-5DD73A621377}"/>
          </ac:spMkLst>
        </pc:spChg>
        <pc:spChg chg="add mod">
          <ac:chgData name="EVELYNSM.YONG" userId="S::evelynsm.yong_gmail.com#ext#@risebcg.onmicrosoft.com::67a27a72-2420-4d38-b745-316a53f4b99a" providerId="AD" clId="Web-{B7065643-81CF-4785-A43E-F7F8964C8BB8}" dt="2022-01-10T09:38:58.792" v="2529" actId="1076"/>
          <ac:spMkLst>
            <pc:docMk/>
            <pc:sldMk cId="3531645893" sldId="360"/>
            <ac:spMk id="35" creationId="{BEBA2DB5-D01A-45D1-B10F-CDA2A5C3CE6D}"/>
          </ac:spMkLst>
        </pc:spChg>
        <pc:spChg chg="add mod">
          <ac:chgData name="EVELYNSM.YONG" userId="S::evelynsm.yong_gmail.com#ext#@risebcg.onmicrosoft.com::67a27a72-2420-4d38-b745-316a53f4b99a" providerId="AD" clId="Web-{B7065643-81CF-4785-A43E-F7F8964C8BB8}" dt="2022-01-10T09:39:14.917" v="2531" actId="1076"/>
          <ac:spMkLst>
            <pc:docMk/>
            <pc:sldMk cId="3531645893" sldId="360"/>
            <ac:spMk id="36" creationId="{078A3856-3300-433F-A501-B031E92BEAC1}"/>
          </ac:spMkLst>
        </pc:spChg>
        <pc:spChg chg="add mod">
          <ac:chgData name="EVELYNSM.YONG" userId="S::evelynsm.yong_gmail.com#ext#@risebcg.onmicrosoft.com::67a27a72-2420-4d38-b745-316a53f4b99a" providerId="AD" clId="Web-{B7065643-81CF-4785-A43E-F7F8964C8BB8}" dt="2022-01-10T09:39:03.995" v="2530" actId="1076"/>
          <ac:spMkLst>
            <pc:docMk/>
            <pc:sldMk cId="3531645893" sldId="360"/>
            <ac:spMk id="37" creationId="{4AB50FB2-2592-4F25-B501-5E5ED17825ED}"/>
          </ac:spMkLst>
        </pc:spChg>
        <pc:spChg chg="add mod ord">
          <ac:chgData name="EVELYNSM.YONG" userId="S::evelynsm.yong_gmail.com#ext#@risebcg.onmicrosoft.com::67a27a72-2420-4d38-b745-316a53f4b99a" providerId="AD" clId="Web-{B7065643-81CF-4785-A43E-F7F8964C8BB8}" dt="2022-01-10T09:40:05.949" v="2538" actId="1076"/>
          <ac:spMkLst>
            <pc:docMk/>
            <pc:sldMk cId="3531645893" sldId="360"/>
            <ac:spMk id="38" creationId="{CB428AE9-51B3-41CB-A62A-62EA6128CCE3}"/>
          </ac:spMkLst>
        </pc:spChg>
        <pc:spChg chg="add mod">
          <ac:chgData name="EVELYNSM.YONG" userId="S::evelynsm.yong_gmail.com#ext#@risebcg.onmicrosoft.com::67a27a72-2420-4d38-b745-316a53f4b99a" providerId="AD" clId="Web-{B7065643-81CF-4785-A43E-F7F8964C8BB8}" dt="2022-01-10T09:40:11.918" v="2539" actId="1076"/>
          <ac:spMkLst>
            <pc:docMk/>
            <pc:sldMk cId="3531645893" sldId="360"/>
            <ac:spMk id="40" creationId="{ECF14FD3-8E08-4762-B1DE-BECAD18D177B}"/>
          </ac:spMkLst>
        </pc:spChg>
        <pc:picChg chg="mod modCrop">
          <ac:chgData name="EVELYNSM.YONG" userId="S::evelynsm.yong_gmail.com#ext#@risebcg.onmicrosoft.com::67a27a72-2420-4d38-b745-316a53f4b99a" providerId="AD" clId="Web-{B7065643-81CF-4785-A43E-F7F8964C8BB8}" dt="2022-01-10T09:37:36.509" v="2506" actId="1076"/>
          <ac:picMkLst>
            <pc:docMk/>
            <pc:sldMk cId="3531645893" sldId="360"/>
            <ac:picMk id="2" creationId="{D0C0A48E-43AC-4647-84A5-DAC9A37420F4}"/>
          </ac:picMkLst>
        </pc:picChg>
        <pc:picChg chg="add del mod modCrop">
          <ac:chgData name="EVELYNSM.YONG" userId="S::evelynsm.yong_gmail.com#ext#@risebcg.onmicrosoft.com::67a27a72-2420-4d38-b745-316a53f4b99a" providerId="AD" clId="Web-{B7065643-81CF-4785-A43E-F7F8964C8BB8}" dt="2022-01-10T09:30:25.639" v="2378" actId="14100"/>
          <ac:picMkLst>
            <pc:docMk/>
            <pc:sldMk cId="3531645893" sldId="360"/>
            <ac:picMk id="6" creationId="{EF6EAEC0-2A43-4308-9642-0428A55E7A00}"/>
          </ac:picMkLst>
        </pc:picChg>
        <pc:picChg chg="add mod ord modCrop">
          <ac:chgData name="EVELYNSM.YONG" userId="S::evelynsm.yong_gmail.com#ext#@risebcg.onmicrosoft.com::67a27a72-2420-4d38-b745-316a53f4b99a" providerId="AD" clId="Web-{B7065643-81CF-4785-A43E-F7F8964C8BB8}" dt="2022-01-10T09:35:01.474" v="2480"/>
          <ac:picMkLst>
            <pc:docMk/>
            <pc:sldMk cId="3531645893" sldId="360"/>
            <ac:picMk id="14" creationId="{CA6FE08D-ADB1-46B9-A969-E879971A31D3}"/>
          </ac:picMkLst>
        </pc:picChg>
        <pc:picChg chg="add del">
          <ac:chgData name="EVELYNSM.YONG" userId="S::evelynsm.yong_gmail.com#ext#@risebcg.onmicrosoft.com::67a27a72-2420-4d38-b745-316a53f4b99a" providerId="AD" clId="Web-{B7065643-81CF-4785-A43E-F7F8964C8BB8}" dt="2022-01-10T09:04:56.152" v="2001"/>
          <ac:picMkLst>
            <pc:docMk/>
            <pc:sldMk cId="3531645893" sldId="360"/>
            <ac:picMk id="31" creationId="{BEC8A415-DCE3-4906-89FC-2E73D2352A34}"/>
          </ac:picMkLst>
        </pc:picChg>
        <pc:cxnChg chg="add mod">
          <ac:chgData name="EVELYNSM.YONG" userId="S::evelynsm.yong_gmail.com#ext#@risebcg.onmicrosoft.com::67a27a72-2420-4d38-b745-316a53f4b99a" providerId="AD" clId="Web-{B7065643-81CF-4785-A43E-F7F8964C8BB8}" dt="2022-01-10T09:39:34.308" v="2535" actId="14100"/>
          <ac:cxnSpMkLst>
            <pc:docMk/>
            <pc:sldMk cId="3531645893" sldId="360"/>
            <ac:cxnSpMk id="4" creationId="{BAA273B8-78B6-46B8-9FDB-2FE8E5FFAA59}"/>
          </ac:cxnSpMkLst>
        </pc:cxnChg>
        <pc:cxnChg chg="add mod">
          <ac:chgData name="EVELYNSM.YONG" userId="S::evelynsm.yong_gmail.com#ext#@risebcg.onmicrosoft.com::67a27a72-2420-4d38-b745-316a53f4b99a" providerId="AD" clId="Web-{B7065643-81CF-4785-A43E-F7F8964C8BB8}" dt="2022-01-10T09:39:25.870" v="2533" actId="14100"/>
          <ac:cxnSpMkLst>
            <pc:docMk/>
            <pc:sldMk cId="3531645893" sldId="360"/>
            <ac:cxnSpMk id="39" creationId="{C02C1C41-DC87-44F6-B172-862875871040}"/>
          </ac:cxnSpMkLst>
        </pc:cxnChg>
      </pc:sldChg>
      <pc:sldChg chg="del">
        <pc:chgData name="EVELYNSM.YONG" userId="S::evelynsm.yong_gmail.com#ext#@risebcg.onmicrosoft.com::67a27a72-2420-4d38-b745-316a53f4b99a" providerId="AD" clId="Web-{B7065643-81CF-4785-A43E-F7F8964C8BB8}" dt="2022-01-10T07:27:17.644" v="2"/>
        <pc:sldMkLst>
          <pc:docMk/>
          <pc:sldMk cId="2388905158" sldId="370"/>
        </pc:sldMkLst>
      </pc:sldChg>
      <pc:sldChg chg="addSp delSp modSp add del replId delAnim">
        <pc:chgData name="EVELYNSM.YONG" userId="S::evelynsm.yong_gmail.com#ext#@risebcg.onmicrosoft.com::67a27a72-2420-4d38-b745-316a53f4b99a" providerId="AD" clId="Web-{B7065643-81CF-4785-A43E-F7F8964C8BB8}" dt="2022-01-10T09:15:03.603" v="2148"/>
        <pc:sldMkLst>
          <pc:docMk/>
          <pc:sldMk cId="2447926016" sldId="371"/>
        </pc:sldMkLst>
        <pc:spChg chg="del">
          <ac:chgData name="EVELYNSM.YONG" userId="S::evelynsm.yong_gmail.com#ext#@risebcg.onmicrosoft.com::67a27a72-2420-4d38-b745-316a53f4b99a" providerId="AD" clId="Web-{B7065643-81CF-4785-A43E-F7F8964C8BB8}" dt="2022-01-10T08:41:27.682" v="1493"/>
          <ac:spMkLst>
            <pc:docMk/>
            <pc:sldMk cId="2447926016" sldId="371"/>
            <ac:spMk id="3" creationId="{D007FF1E-895C-4A21-8D3B-FDC1BD41CEEA}"/>
          </ac:spMkLst>
        </pc:spChg>
        <pc:spChg chg="del">
          <ac:chgData name="EVELYNSM.YONG" userId="S::evelynsm.yong_gmail.com#ext#@risebcg.onmicrosoft.com::67a27a72-2420-4d38-b745-316a53f4b99a" providerId="AD" clId="Web-{B7065643-81CF-4785-A43E-F7F8964C8BB8}" dt="2022-01-10T08:41:24.854" v="1492"/>
          <ac:spMkLst>
            <pc:docMk/>
            <pc:sldMk cId="2447926016" sldId="371"/>
            <ac:spMk id="4" creationId="{F2781DB5-90E2-4089-BA07-2F83778C3F07}"/>
          </ac:spMkLst>
        </pc:spChg>
        <pc:spChg chg="del">
          <ac:chgData name="EVELYNSM.YONG" userId="S::evelynsm.yong_gmail.com#ext#@risebcg.onmicrosoft.com::67a27a72-2420-4d38-b745-316a53f4b99a" providerId="AD" clId="Web-{B7065643-81CF-4785-A43E-F7F8964C8BB8}" dt="2022-01-10T08:41:24.854" v="1491"/>
          <ac:spMkLst>
            <pc:docMk/>
            <pc:sldMk cId="2447926016" sldId="371"/>
            <ac:spMk id="5" creationId="{AA1B9715-B961-42AF-90C9-79A87F13D1B8}"/>
          </ac:spMkLst>
        </pc:spChg>
        <pc:spChg chg="add del mod topLvl">
          <ac:chgData name="EVELYNSM.YONG" userId="S::evelynsm.yong_gmail.com#ext#@risebcg.onmicrosoft.com::67a27a72-2420-4d38-b745-316a53f4b99a" providerId="AD" clId="Web-{B7065643-81CF-4785-A43E-F7F8964C8BB8}" dt="2022-01-10T08:42:49.669" v="1506" actId="1076"/>
          <ac:spMkLst>
            <pc:docMk/>
            <pc:sldMk cId="2447926016" sldId="371"/>
            <ac:spMk id="6" creationId="{1F6C1D8C-C355-4404-8DE8-0C1F04D46B49}"/>
          </ac:spMkLst>
        </pc:spChg>
        <pc:spChg chg="del">
          <ac:chgData name="EVELYNSM.YONG" userId="S::evelynsm.yong_gmail.com#ext#@risebcg.onmicrosoft.com::67a27a72-2420-4d38-b745-316a53f4b99a" providerId="AD" clId="Web-{B7065643-81CF-4785-A43E-F7F8964C8BB8}" dt="2022-01-10T08:41:24.838" v="1488"/>
          <ac:spMkLst>
            <pc:docMk/>
            <pc:sldMk cId="2447926016" sldId="371"/>
            <ac:spMk id="10" creationId="{6903E9BF-EB5F-4900-A7C3-8046B86C2485}"/>
          </ac:spMkLst>
        </pc:spChg>
        <pc:spChg chg="del">
          <ac:chgData name="EVELYNSM.YONG" userId="S::evelynsm.yong_gmail.com#ext#@risebcg.onmicrosoft.com::67a27a72-2420-4d38-b745-316a53f4b99a" providerId="AD" clId="Web-{B7065643-81CF-4785-A43E-F7F8964C8BB8}" dt="2022-01-10T08:41:24.838" v="1487"/>
          <ac:spMkLst>
            <pc:docMk/>
            <pc:sldMk cId="2447926016" sldId="371"/>
            <ac:spMk id="11" creationId="{41409821-5DD4-4CE8-8A23-90E7022670FB}"/>
          </ac:spMkLst>
        </pc:spChg>
        <pc:spChg chg="add mod">
          <ac:chgData name="EVELYNSM.YONG" userId="S::evelynsm.yong_gmail.com#ext#@risebcg.onmicrosoft.com::67a27a72-2420-4d38-b745-316a53f4b99a" providerId="AD" clId="Web-{B7065643-81CF-4785-A43E-F7F8964C8BB8}" dt="2022-01-10T08:42:38.246" v="1505" actId="1076"/>
          <ac:spMkLst>
            <pc:docMk/>
            <pc:sldMk cId="2447926016" sldId="371"/>
            <ac:spMk id="14" creationId="{2C69D88B-2C3E-4585-9F55-DDB354CF5322}"/>
          </ac:spMkLst>
        </pc:spChg>
        <pc:spChg chg="del">
          <ac:chgData name="EVELYNSM.YONG" userId="S::evelynsm.yong_gmail.com#ext#@risebcg.onmicrosoft.com::67a27a72-2420-4d38-b745-316a53f4b99a" providerId="AD" clId="Web-{B7065643-81CF-4785-A43E-F7F8964C8BB8}" dt="2022-01-10T08:41:24.838" v="1485"/>
          <ac:spMkLst>
            <pc:docMk/>
            <pc:sldMk cId="2447926016" sldId="371"/>
            <ac:spMk id="17" creationId="{A342E76F-CBEB-45ED-8735-A83C6AD5D2B1}"/>
          </ac:spMkLst>
        </pc:spChg>
        <pc:spChg chg="del">
          <ac:chgData name="EVELYNSM.YONG" userId="S::evelynsm.yong_gmail.com#ext#@risebcg.onmicrosoft.com::67a27a72-2420-4d38-b745-316a53f4b99a" providerId="AD" clId="Web-{B7065643-81CF-4785-A43E-F7F8964C8BB8}" dt="2022-01-10T08:41:24.838" v="1481"/>
          <ac:spMkLst>
            <pc:docMk/>
            <pc:sldMk cId="2447926016" sldId="371"/>
            <ac:spMk id="32" creationId="{19924F50-9976-41A7-88C1-641F1509CEE0}"/>
          </ac:spMkLst>
        </pc:spChg>
        <pc:spChg chg="del">
          <ac:chgData name="EVELYNSM.YONG" userId="S::evelynsm.yong_gmail.com#ext#@risebcg.onmicrosoft.com::67a27a72-2420-4d38-b745-316a53f4b99a" providerId="AD" clId="Web-{B7065643-81CF-4785-A43E-F7F8964C8BB8}" dt="2022-01-10T08:41:24.838" v="1480"/>
          <ac:spMkLst>
            <pc:docMk/>
            <pc:sldMk cId="2447926016" sldId="371"/>
            <ac:spMk id="33" creationId="{C9B7F08E-D629-47BA-B28C-40CF22219379}"/>
          </ac:spMkLst>
        </pc:spChg>
        <pc:spChg chg="del">
          <ac:chgData name="EVELYNSM.YONG" userId="S::evelynsm.yong_gmail.com#ext#@risebcg.onmicrosoft.com::67a27a72-2420-4d38-b745-316a53f4b99a" providerId="AD" clId="Web-{B7065643-81CF-4785-A43E-F7F8964C8BB8}" dt="2022-01-10T08:41:24.838" v="1479"/>
          <ac:spMkLst>
            <pc:docMk/>
            <pc:sldMk cId="2447926016" sldId="371"/>
            <ac:spMk id="34" creationId="{06D19D76-F677-4AAA-AA6A-7CA4B9DAF436}"/>
          </ac:spMkLst>
        </pc:spChg>
        <pc:spChg chg="del">
          <ac:chgData name="EVELYNSM.YONG" userId="S::evelynsm.yong_gmail.com#ext#@risebcg.onmicrosoft.com::67a27a72-2420-4d38-b745-316a53f4b99a" providerId="AD" clId="Web-{B7065643-81CF-4785-A43E-F7F8964C8BB8}" dt="2022-01-10T08:41:24.838" v="1478"/>
          <ac:spMkLst>
            <pc:docMk/>
            <pc:sldMk cId="2447926016" sldId="371"/>
            <ac:spMk id="35" creationId="{E20AAA99-395B-4009-AF86-AC6B211B7758}"/>
          </ac:spMkLst>
        </pc:spChg>
        <pc:spChg chg="del">
          <ac:chgData name="EVELYNSM.YONG" userId="S::evelynsm.yong_gmail.com#ext#@risebcg.onmicrosoft.com::67a27a72-2420-4d38-b745-316a53f4b99a" providerId="AD" clId="Web-{B7065643-81CF-4785-A43E-F7F8964C8BB8}" dt="2022-01-10T08:41:24.838" v="1477"/>
          <ac:spMkLst>
            <pc:docMk/>
            <pc:sldMk cId="2447926016" sldId="371"/>
            <ac:spMk id="37" creationId="{1AA86EF9-D1F2-488E-902B-9C25FAEFDD52}"/>
          </ac:spMkLst>
        </pc:spChg>
        <pc:grpChg chg="add del mod">
          <ac:chgData name="EVELYNSM.YONG" userId="S::evelynsm.yong_gmail.com#ext#@risebcg.onmicrosoft.com::67a27a72-2420-4d38-b745-316a53f4b99a" providerId="AD" clId="Web-{B7065643-81CF-4785-A43E-F7F8964C8BB8}" dt="2022-01-10T08:42:23.559" v="1499"/>
          <ac:grpSpMkLst>
            <pc:docMk/>
            <pc:sldMk cId="2447926016" sldId="371"/>
            <ac:grpSpMk id="12" creationId="{7F8E9853-AD20-47CB-B420-FCDBADFE41AC}"/>
          </ac:grpSpMkLst>
        </pc:grpChg>
        <pc:picChg chg="del">
          <ac:chgData name="EVELYNSM.YONG" userId="S::evelynsm.yong_gmail.com#ext#@risebcg.onmicrosoft.com::67a27a72-2420-4d38-b745-316a53f4b99a" providerId="AD" clId="Web-{B7065643-81CF-4785-A43E-F7F8964C8BB8}" dt="2022-01-10T08:41:24.838" v="1490"/>
          <ac:picMkLst>
            <pc:docMk/>
            <pc:sldMk cId="2447926016" sldId="371"/>
            <ac:picMk id="7" creationId="{52098F02-F658-4E94-9501-A14F3E2D33CE}"/>
          </ac:picMkLst>
        </pc:picChg>
        <pc:picChg chg="add topLvl">
          <ac:chgData name="EVELYNSM.YONG" userId="S::evelynsm.yong_gmail.com#ext#@risebcg.onmicrosoft.com::67a27a72-2420-4d38-b745-316a53f4b99a" providerId="AD" clId="Web-{B7065643-81CF-4785-A43E-F7F8964C8BB8}" dt="2022-01-10T08:42:23.559" v="1499"/>
          <ac:picMkLst>
            <pc:docMk/>
            <pc:sldMk cId="2447926016" sldId="371"/>
            <ac:picMk id="8" creationId="{191E8121-F470-48DB-81BC-ECBFA2012B9A}"/>
          </ac:picMkLst>
        </pc:picChg>
        <pc:picChg chg="del">
          <ac:chgData name="EVELYNSM.YONG" userId="S::evelynsm.yong_gmail.com#ext#@risebcg.onmicrosoft.com::67a27a72-2420-4d38-b745-316a53f4b99a" providerId="AD" clId="Web-{B7065643-81CF-4785-A43E-F7F8964C8BB8}" dt="2022-01-10T08:41:24.838" v="1489"/>
          <ac:picMkLst>
            <pc:docMk/>
            <pc:sldMk cId="2447926016" sldId="371"/>
            <ac:picMk id="9" creationId="{A7D42D63-B632-4192-9AF9-4120DFBDAFF3}"/>
          </ac:picMkLst>
        </pc:picChg>
        <pc:picChg chg="del">
          <ac:chgData name="EVELYNSM.YONG" userId="S::evelynsm.yong_gmail.com#ext#@risebcg.onmicrosoft.com::67a27a72-2420-4d38-b745-316a53f4b99a" providerId="AD" clId="Web-{B7065643-81CF-4785-A43E-F7F8964C8BB8}" dt="2022-01-10T08:41:24.838" v="1486"/>
          <ac:picMkLst>
            <pc:docMk/>
            <pc:sldMk cId="2447926016" sldId="371"/>
            <ac:picMk id="13" creationId="{9D9C893F-03E6-48D6-942D-542F03E4CD7B}"/>
          </ac:picMkLst>
        </pc:picChg>
        <pc:picChg chg="del">
          <ac:chgData name="EVELYNSM.YONG" userId="S::evelynsm.yong_gmail.com#ext#@risebcg.onmicrosoft.com::67a27a72-2420-4d38-b745-316a53f4b99a" providerId="AD" clId="Web-{B7065643-81CF-4785-A43E-F7F8964C8BB8}" dt="2022-01-10T08:41:24.838" v="1484"/>
          <ac:picMkLst>
            <pc:docMk/>
            <pc:sldMk cId="2447926016" sldId="371"/>
            <ac:picMk id="21" creationId="{270AFCE7-EE99-4D66-AE35-2E7503A46115}"/>
          </ac:picMkLst>
        </pc:picChg>
        <pc:picChg chg="del">
          <ac:chgData name="EVELYNSM.YONG" userId="S::evelynsm.yong_gmail.com#ext#@risebcg.onmicrosoft.com::67a27a72-2420-4d38-b745-316a53f4b99a" providerId="AD" clId="Web-{B7065643-81CF-4785-A43E-F7F8964C8BB8}" dt="2022-01-10T08:41:24.838" v="1483"/>
          <ac:picMkLst>
            <pc:docMk/>
            <pc:sldMk cId="2447926016" sldId="371"/>
            <ac:picMk id="23" creationId="{AEC9587C-3F93-4045-ACEB-A1A4AFB0FC11}"/>
          </ac:picMkLst>
        </pc:picChg>
        <pc:picChg chg="del">
          <ac:chgData name="EVELYNSM.YONG" userId="S::evelynsm.yong_gmail.com#ext#@risebcg.onmicrosoft.com::67a27a72-2420-4d38-b745-316a53f4b99a" providerId="AD" clId="Web-{B7065643-81CF-4785-A43E-F7F8964C8BB8}" dt="2022-01-10T08:41:24.838" v="1482"/>
          <ac:picMkLst>
            <pc:docMk/>
            <pc:sldMk cId="2447926016" sldId="371"/>
            <ac:picMk id="29" creationId="{4F6899D5-3109-4938-82DA-041DEA46D7EF}"/>
          </ac:picMkLst>
        </pc:picChg>
      </pc:sldChg>
      <pc:sldChg chg="del">
        <pc:chgData name="EVELYNSM.YONG" userId="S::evelynsm.yong_gmail.com#ext#@risebcg.onmicrosoft.com::67a27a72-2420-4d38-b745-316a53f4b99a" providerId="AD" clId="Web-{B7065643-81CF-4785-A43E-F7F8964C8BB8}" dt="2022-01-10T09:16:59.590" v="2181"/>
        <pc:sldMkLst>
          <pc:docMk/>
          <pc:sldMk cId="1067422059" sldId="372"/>
        </pc:sldMkLst>
      </pc:sldChg>
      <pc:sldChg chg="del">
        <pc:chgData name="EVELYNSM.YONG" userId="S::evelynsm.yong_gmail.com#ext#@risebcg.onmicrosoft.com::67a27a72-2420-4d38-b745-316a53f4b99a" providerId="AD" clId="Web-{B7065643-81CF-4785-A43E-F7F8964C8BB8}" dt="2022-01-10T09:24:15.944" v="2235"/>
        <pc:sldMkLst>
          <pc:docMk/>
          <pc:sldMk cId="3904895489" sldId="373"/>
        </pc:sldMkLst>
      </pc:sldChg>
      <pc:sldChg chg="modSp del">
        <pc:chgData name="EVELYNSM.YONG" userId="S::evelynsm.yong_gmail.com#ext#@risebcg.onmicrosoft.com::67a27a72-2420-4d38-b745-316a53f4b99a" providerId="AD" clId="Web-{B7065643-81CF-4785-A43E-F7F8964C8BB8}" dt="2022-01-10T09:20:35.423" v="2218"/>
        <pc:sldMkLst>
          <pc:docMk/>
          <pc:sldMk cId="1525880247" sldId="374"/>
        </pc:sldMkLst>
        <pc:spChg chg="mod">
          <ac:chgData name="EVELYNSM.YONG" userId="S::evelynsm.yong_gmail.com#ext#@risebcg.onmicrosoft.com::67a27a72-2420-4d38-b745-316a53f4b99a" providerId="AD" clId="Web-{B7065643-81CF-4785-A43E-F7F8964C8BB8}" dt="2022-01-10T08:43:52.936" v="1513" actId="20577"/>
          <ac:spMkLst>
            <pc:docMk/>
            <pc:sldMk cId="1525880247" sldId="374"/>
            <ac:spMk id="2" creationId="{A39A4D9F-6CD8-4720-9D48-D7FA06F4715B}"/>
          </ac:spMkLst>
        </pc:spChg>
      </pc:sldChg>
      <pc:sldChg chg="addSp delSp modSp add ord replId modNotes">
        <pc:chgData name="EVELYNSM.YONG" userId="S::evelynsm.yong_gmail.com#ext#@risebcg.onmicrosoft.com::67a27a72-2420-4d38-b745-316a53f4b99a" providerId="AD" clId="Web-{B7065643-81CF-4785-A43E-F7F8964C8BB8}" dt="2022-01-10T09:16:58.074" v="2180"/>
        <pc:sldMkLst>
          <pc:docMk/>
          <pc:sldMk cId="2249197500" sldId="375"/>
        </pc:sldMkLst>
        <pc:spChg chg="add mod">
          <ac:chgData name="EVELYNSM.YONG" userId="S::evelynsm.yong_gmail.com#ext#@risebcg.onmicrosoft.com::67a27a72-2420-4d38-b745-316a53f4b99a" providerId="AD" clId="Web-{B7065643-81CF-4785-A43E-F7F8964C8BB8}" dt="2022-01-10T09:14:47.212" v="2147"/>
          <ac:spMkLst>
            <pc:docMk/>
            <pc:sldMk cId="2249197500" sldId="375"/>
            <ac:spMk id="2" creationId="{D2AC414D-C8F9-4E07-9D41-5AAD3600E4CA}"/>
          </ac:spMkLst>
        </pc:spChg>
        <pc:spChg chg="del mod">
          <ac:chgData name="EVELYNSM.YONG" userId="S::evelynsm.yong_gmail.com#ext#@risebcg.onmicrosoft.com::67a27a72-2420-4d38-b745-316a53f4b99a" providerId="AD" clId="Web-{B7065643-81CF-4785-A43E-F7F8964C8BB8}" dt="2022-01-10T09:12:43.928" v="2120"/>
          <ac:spMkLst>
            <pc:docMk/>
            <pc:sldMk cId="2249197500" sldId="375"/>
            <ac:spMk id="3" creationId="{FA2505BE-1A50-4419-9F3A-26EF66EDBF4F}"/>
          </ac:spMkLst>
        </pc:spChg>
        <pc:picChg chg="add mod">
          <ac:chgData name="EVELYNSM.YONG" userId="S::evelynsm.yong_gmail.com#ext#@risebcg.onmicrosoft.com::67a27a72-2420-4d38-b745-316a53f4b99a" providerId="AD" clId="Web-{B7065643-81CF-4785-A43E-F7F8964C8BB8}" dt="2022-01-10T09:14:20.774" v="2143"/>
          <ac:picMkLst>
            <pc:docMk/>
            <pc:sldMk cId="2249197500" sldId="375"/>
            <ac:picMk id="6" creationId="{CDA4DE4C-970A-4EAB-AC6E-002BA44377FC}"/>
          </ac:picMkLst>
        </pc:picChg>
      </pc:sldChg>
      <pc:sldChg chg="addSp delSp modSp add ord replId modNotes">
        <pc:chgData name="EVELYNSM.YONG" userId="S::evelynsm.yong_gmail.com#ext#@risebcg.onmicrosoft.com::67a27a72-2420-4d38-b745-316a53f4b99a" providerId="AD" clId="Web-{B7065643-81CF-4785-A43E-F7F8964C8BB8}" dt="2022-01-10T09:16:54.918" v="2179"/>
        <pc:sldMkLst>
          <pc:docMk/>
          <pc:sldMk cId="1064641949" sldId="376"/>
        </pc:sldMkLst>
        <pc:spChg chg="mod">
          <ac:chgData name="EVELYNSM.YONG" userId="S::evelynsm.yong_gmail.com#ext#@risebcg.onmicrosoft.com::67a27a72-2420-4d38-b745-316a53f4b99a" providerId="AD" clId="Web-{B7065643-81CF-4785-A43E-F7F8964C8BB8}" dt="2022-01-10T09:15:55.526" v="2173" actId="20577"/>
          <ac:spMkLst>
            <pc:docMk/>
            <pc:sldMk cId="1064641949" sldId="376"/>
            <ac:spMk id="2" creationId="{D2AC414D-C8F9-4E07-9D41-5AAD3600E4CA}"/>
          </ac:spMkLst>
        </pc:spChg>
        <pc:picChg chg="add mod">
          <ac:chgData name="EVELYNSM.YONG" userId="S::evelynsm.yong_gmail.com#ext#@risebcg.onmicrosoft.com::67a27a72-2420-4d38-b745-316a53f4b99a" providerId="AD" clId="Web-{B7065643-81CF-4785-A43E-F7F8964C8BB8}" dt="2022-01-10T09:16:01.760" v="2176" actId="1076"/>
          <ac:picMkLst>
            <pc:docMk/>
            <pc:sldMk cId="1064641949" sldId="376"/>
            <ac:picMk id="3" creationId="{6F382BC0-49BA-48AF-BA38-82F2ED538C6C}"/>
          </ac:picMkLst>
        </pc:picChg>
        <pc:picChg chg="del">
          <ac:chgData name="EVELYNSM.YONG" userId="S::evelynsm.yong_gmail.com#ext#@risebcg.onmicrosoft.com::67a27a72-2420-4d38-b745-316a53f4b99a" providerId="AD" clId="Web-{B7065643-81CF-4785-A43E-F7F8964C8BB8}" dt="2022-01-10T09:15:56.213" v="2174"/>
          <ac:picMkLst>
            <pc:docMk/>
            <pc:sldMk cId="1064641949" sldId="376"/>
            <ac:picMk id="6" creationId="{CDA4DE4C-970A-4EAB-AC6E-002BA44377FC}"/>
          </ac:picMkLst>
        </pc:picChg>
      </pc:sldChg>
      <pc:sldChg chg="addSp delSp modSp add ord replId">
        <pc:chgData name="EVELYNSM.YONG" userId="S::evelynsm.yong_gmail.com#ext#@risebcg.onmicrosoft.com::67a27a72-2420-4d38-b745-316a53f4b99a" providerId="AD" clId="Web-{B7065643-81CF-4785-A43E-F7F8964C8BB8}" dt="2022-01-10T09:20:17.548" v="2216" actId="1076"/>
        <pc:sldMkLst>
          <pc:docMk/>
          <pc:sldMk cId="3505188540" sldId="377"/>
        </pc:sldMkLst>
        <pc:spChg chg="mod">
          <ac:chgData name="EVELYNSM.YONG" userId="S::evelynsm.yong_gmail.com#ext#@risebcg.onmicrosoft.com::67a27a72-2420-4d38-b745-316a53f4b99a" providerId="AD" clId="Web-{B7065643-81CF-4785-A43E-F7F8964C8BB8}" dt="2022-01-10T09:19:33.734" v="2209" actId="20577"/>
          <ac:spMkLst>
            <pc:docMk/>
            <pc:sldMk cId="3505188540" sldId="377"/>
            <ac:spMk id="2" creationId="{D2AC414D-C8F9-4E07-9D41-5AAD3600E4CA}"/>
          </ac:spMkLst>
        </pc:spChg>
        <pc:grpChg chg="add mod">
          <ac:chgData name="EVELYNSM.YONG" userId="S::evelynsm.yong_gmail.com#ext#@risebcg.onmicrosoft.com::67a27a72-2420-4d38-b745-316a53f4b99a" providerId="AD" clId="Web-{B7065643-81CF-4785-A43E-F7F8964C8BB8}" dt="2022-01-10T09:20:17.548" v="2216" actId="1076"/>
          <ac:grpSpMkLst>
            <pc:docMk/>
            <pc:sldMk cId="3505188540" sldId="377"/>
            <ac:grpSpMk id="10" creationId="{258CA1F2-5352-4D56-9429-D795344C6B88}"/>
          </ac:grpSpMkLst>
        </pc:grpChg>
        <pc:picChg chg="del">
          <ac:chgData name="EVELYNSM.YONG" userId="S::evelynsm.yong_gmail.com#ext#@risebcg.onmicrosoft.com::67a27a72-2420-4d38-b745-316a53f4b99a" providerId="AD" clId="Web-{B7065643-81CF-4785-A43E-F7F8964C8BB8}" dt="2022-01-10T09:19:10.530" v="2184"/>
          <ac:picMkLst>
            <pc:docMk/>
            <pc:sldMk cId="3505188540" sldId="377"/>
            <ac:picMk id="3" creationId="{6F382BC0-49BA-48AF-BA38-82F2ED538C6C}"/>
          </ac:picMkLst>
        </pc:picChg>
        <pc:picChg chg="add del">
          <ac:chgData name="EVELYNSM.YONG" userId="S::evelynsm.yong_gmail.com#ext#@risebcg.onmicrosoft.com::67a27a72-2420-4d38-b745-316a53f4b99a" providerId="AD" clId="Web-{B7065643-81CF-4785-A43E-F7F8964C8BB8}" dt="2022-01-10T09:19:14.187" v="2186"/>
          <ac:picMkLst>
            <pc:docMk/>
            <pc:sldMk cId="3505188540" sldId="377"/>
            <ac:picMk id="5" creationId="{8B8AC4AC-BA86-4830-BE68-52877D3B2C58}"/>
          </ac:picMkLst>
        </pc:picChg>
        <pc:picChg chg="add mod">
          <ac:chgData name="EVELYNSM.YONG" userId="S::evelynsm.yong_gmail.com#ext#@risebcg.onmicrosoft.com::67a27a72-2420-4d38-b745-316a53f4b99a" providerId="AD" clId="Web-{B7065643-81CF-4785-A43E-F7F8964C8BB8}" dt="2022-01-10T09:20:06.860" v="2212" actId="1076"/>
          <ac:picMkLst>
            <pc:docMk/>
            <pc:sldMk cId="3505188540" sldId="377"/>
            <ac:picMk id="7" creationId="{FF3B21C2-DAAF-4FBE-8407-DFE323F63AD3}"/>
          </ac:picMkLst>
        </pc:picChg>
        <pc:picChg chg="add mod">
          <ac:chgData name="EVELYNSM.YONG" userId="S::evelynsm.yong_gmail.com#ext#@risebcg.onmicrosoft.com::67a27a72-2420-4d38-b745-316a53f4b99a" providerId="AD" clId="Web-{B7065643-81CF-4785-A43E-F7F8964C8BB8}" dt="2022-01-10T09:20:06.860" v="2213" actId="1076"/>
          <ac:picMkLst>
            <pc:docMk/>
            <pc:sldMk cId="3505188540" sldId="377"/>
            <ac:picMk id="9" creationId="{B3CA0067-ED0D-4588-907B-F5FCB4DB5868}"/>
          </ac:picMkLst>
        </pc:picChg>
      </pc:sldChg>
      <pc:sldChg chg="delSp modSp add replId modNotes">
        <pc:chgData name="EVELYNSM.YONG" userId="S::evelynsm.yong_gmail.com#ext#@risebcg.onmicrosoft.com::67a27a72-2420-4d38-b745-316a53f4b99a" providerId="AD" clId="Web-{B7065643-81CF-4785-A43E-F7F8964C8BB8}" dt="2022-01-10T09:24:39.053" v="2258"/>
        <pc:sldMkLst>
          <pc:docMk/>
          <pc:sldMk cId="4119151274" sldId="378"/>
        </pc:sldMkLst>
        <pc:spChg chg="mod">
          <ac:chgData name="EVELYNSM.YONG" userId="S::evelynsm.yong_gmail.com#ext#@risebcg.onmicrosoft.com::67a27a72-2420-4d38-b745-316a53f4b99a" providerId="AD" clId="Web-{B7065643-81CF-4785-A43E-F7F8964C8BB8}" dt="2022-01-10T09:21:09.892" v="2234" actId="20577"/>
          <ac:spMkLst>
            <pc:docMk/>
            <pc:sldMk cId="4119151274" sldId="378"/>
            <ac:spMk id="2" creationId="{D2AC414D-C8F9-4E07-9D41-5AAD3600E4CA}"/>
          </ac:spMkLst>
        </pc:spChg>
        <pc:grpChg chg="del">
          <ac:chgData name="EVELYNSM.YONG" userId="S::evelynsm.yong_gmail.com#ext#@risebcg.onmicrosoft.com::67a27a72-2420-4d38-b745-316a53f4b99a" providerId="AD" clId="Web-{B7065643-81CF-4785-A43E-F7F8964C8BB8}" dt="2022-01-10T09:20:44.126" v="2226"/>
          <ac:grpSpMkLst>
            <pc:docMk/>
            <pc:sldMk cId="4119151274" sldId="378"/>
            <ac:grpSpMk id="10" creationId="{258CA1F2-5352-4D56-9429-D795344C6B88}"/>
          </ac:grpSpMkLst>
        </pc:grpChg>
        <pc:picChg chg="del topLvl">
          <ac:chgData name="EVELYNSM.YONG" userId="S::evelynsm.yong_gmail.com#ext#@risebcg.onmicrosoft.com::67a27a72-2420-4d38-b745-316a53f4b99a" providerId="AD" clId="Web-{B7065643-81CF-4785-A43E-F7F8964C8BB8}" dt="2022-01-10T09:20:44.126" v="2226"/>
          <ac:picMkLst>
            <pc:docMk/>
            <pc:sldMk cId="4119151274" sldId="378"/>
            <ac:picMk id="7" creationId="{FF3B21C2-DAAF-4FBE-8407-DFE323F63AD3}"/>
          </ac:picMkLst>
        </pc:picChg>
        <pc:picChg chg="del topLvl">
          <ac:chgData name="EVELYNSM.YONG" userId="S::evelynsm.yong_gmail.com#ext#@risebcg.onmicrosoft.com::67a27a72-2420-4d38-b745-316a53f4b99a" providerId="AD" clId="Web-{B7065643-81CF-4785-A43E-F7F8964C8BB8}" dt="2022-01-10T09:20:45.048" v="2227"/>
          <ac:picMkLst>
            <pc:docMk/>
            <pc:sldMk cId="4119151274" sldId="378"/>
            <ac:picMk id="9" creationId="{B3CA0067-ED0D-4588-907B-F5FCB4DB5868}"/>
          </ac:picMkLst>
        </pc:picChg>
      </pc:sldChg>
    </pc:docChg>
  </pc:docChgLst>
  <pc:docChgLst>
    <pc:chgData name="EVELYNSM.YONG" userId="S::evelynsm.yong_gmail.com#ext#@risebcg.onmicrosoft.com::67a27a72-2420-4d38-b745-316a53f4b99a" providerId="AD" clId="Web-{192FE1B7-07D2-4ABF-9850-5AAFACEA36B3}"/>
    <pc:docChg chg="modSld">
      <pc:chgData name="EVELYNSM.YONG" userId="S::evelynsm.yong_gmail.com#ext#@risebcg.onmicrosoft.com::67a27a72-2420-4d38-b745-316a53f4b99a" providerId="AD" clId="Web-{192FE1B7-07D2-4ABF-9850-5AAFACEA36B3}" dt="2022-01-07T13:59:52.882" v="55" actId="14100"/>
      <pc:docMkLst>
        <pc:docMk/>
      </pc:docMkLst>
      <pc:sldChg chg="modSp">
        <pc:chgData name="EVELYNSM.YONG" userId="S::evelynsm.yong_gmail.com#ext#@risebcg.onmicrosoft.com::67a27a72-2420-4d38-b745-316a53f4b99a" providerId="AD" clId="Web-{192FE1B7-07D2-4ABF-9850-5AAFACEA36B3}" dt="2022-01-07T13:59:52.882" v="55" actId="14100"/>
        <pc:sldMkLst>
          <pc:docMk/>
          <pc:sldMk cId="2256265757" sldId="315"/>
        </pc:sldMkLst>
        <pc:graphicFrameChg chg="mod modGraphic">
          <ac:chgData name="EVELYNSM.YONG" userId="S::evelynsm.yong_gmail.com#ext#@risebcg.onmicrosoft.com::67a27a72-2420-4d38-b745-316a53f4b99a" providerId="AD" clId="Web-{192FE1B7-07D2-4ABF-9850-5AAFACEA36B3}" dt="2022-01-07T13:59:52.882" v="55" actId="14100"/>
          <ac:graphicFrameMkLst>
            <pc:docMk/>
            <pc:sldMk cId="2256265757" sldId="315"/>
            <ac:graphicFrameMk id="18" creationId="{2289CFB1-4EE4-43EC-A8B5-4E5FC402B3C5}"/>
          </ac:graphicFrameMkLst>
        </pc:graphicFrameChg>
      </pc:sldChg>
    </pc:docChg>
  </pc:docChgLst>
  <pc:docChgLst>
    <pc:chgData name="EVELYNSM.YONG" userId="S::evelynsm.yong_gmail.com#ext#@risebcg.onmicrosoft.com::67a27a72-2420-4d38-b745-316a53f4b99a" providerId="AD" clId="Web-{74E7815B-A246-44ED-82DC-F39008407D50}"/>
    <pc:docChg chg="modSld">
      <pc:chgData name="EVELYNSM.YONG" userId="S::evelynsm.yong_gmail.com#ext#@risebcg.onmicrosoft.com::67a27a72-2420-4d38-b745-316a53f4b99a" providerId="AD" clId="Web-{74E7815B-A246-44ED-82DC-F39008407D50}" dt="2022-01-11T02:30:29.498" v="76"/>
      <pc:docMkLst>
        <pc:docMk/>
      </pc:docMkLst>
      <pc:sldChg chg="addSp delSp modNotes">
        <pc:chgData name="EVELYNSM.YONG" userId="S::evelynsm.yong_gmail.com#ext#@risebcg.onmicrosoft.com::67a27a72-2420-4d38-b745-316a53f4b99a" providerId="AD" clId="Web-{74E7815B-A246-44ED-82DC-F39008407D50}" dt="2022-01-11T02:30:29.498" v="76"/>
        <pc:sldMkLst>
          <pc:docMk/>
          <pc:sldMk cId="3391215681" sldId="339"/>
        </pc:sldMkLst>
        <pc:spChg chg="add del">
          <ac:chgData name="EVELYNSM.YONG" userId="S::evelynsm.yong_gmail.com#ext#@risebcg.onmicrosoft.com::67a27a72-2420-4d38-b745-316a53f4b99a" providerId="AD" clId="Web-{74E7815B-A246-44ED-82DC-F39008407D50}" dt="2022-01-11T02:30:29.498" v="76"/>
          <ac:spMkLst>
            <pc:docMk/>
            <pc:sldMk cId="3391215681" sldId="339"/>
            <ac:spMk id="23" creationId="{4E7D46A0-BBBA-404E-80D1-D00B508E3287}"/>
          </ac:spMkLst>
        </pc:spChg>
      </pc:sldChg>
    </pc:docChg>
  </pc:docChgLst>
  <pc:docChgLst>
    <pc:chgData name="COSMOSFREN" userId="S::cosmosfren_yahoo.com#ext#@risebcg.onmicrosoft.com::5462f5f4-f618-47aa-abd8-fd504e002570" providerId="AD" clId="Web-{35D5487B-20F6-4690-B7B5-A0BABE93271B}"/>
    <pc:docChg chg="modSld">
      <pc:chgData name="COSMOSFREN" userId="S::cosmosfren_yahoo.com#ext#@risebcg.onmicrosoft.com::5462f5f4-f618-47aa-abd8-fd504e002570" providerId="AD" clId="Web-{35D5487B-20F6-4690-B7B5-A0BABE93271B}" dt="2022-01-10T01:14:11.365" v="459"/>
      <pc:docMkLst>
        <pc:docMk/>
      </pc:docMkLst>
      <pc:sldChg chg="modSp modNotes">
        <pc:chgData name="COSMOSFREN" userId="S::cosmosfren_yahoo.com#ext#@risebcg.onmicrosoft.com::5462f5f4-f618-47aa-abd8-fd504e002570" providerId="AD" clId="Web-{35D5487B-20F6-4690-B7B5-A0BABE93271B}" dt="2022-01-10T01:12:14.737" v="231"/>
        <pc:sldMkLst>
          <pc:docMk/>
          <pc:sldMk cId="2067521295" sldId="323"/>
        </pc:sldMkLst>
        <pc:spChg chg="mod">
          <ac:chgData name="COSMOSFREN" userId="S::cosmosfren_yahoo.com#ext#@risebcg.onmicrosoft.com::5462f5f4-f618-47aa-abd8-fd504e002570" providerId="AD" clId="Web-{35D5487B-20F6-4690-B7B5-A0BABE93271B}" dt="2022-01-10T01:12:04.596" v="225" actId="20577"/>
          <ac:spMkLst>
            <pc:docMk/>
            <pc:sldMk cId="2067521295" sldId="323"/>
            <ac:spMk id="3" creationId="{FA2505BE-1A50-4419-9F3A-26EF66EDBF4F}"/>
          </ac:spMkLst>
        </pc:spChg>
      </pc:sldChg>
      <pc:sldChg chg="modNotes">
        <pc:chgData name="COSMOSFREN" userId="S::cosmosfren_yahoo.com#ext#@risebcg.onmicrosoft.com::5462f5f4-f618-47aa-abd8-fd504e002570" providerId="AD" clId="Web-{35D5487B-20F6-4690-B7B5-A0BABE93271B}" dt="2022-01-10T01:14:11.365" v="459"/>
        <pc:sldMkLst>
          <pc:docMk/>
          <pc:sldMk cId="3666302761" sldId="324"/>
        </pc:sldMkLst>
      </pc:sldChg>
      <pc:sldChg chg="modNotes">
        <pc:chgData name="COSMOSFREN" userId="S::cosmosfren_yahoo.com#ext#@risebcg.onmicrosoft.com::5462f5f4-f618-47aa-abd8-fd504e002570" providerId="AD" clId="Web-{35D5487B-20F6-4690-B7B5-A0BABE93271B}" dt="2022-01-10T01:10:35.828" v="203"/>
        <pc:sldMkLst>
          <pc:docMk/>
          <pc:sldMk cId="416007632" sldId="327"/>
        </pc:sldMkLst>
      </pc:sldChg>
    </pc:docChg>
  </pc:docChgLst>
  <pc:docChgLst>
    <pc:chgData name="WONGYONGLIN91" userId="S::wongyonglin91_gmail.com#ext#@risebcg.onmicrosoft.com::b2d94f93-e580-4f0d-9dda-2138509d25ae" providerId="AD" clId="Web-{AADDA445-BDD6-42F9-85C9-88CD3230B937}"/>
    <pc:docChg chg="addSld delSld modSld">
      <pc:chgData name="WONGYONGLIN91" userId="S::wongyonglin91_gmail.com#ext#@risebcg.onmicrosoft.com::b2d94f93-e580-4f0d-9dda-2138509d25ae" providerId="AD" clId="Web-{AADDA445-BDD6-42F9-85C9-88CD3230B937}" dt="2022-01-09T11:24:00.148" v="152"/>
      <pc:docMkLst>
        <pc:docMk/>
      </pc:docMkLst>
      <pc:sldChg chg="modSp">
        <pc:chgData name="WONGYONGLIN91" userId="S::wongyonglin91_gmail.com#ext#@risebcg.onmicrosoft.com::b2d94f93-e580-4f0d-9dda-2138509d25ae" providerId="AD" clId="Web-{AADDA445-BDD6-42F9-85C9-88CD3230B937}" dt="2022-01-09T09:08:41.528" v="25" actId="20577"/>
        <pc:sldMkLst>
          <pc:docMk/>
          <pc:sldMk cId="2761597836" sldId="317"/>
        </pc:sldMkLst>
        <pc:spChg chg="mod">
          <ac:chgData name="WONGYONGLIN91" userId="S::wongyonglin91_gmail.com#ext#@risebcg.onmicrosoft.com::b2d94f93-e580-4f0d-9dda-2138509d25ae" providerId="AD" clId="Web-{AADDA445-BDD6-42F9-85C9-88CD3230B937}" dt="2022-01-09T09:08:41.528" v="25" actId="20577"/>
          <ac:spMkLst>
            <pc:docMk/>
            <pc:sldMk cId="2761597836" sldId="317"/>
            <ac:spMk id="3" creationId="{3AAD55FA-63B7-4DBA-8DC0-293DEF7C309C}"/>
          </ac:spMkLst>
        </pc:spChg>
      </pc:sldChg>
      <pc:sldChg chg="addSp delSp modSp">
        <pc:chgData name="WONGYONGLIN91" userId="S::wongyonglin91_gmail.com#ext#@risebcg.onmicrosoft.com::b2d94f93-e580-4f0d-9dda-2138509d25ae" providerId="AD" clId="Web-{AADDA445-BDD6-42F9-85C9-88CD3230B937}" dt="2022-01-09T09:05:35.321" v="23" actId="14100"/>
        <pc:sldMkLst>
          <pc:docMk/>
          <pc:sldMk cId="3971465157" sldId="345"/>
        </pc:sldMkLst>
        <pc:spChg chg="mod">
          <ac:chgData name="WONGYONGLIN91" userId="S::wongyonglin91_gmail.com#ext#@risebcg.onmicrosoft.com::b2d94f93-e580-4f0d-9dda-2138509d25ae" providerId="AD" clId="Web-{AADDA445-BDD6-42F9-85C9-88CD3230B937}" dt="2022-01-09T08:47:21.248" v="7" actId="20577"/>
          <ac:spMkLst>
            <pc:docMk/>
            <pc:sldMk cId="3971465157" sldId="345"/>
            <ac:spMk id="2" creationId="{ED14AA63-35D8-4136-8B2F-DE1837A583A2}"/>
          </ac:spMkLst>
        </pc:spChg>
        <pc:picChg chg="del">
          <ac:chgData name="WONGYONGLIN91" userId="S::wongyonglin91_gmail.com#ext#@risebcg.onmicrosoft.com::b2d94f93-e580-4f0d-9dda-2138509d25ae" providerId="AD" clId="Web-{AADDA445-BDD6-42F9-85C9-88CD3230B937}" dt="2022-01-09T09:05:19.555" v="18"/>
          <ac:picMkLst>
            <pc:docMk/>
            <pc:sldMk cId="3971465157" sldId="345"/>
            <ac:picMk id="6" creationId="{0543AB5E-0C46-4F5B-92B9-8460B4265166}"/>
          </ac:picMkLst>
        </pc:picChg>
        <pc:picChg chg="del">
          <ac:chgData name="WONGYONGLIN91" userId="S::wongyonglin91_gmail.com#ext#@risebcg.onmicrosoft.com::b2d94f93-e580-4f0d-9dda-2138509d25ae" providerId="AD" clId="Web-{AADDA445-BDD6-42F9-85C9-88CD3230B937}" dt="2022-01-09T08:51:46.504" v="8"/>
          <ac:picMkLst>
            <pc:docMk/>
            <pc:sldMk cId="3971465157" sldId="345"/>
            <ac:picMk id="7" creationId="{F2806C6D-F724-4DED-AEF0-61ECCAB05DB6}"/>
          </ac:picMkLst>
        </pc:picChg>
        <pc:picChg chg="mod">
          <ac:chgData name="WONGYONGLIN91" userId="S::wongyonglin91_gmail.com#ext#@risebcg.onmicrosoft.com::b2d94f93-e580-4f0d-9dda-2138509d25ae" providerId="AD" clId="Web-{AADDA445-BDD6-42F9-85C9-88CD3230B937}" dt="2022-01-09T08:52:33.568" v="14" actId="14100"/>
          <ac:picMkLst>
            <pc:docMk/>
            <pc:sldMk cId="3971465157" sldId="345"/>
            <ac:picMk id="8" creationId="{1C37FA25-553F-4164-8C97-7E76EEDF8003}"/>
          </ac:picMkLst>
        </pc:picChg>
        <pc:picChg chg="add mod">
          <ac:chgData name="WONGYONGLIN91" userId="S::wongyonglin91_gmail.com#ext#@risebcg.onmicrosoft.com::b2d94f93-e580-4f0d-9dda-2138509d25ae" providerId="AD" clId="Web-{AADDA445-BDD6-42F9-85C9-88CD3230B937}" dt="2022-01-09T09:05:35.321" v="23" actId="14100"/>
          <ac:picMkLst>
            <pc:docMk/>
            <pc:sldMk cId="3971465157" sldId="345"/>
            <ac:picMk id="10" creationId="{BC57136E-9901-4CDB-9B10-C29044E8BCA8}"/>
          </ac:picMkLst>
        </pc:picChg>
        <pc:picChg chg="add mod">
          <ac:chgData name="WONGYONGLIN91" userId="S::wongyonglin91_gmail.com#ext#@risebcg.onmicrosoft.com::b2d94f93-e580-4f0d-9dda-2138509d25ae" providerId="AD" clId="Web-{AADDA445-BDD6-42F9-85C9-88CD3230B937}" dt="2022-01-09T09:05:28.649" v="21" actId="14100"/>
          <ac:picMkLst>
            <pc:docMk/>
            <pc:sldMk cId="3971465157" sldId="345"/>
            <ac:picMk id="11" creationId="{31819B31-85B9-4D2E-B13C-BE009B402BB3}"/>
          </ac:picMkLst>
        </pc:picChg>
      </pc:sldChg>
      <pc:sldChg chg="addSp delSp modSp">
        <pc:chgData name="WONGYONGLIN91" userId="S::wongyonglin91_gmail.com#ext#@risebcg.onmicrosoft.com::b2d94f93-e580-4f0d-9dda-2138509d25ae" providerId="AD" clId="Web-{AADDA445-BDD6-42F9-85C9-88CD3230B937}" dt="2022-01-09T10:57:37.268" v="151" actId="1076"/>
        <pc:sldMkLst>
          <pc:docMk/>
          <pc:sldMk cId="1894441827" sldId="358"/>
        </pc:sldMkLst>
        <pc:spChg chg="mod">
          <ac:chgData name="WONGYONGLIN91" userId="S::wongyonglin91_gmail.com#ext#@risebcg.onmicrosoft.com::b2d94f93-e580-4f0d-9dda-2138509d25ae" providerId="AD" clId="Web-{AADDA445-BDD6-42F9-85C9-88CD3230B937}" dt="2022-01-09T10:30:25.940" v="70" actId="1076"/>
          <ac:spMkLst>
            <pc:docMk/>
            <pc:sldMk cId="1894441827" sldId="358"/>
            <ac:spMk id="3" creationId="{2321500F-B116-49E9-B713-1C89E59A92D6}"/>
          </ac:spMkLst>
        </pc:spChg>
        <pc:spChg chg="mod">
          <ac:chgData name="WONGYONGLIN91" userId="S::wongyonglin91_gmail.com#ext#@risebcg.onmicrosoft.com::b2d94f93-e580-4f0d-9dda-2138509d25ae" providerId="AD" clId="Web-{AADDA445-BDD6-42F9-85C9-88CD3230B937}" dt="2022-01-09T10:25:53.607" v="57" actId="1076"/>
          <ac:spMkLst>
            <pc:docMk/>
            <pc:sldMk cId="1894441827" sldId="358"/>
            <ac:spMk id="13" creationId="{E2455A5F-294A-4EA7-8956-A3DA20378328}"/>
          </ac:spMkLst>
        </pc:spChg>
        <pc:spChg chg="mod">
          <ac:chgData name="WONGYONGLIN91" userId="S::wongyonglin91_gmail.com#ext#@risebcg.onmicrosoft.com::b2d94f93-e580-4f0d-9dda-2138509d25ae" providerId="AD" clId="Web-{AADDA445-BDD6-42F9-85C9-88CD3230B937}" dt="2022-01-09T08:59:26.171" v="16" actId="14100"/>
          <ac:spMkLst>
            <pc:docMk/>
            <pc:sldMk cId="1894441827" sldId="358"/>
            <ac:spMk id="16" creationId="{6F7C634F-B1DE-4A85-9321-B939E0949224}"/>
          </ac:spMkLst>
        </pc:spChg>
        <pc:picChg chg="del">
          <ac:chgData name="WONGYONGLIN91" userId="S::wongyonglin91_gmail.com#ext#@risebcg.onmicrosoft.com::b2d94f93-e580-4f0d-9dda-2138509d25ae" providerId="AD" clId="Web-{AADDA445-BDD6-42F9-85C9-88CD3230B937}" dt="2022-01-09T10:23:11.948" v="37"/>
          <ac:picMkLst>
            <pc:docMk/>
            <pc:sldMk cId="1894441827" sldId="358"/>
            <ac:picMk id="4" creationId="{BA22EAA2-4B47-4688-9DD6-1B3E79191AAF}"/>
          </ac:picMkLst>
        </pc:picChg>
        <pc:picChg chg="add del mod">
          <ac:chgData name="WONGYONGLIN91" userId="S::wongyonglin91_gmail.com#ext#@risebcg.onmicrosoft.com::b2d94f93-e580-4f0d-9dda-2138509d25ae" providerId="AD" clId="Web-{AADDA445-BDD6-42F9-85C9-88CD3230B937}" dt="2022-01-09T10:22:30.010" v="31"/>
          <ac:picMkLst>
            <pc:docMk/>
            <pc:sldMk cId="1894441827" sldId="358"/>
            <ac:picMk id="5" creationId="{C9FC6C8D-9193-48E1-8D0D-039C37E52BE0}"/>
          </ac:picMkLst>
        </pc:picChg>
        <pc:picChg chg="add del mod">
          <ac:chgData name="WONGYONGLIN91" userId="S::wongyonglin91_gmail.com#ext#@risebcg.onmicrosoft.com::b2d94f93-e580-4f0d-9dda-2138509d25ae" providerId="AD" clId="Web-{AADDA445-BDD6-42F9-85C9-88CD3230B937}" dt="2022-01-09T10:32:57.255" v="90"/>
          <ac:picMkLst>
            <pc:docMk/>
            <pc:sldMk cId="1894441827" sldId="358"/>
            <ac:picMk id="6" creationId="{36E933AE-617C-4DEB-B4AD-4702ECE92209}"/>
          </ac:picMkLst>
        </pc:picChg>
        <pc:picChg chg="add mod">
          <ac:chgData name="WONGYONGLIN91" userId="S::wongyonglin91_gmail.com#ext#@risebcg.onmicrosoft.com::b2d94f93-e580-4f0d-9dda-2138509d25ae" providerId="AD" clId="Web-{AADDA445-BDD6-42F9-85C9-88CD3230B937}" dt="2022-01-09T10:57:37.268" v="151" actId="1076"/>
          <ac:picMkLst>
            <pc:docMk/>
            <pc:sldMk cId="1894441827" sldId="358"/>
            <ac:picMk id="7" creationId="{39EBC9D3-EE2E-4A60-B21B-2E3F051B1C2C}"/>
          </ac:picMkLst>
        </pc:picChg>
        <pc:picChg chg="add del mod">
          <ac:chgData name="WONGYONGLIN91" userId="S::wongyonglin91_gmail.com#ext#@risebcg.onmicrosoft.com::b2d94f93-e580-4f0d-9dda-2138509d25ae" providerId="AD" clId="Web-{AADDA445-BDD6-42F9-85C9-88CD3230B937}" dt="2022-01-09T10:32:58.192" v="91"/>
          <ac:picMkLst>
            <pc:docMk/>
            <pc:sldMk cId="1894441827" sldId="358"/>
            <ac:picMk id="8" creationId="{80090A9D-A882-4EB8-927C-696FEDD289AC}"/>
          </ac:picMkLst>
        </pc:picChg>
        <pc:picChg chg="add del mod">
          <ac:chgData name="WONGYONGLIN91" userId="S::wongyonglin91_gmail.com#ext#@risebcg.onmicrosoft.com::b2d94f93-e580-4f0d-9dda-2138509d25ae" providerId="AD" clId="Web-{AADDA445-BDD6-42F9-85C9-88CD3230B937}" dt="2022-01-09T10:25:26.435" v="50"/>
          <ac:picMkLst>
            <pc:docMk/>
            <pc:sldMk cId="1894441827" sldId="358"/>
            <ac:picMk id="9" creationId="{27B7F3D9-829F-4CE3-BF59-36D06B23DB76}"/>
          </ac:picMkLst>
        </pc:picChg>
        <pc:picChg chg="del">
          <ac:chgData name="WONGYONGLIN91" userId="S::wongyonglin91_gmail.com#ext#@risebcg.onmicrosoft.com::b2d94f93-e580-4f0d-9dda-2138509d25ae" providerId="AD" clId="Web-{AADDA445-BDD6-42F9-85C9-88CD3230B937}" dt="2022-01-09T10:21:29.446" v="27"/>
          <ac:picMkLst>
            <pc:docMk/>
            <pc:sldMk cId="1894441827" sldId="358"/>
            <ac:picMk id="11" creationId="{BCAB455B-1F72-43F9-AE57-6EC5913938BF}"/>
          </ac:picMkLst>
        </pc:picChg>
        <pc:picChg chg="add del mod">
          <ac:chgData name="WONGYONGLIN91" userId="S::wongyonglin91_gmail.com#ext#@risebcg.onmicrosoft.com::b2d94f93-e580-4f0d-9dda-2138509d25ae" providerId="AD" clId="Web-{AADDA445-BDD6-42F9-85C9-88CD3230B937}" dt="2022-01-09T10:25:32.513" v="51"/>
          <ac:picMkLst>
            <pc:docMk/>
            <pc:sldMk cId="1894441827" sldId="358"/>
            <ac:picMk id="14" creationId="{367952F4-ADCE-4ED2-B7CB-F3E8FAB1E214}"/>
          </ac:picMkLst>
        </pc:picChg>
        <pc:picChg chg="add del mod">
          <ac:chgData name="WONGYONGLIN91" userId="S::wongyonglin91_gmail.com#ext#@risebcg.onmicrosoft.com::b2d94f93-e580-4f0d-9dda-2138509d25ae" providerId="AD" clId="Web-{AADDA445-BDD6-42F9-85C9-88CD3230B937}" dt="2022-01-09T10:37:52.104" v="118"/>
          <ac:picMkLst>
            <pc:docMk/>
            <pc:sldMk cId="1894441827" sldId="358"/>
            <ac:picMk id="16" creationId="{9128F571-EA1C-41C3-819C-579D9B69F12F}"/>
          </ac:picMkLst>
        </pc:picChg>
        <pc:picChg chg="add del mod">
          <ac:chgData name="WONGYONGLIN91" userId="S::wongyonglin91_gmail.com#ext#@risebcg.onmicrosoft.com::b2d94f93-e580-4f0d-9dda-2138509d25ae" providerId="AD" clId="Web-{AADDA445-BDD6-42F9-85C9-88CD3230B937}" dt="2022-01-09T10:34:43.569" v="101"/>
          <ac:picMkLst>
            <pc:docMk/>
            <pc:sldMk cId="1894441827" sldId="358"/>
            <ac:picMk id="17" creationId="{C5CB374D-66B4-4CAB-890B-EDFE516A14D4}"/>
          </ac:picMkLst>
        </pc:picChg>
        <pc:picChg chg="add del mod">
          <ac:chgData name="WONGYONGLIN91" userId="S::wongyonglin91_gmail.com#ext#@risebcg.onmicrosoft.com::b2d94f93-e580-4f0d-9dda-2138509d25ae" providerId="AD" clId="Web-{AADDA445-BDD6-42F9-85C9-88CD3230B937}" dt="2022-01-09T10:34:14.475" v="97"/>
          <ac:picMkLst>
            <pc:docMk/>
            <pc:sldMk cId="1894441827" sldId="358"/>
            <ac:picMk id="20" creationId="{FE3A540E-FB7E-407A-85A9-9D35BD49D392}"/>
          </ac:picMkLst>
        </pc:picChg>
        <pc:picChg chg="add del mod">
          <ac:chgData name="WONGYONGLIN91" userId="S::wongyonglin91_gmail.com#ext#@risebcg.onmicrosoft.com::b2d94f93-e580-4f0d-9dda-2138509d25ae" providerId="AD" clId="Web-{AADDA445-BDD6-42F9-85C9-88CD3230B937}" dt="2022-01-09T10:56:29.294" v="143"/>
          <ac:picMkLst>
            <pc:docMk/>
            <pc:sldMk cId="1894441827" sldId="358"/>
            <ac:picMk id="21" creationId="{E02FAB94-FF9C-4FBE-A58E-017834133684}"/>
          </ac:picMkLst>
        </pc:picChg>
        <pc:picChg chg="add del mod">
          <ac:chgData name="WONGYONGLIN91" userId="S::wongyonglin91_gmail.com#ext#@risebcg.onmicrosoft.com::b2d94f93-e580-4f0d-9dda-2138509d25ae" providerId="AD" clId="Web-{AADDA445-BDD6-42F9-85C9-88CD3230B937}" dt="2022-01-09T10:36:11.321" v="106"/>
          <ac:picMkLst>
            <pc:docMk/>
            <pc:sldMk cId="1894441827" sldId="358"/>
            <ac:picMk id="22" creationId="{D80FCB91-0311-4992-A071-6D2CD6176DF7}"/>
          </ac:picMkLst>
        </pc:picChg>
        <pc:picChg chg="add del mod">
          <ac:chgData name="WONGYONGLIN91" userId="S::wongyonglin91_gmail.com#ext#@risebcg.onmicrosoft.com::b2d94f93-e580-4f0d-9dda-2138509d25ae" providerId="AD" clId="Web-{AADDA445-BDD6-42F9-85C9-88CD3230B937}" dt="2022-01-09T10:56:29.404" v="144"/>
          <ac:picMkLst>
            <pc:docMk/>
            <pc:sldMk cId="1894441827" sldId="358"/>
            <ac:picMk id="23" creationId="{0F94226D-CA9B-4269-AEF7-160EF3B0F687}"/>
          </ac:picMkLst>
        </pc:picChg>
        <pc:picChg chg="add del mod">
          <ac:chgData name="WONGYONGLIN91" userId="S::wongyonglin91_gmail.com#ext#@risebcg.onmicrosoft.com::b2d94f93-e580-4f0d-9dda-2138509d25ae" providerId="AD" clId="Web-{AADDA445-BDD6-42F9-85C9-88CD3230B937}" dt="2022-01-09T10:55:12.965" v="130"/>
          <ac:picMkLst>
            <pc:docMk/>
            <pc:sldMk cId="1894441827" sldId="358"/>
            <ac:picMk id="24" creationId="{D29FDE95-35DB-40AF-AF2A-3FF6E6DEB7AF}"/>
          </ac:picMkLst>
        </pc:picChg>
        <pc:picChg chg="add del mod">
          <ac:chgData name="WONGYONGLIN91" userId="S::wongyonglin91_gmail.com#ext#@risebcg.onmicrosoft.com::b2d94f93-e580-4f0d-9dda-2138509d25ae" providerId="AD" clId="Web-{AADDA445-BDD6-42F9-85C9-88CD3230B937}" dt="2022-01-09T10:44:39.189" v="126"/>
          <ac:picMkLst>
            <pc:docMk/>
            <pc:sldMk cId="1894441827" sldId="358"/>
            <ac:picMk id="25" creationId="{CD2EC3BC-8E21-4DC8-8701-491580519376}"/>
          </ac:picMkLst>
        </pc:picChg>
        <pc:picChg chg="add mod">
          <ac:chgData name="WONGYONGLIN91" userId="S::wongyonglin91_gmail.com#ext#@risebcg.onmicrosoft.com::b2d94f93-e580-4f0d-9dda-2138509d25ae" providerId="AD" clId="Web-{AADDA445-BDD6-42F9-85C9-88CD3230B937}" dt="2022-01-09T10:56:54.670" v="148" actId="1076"/>
          <ac:picMkLst>
            <pc:docMk/>
            <pc:sldMk cId="1894441827" sldId="358"/>
            <ac:picMk id="26" creationId="{3E7D9E39-2C33-40F6-B21B-E6ABF43A27B6}"/>
          </ac:picMkLst>
        </pc:picChg>
        <pc:picChg chg="add mod">
          <ac:chgData name="WONGYONGLIN91" userId="S::wongyonglin91_gmail.com#ext#@risebcg.onmicrosoft.com::b2d94f93-e580-4f0d-9dda-2138509d25ae" providerId="AD" clId="Web-{AADDA445-BDD6-42F9-85C9-88CD3230B937}" dt="2022-01-09T10:56:49.998" v="147" actId="1076"/>
          <ac:picMkLst>
            <pc:docMk/>
            <pc:sldMk cId="1894441827" sldId="358"/>
            <ac:picMk id="27" creationId="{8B582F99-5D50-4D77-A9E6-86BF01C61EEE}"/>
          </ac:picMkLst>
        </pc:picChg>
      </pc:sldChg>
      <pc:sldChg chg="delSp modSp add del replId">
        <pc:chgData name="WONGYONGLIN91" userId="S::wongyonglin91_gmail.com#ext#@risebcg.onmicrosoft.com::b2d94f93-e580-4f0d-9dda-2138509d25ae" providerId="AD" clId="Web-{AADDA445-BDD6-42F9-85C9-88CD3230B937}" dt="2022-01-09T11:24:00.148" v="152"/>
        <pc:sldMkLst>
          <pc:docMk/>
          <pc:sldMk cId="2950691373" sldId="369"/>
        </pc:sldMkLst>
        <pc:picChg chg="mod">
          <ac:chgData name="WONGYONGLIN91" userId="S::wongyonglin91_gmail.com#ext#@risebcg.onmicrosoft.com::b2d94f93-e580-4f0d-9dda-2138509d25ae" providerId="AD" clId="Web-{AADDA445-BDD6-42F9-85C9-88CD3230B937}" dt="2022-01-09T10:32:48.989" v="89" actId="1076"/>
          <ac:picMkLst>
            <pc:docMk/>
            <pc:sldMk cId="2950691373" sldId="369"/>
            <ac:picMk id="6" creationId="{36E933AE-617C-4DEB-B4AD-4702ECE92209}"/>
          </ac:picMkLst>
        </pc:picChg>
        <pc:picChg chg="mod">
          <ac:chgData name="WONGYONGLIN91" userId="S::wongyonglin91_gmail.com#ext#@risebcg.onmicrosoft.com::b2d94f93-e580-4f0d-9dda-2138509d25ae" providerId="AD" clId="Web-{AADDA445-BDD6-42F9-85C9-88CD3230B937}" dt="2022-01-09T10:32:47.020" v="88" actId="1076"/>
          <ac:picMkLst>
            <pc:docMk/>
            <pc:sldMk cId="2950691373" sldId="369"/>
            <ac:picMk id="8" creationId="{80090A9D-A882-4EB8-927C-696FEDD289AC}"/>
          </ac:picMkLst>
        </pc:picChg>
        <pc:picChg chg="del">
          <ac:chgData name="WONGYONGLIN91" userId="S::wongyonglin91_gmail.com#ext#@risebcg.onmicrosoft.com::b2d94f93-e580-4f0d-9dda-2138509d25ae" providerId="AD" clId="Web-{AADDA445-BDD6-42F9-85C9-88CD3230B937}" dt="2022-01-09T10:32:41.176" v="86"/>
          <ac:picMkLst>
            <pc:docMk/>
            <pc:sldMk cId="2950691373" sldId="369"/>
            <ac:picMk id="16" creationId="{9128F571-EA1C-41C3-819C-579D9B69F12F}"/>
          </ac:picMkLst>
        </pc:picChg>
        <pc:picChg chg="del">
          <ac:chgData name="WONGYONGLIN91" userId="S::wongyonglin91_gmail.com#ext#@risebcg.onmicrosoft.com::b2d94f93-e580-4f0d-9dda-2138509d25ae" providerId="AD" clId="Web-{AADDA445-BDD6-42F9-85C9-88CD3230B937}" dt="2022-01-09T10:32:46.848" v="87"/>
          <ac:picMkLst>
            <pc:docMk/>
            <pc:sldMk cId="2950691373" sldId="369"/>
            <ac:picMk id="17" creationId="{C5CB374D-66B4-4CAB-890B-EDFE516A14D4}"/>
          </ac:picMkLst>
        </pc:picChg>
      </pc:sldChg>
    </pc:docChg>
  </pc:docChgLst>
  <pc:docChgLst>
    <pc:chgData name="EVELYNSM.YONG" userId="S::evelynsm.yong_gmail.com#ext#@risebcg.onmicrosoft.com::67a27a72-2420-4d38-b745-316a53f4b99a" providerId="AD" clId="Web-{B3D6AD75-5C2B-429E-AEC9-A42607A550DC}"/>
    <pc:docChg chg="addSld delSld modSld">
      <pc:chgData name="EVELYNSM.YONG" userId="S::evelynsm.yong_gmail.com#ext#@risebcg.onmicrosoft.com::67a27a72-2420-4d38-b745-316a53f4b99a" providerId="AD" clId="Web-{B3D6AD75-5C2B-429E-AEC9-A42607A550DC}" dt="2022-01-10T05:20:00.031" v="4764" actId="14100"/>
      <pc:docMkLst>
        <pc:docMk/>
      </pc:docMkLst>
      <pc:sldChg chg="addSp modSp">
        <pc:chgData name="EVELYNSM.YONG" userId="S::evelynsm.yong_gmail.com#ext#@risebcg.onmicrosoft.com::67a27a72-2420-4d38-b745-316a53f4b99a" providerId="AD" clId="Web-{B3D6AD75-5C2B-429E-AEC9-A42607A550DC}" dt="2022-01-10T05:20:00.031" v="4764" actId="14100"/>
        <pc:sldMkLst>
          <pc:docMk/>
          <pc:sldMk cId="2160415509" sldId="326"/>
        </pc:sldMkLst>
        <pc:spChg chg="mod">
          <ac:chgData name="EVELYNSM.YONG" userId="S::evelynsm.yong_gmail.com#ext#@risebcg.onmicrosoft.com::67a27a72-2420-4d38-b745-316a53f4b99a" providerId="AD" clId="Web-{B3D6AD75-5C2B-429E-AEC9-A42607A550DC}" dt="2022-01-10T05:17:45.763" v="4760"/>
          <ac:spMkLst>
            <pc:docMk/>
            <pc:sldMk cId="2160415509" sldId="326"/>
            <ac:spMk id="3" creationId="{A06E2C6C-AA2D-4DBA-B448-457815C4CAD3}"/>
          </ac:spMkLst>
        </pc:spChg>
        <pc:spChg chg="mod">
          <ac:chgData name="EVELYNSM.YONG" userId="S::evelynsm.yong_gmail.com#ext#@risebcg.onmicrosoft.com::67a27a72-2420-4d38-b745-316a53f4b99a" providerId="AD" clId="Web-{B3D6AD75-5C2B-429E-AEC9-A42607A550DC}" dt="2022-01-10T04:45:29.279" v="4706" actId="1076"/>
          <ac:spMkLst>
            <pc:docMk/>
            <pc:sldMk cId="2160415509" sldId="326"/>
            <ac:spMk id="4" creationId="{215644EC-E1A2-4B5F-BA53-79EB189605EC}"/>
          </ac:spMkLst>
        </pc:spChg>
        <pc:spChg chg="mod">
          <ac:chgData name="EVELYNSM.YONG" userId="S::evelynsm.yong_gmail.com#ext#@risebcg.onmicrosoft.com::67a27a72-2420-4d38-b745-316a53f4b99a" providerId="AD" clId="Web-{B3D6AD75-5C2B-429E-AEC9-A42607A550DC}" dt="2022-01-10T05:20:00.031" v="4764" actId="14100"/>
          <ac:spMkLst>
            <pc:docMk/>
            <pc:sldMk cId="2160415509" sldId="326"/>
            <ac:spMk id="7" creationId="{EE72E06D-8EAE-4242-B1FE-DB5A60BCC68C}"/>
          </ac:spMkLst>
        </pc:spChg>
        <pc:spChg chg="add mod">
          <ac:chgData name="EVELYNSM.YONG" userId="S::evelynsm.yong_gmail.com#ext#@risebcg.onmicrosoft.com::67a27a72-2420-4d38-b745-316a53f4b99a" providerId="AD" clId="Web-{B3D6AD75-5C2B-429E-AEC9-A42607A550DC}" dt="2022-01-10T05:17:57.670" v="4762"/>
          <ac:spMkLst>
            <pc:docMk/>
            <pc:sldMk cId="2160415509" sldId="326"/>
            <ac:spMk id="10" creationId="{F403E5AA-CAF9-429E-AF8A-D6CAE94AE104}"/>
          </ac:spMkLst>
        </pc:spChg>
        <pc:spChg chg="add mod">
          <ac:chgData name="EVELYNSM.YONG" userId="S::evelynsm.yong_gmail.com#ext#@risebcg.onmicrosoft.com::67a27a72-2420-4d38-b745-316a53f4b99a" providerId="AD" clId="Web-{B3D6AD75-5C2B-429E-AEC9-A42607A550DC}" dt="2022-01-10T05:17:54.982" v="4761"/>
          <ac:spMkLst>
            <pc:docMk/>
            <pc:sldMk cId="2160415509" sldId="326"/>
            <ac:spMk id="12" creationId="{E8C9A459-A11F-4DB3-BC61-E14A0DC903CB}"/>
          </ac:spMkLst>
        </pc:spChg>
        <pc:picChg chg="mod">
          <ac:chgData name="EVELYNSM.YONG" userId="S::evelynsm.yong_gmail.com#ext#@risebcg.onmicrosoft.com::67a27a72-2420-4d38-b745-316a53f4b99a" providerId="AD" clId="Web-{B3D6AD75-5C2B-429E-AEC9-A42607A550DC}" dt="2022-01-10T04:45:25.810" v="4705" actId="14100"/>
          <ac:picMkLst>
            <pc:docMk/>
            <pc:sldMk cId="2160415509" sldId="326"/>
            <ac:picMk id="6" creationId="{BFC712DB-8FC7-4ACB-AF6D-D3D38470A4A2}"/>
          </ac:picMkLst>
        </pc:picChg>
      </pc:sldChg>
      <pc:sldChg chg="modSp modNotes">
        <pc:chgData name="EVELYNSM.YONG" userId="S::evelynsm.yong_gmail.com#ext#@risebcg.onmicrosoft.com::67a27a72-2420-4d38-b745-316a53f4b99a" providerId="AD" clId="Web-{B3D6AD75-5C2B-429E-AEC9-A42607A550DC}" dt="2022-01-10T04:39:30.930" v="4661"/>
        <pc:sldMkLst>
          <pc:docMk/>
          <pc:sldMk cId="2652119032" sldId="335"/>
        </pc:sldMkLst>
        <pc:spChg chg="mod">
          <ac:chgData name="EVELYNSM.YONG" userId="S::evelynsm.yong_gmail.com#ext#@risebcg.onmicrosoft.com::67a27a72-2420-4d38-b745-316a53f4b99a" providerId="AD" clId="Web-{B3D6AD75-5C2B-429E-AEC9-A42607A550DC}" dt="2022-01-10T02:38:51.956" v="863" actId="14100"/>
          <ac:spMkLst>
            <pc:docMk/>
            <pc:sldMk cId="2652119032" sldId="335"/>
            <ac:spMk id="11" creationId="{48FA4A77-CB38-4FAD-81FC-6F8B79C30622}"/>
          </ac:spMkLst>
        </pc:spChg>
        <pc:spChg chg="mod">
          <ac:chgData name="EVELYNSM.YONG" userId="S::evelynsm.yong_gmail.com#ext#@risebcg.onmicrosoft.com::67a27a72-2420-4d38-b745-316a53f4b99a" providerId="AD" clId="Web-{B3D6AD75-5C2B-429E-AEC9-A42607A550DC}" dt="2022-01-10T02:57:17.239" v="1616" actId="20577"/>
          <ac:spMkLst>
            <pc:docMk/>
            <pc:sldMk cId="2652119032" sldId="335"/>
            <ac:spMk id="28" creationId="{81280F0F-FE44-494C-A80A-92667A5E77F5}"/>
          </ac:spMkLst>
        </pc:spChg>
      </pc:sldChg>
      <pc:sldChg chg="modSp modNotes">
        <pc:chgData name="EVELYNSM.YONG" userId="S::evelynsm.yong_gmail.com#ext#@risebcg.onmicrosoft.com::67a27a72-2420-4d38-b745-316a53f4b99a" providerId="AD" clId="Web-{B3D6AD75-5C2B-429E-AEC9-A42607A550DC}" dt="2022-01-10T04:47:47.016" v="4755" actId="14100"/>
        <pc:sldMkLst>
          <pc:docMk/>
          <pc:sldMk cId="3391215681" sldId="339"/>
        </pc:sldMkLst>
        <pc:spChg chg="mod">
          <ac:chgData name="EVELYNSM.YONG" userId="S::evelynsm.yong_gmail.com#ext#@risebcg.onmicrosoft.com::67a27a72-2420-4d38-b745-316a53f4b99a" providerId="AD" clId="Web-{B3D6AD75-5C2B-429E-AEC9-A42607A550DC}" dt="2022-01-10T04:47:47.016" v="4755" actId="14100"/>
          <ac:spMkLst>
            <pc:docMk/>
            <pc:sldMk cId="3391215681" sldId="339"/>
            <ac:spMk id="47" creationId="{B72F6C48-B470-4163-9AC9-2982A10656DA}"/>
          </ac:spMkLst>
        </pc:spChg>
        <pc:spChg chg="mod">
          <ac:chgData name="EVELYNSM.YONG" userId="S::evelynsm.yong_gmail.com#ext#@risebcg.onmicrosoft.com::67a27a72-2420-4d38-b745-316a53f4b99a" providerId="AD" clId="Web-{B3D6AD75-5C2B-429E-AEC9-A42607A550DC}" dt="2022-01-10T03:16:38.039" v="2677" actId="20577"/>
          <ac:spMkLst>
            <pc:docMk/>
            <pc:sldMk cId="3391215681" sldId="339"/>
            <ac:spMk id="124" creationId="{C91A31F3-23FB-421F-8BC0-FD3F5F868D91}"/>
          </ac:spMkLst>
        </pc:spChg>
        <pc:spChg chg="mod">
          <ac:chgData name="EVELYNSM.YONG" userId="S::evelynsm.yong_gmail.com#ext#@risebcg.onmicrosoft.com::67a27a72-2420-4d38-b745-316a53f4b99a" providerId="AD" clId="Web-{B3D6AD75-5C2B-429E-AEC9-A42607A550DC}" dt="2022-01-10T04:47:27" v="4750" actId="14100"/>
          <ac:spMkLst>
            <pc:docMk/>
            <pc:sldMk cId="3391215681" sldId="339"/>
            <ac:spMk id="160" creationId="{129EBF9C-3DCE-40EC-8CFB-1CB201B252BE}"/>
          </ac:spMkLst>
        </pc:spChg>
        <pc:spChg chg="mod">
          <ac:chgData name="EVELYNSM.YONG" userId="S::evelynsm.yong_gmail.com#ext#@risebcg.onmicrosoft.com::67a27a72-2420-4d38-b745-316a53f4b99a" providerId="AD" clId="Web-{B3D6AD75-5C2B-429E-AEC9-A42607A550DC}" dt="2022-01-10T04:47:44.109" v="4754" actId="14100"/>
          <ac:spMkLst>
            <pc:docMk/>
            <pc:sldMk cId="3391215681" sldId="339"/>
            <ac:spMk id="229" creationId="{8CB63044-5013-4EFC-B813-E8D7A72DE7FF}"/>
          </ac:spMkLst>
        </pc:spChg>
      </pc:sldChg>
      <pc:sldChg chg="modSp">
        <pc:chgData name="EVELYNSM.YONG" userId="S::evelynsm.yong_gmail.com#ext#@risebcg.onmicrosoft.com::67a27a72-2420-4d38-b745-316a53f4b99a" providerId="AD" clId="Web-{B3D6AD75-5C2B-429E-AEC9-A42607A550DC}" dt="2022-01-10T04:24:21.275" v="4634" actId="1076"/>
        <pc:sldMkLst>
          <pc:docMk/>
          <pc:sldMk cId="4159389698" sldId="342"/>
        </pc:sldMkLst>
        <pc:grpChg chg="mod">
          <ac:chgData name="EVELYNSM.YONG" userId="S::evelynsm.yong_gmail.com#ext#@risebcg.onmicrosoft.com::67a27a72-2420-4d38-b745-316a53f4b99a" providerId="AD" clId="Web-{B3D6AD75-5C2B-429E-AEC9-A42607A550DC}" dt="2022-01-10T04:24:21.275" v="4634" actId="1076"/>
          <ac:grpSpMkLst>
            <pc:docMk/>
            <pc:sldMk cId="4159389698" sldId="342"/>
            <ac:grpSpMk id="3" creationId="{3C647BC6-D86E-4327-A9F1-DF57F60FD454}"/>
          </ac:grpSpMkLst>
        </pc:grpChg>
      </pc:sldChg>
      <pc:sldChg chg="modNotes">
        <pc:chgData name="EVELYNSM.YONG" userId="S::evelynsm.yong_gmail.com#ext#@risebcg.onmicrosoft.com::67a27a72-2420-4d38-b745-316a53f4b99a" providerId="AD" clId="Web-{B3D6AD75-5C2B-429E-AEC9-A42607A550DC}" dt="2022-01-10T04:43:44.574" v="4670"/>
        <pc:sldMkLst>
          <pc:docMk/>
          <pc:sldMk cId="1894441827" sldId="358"/>
        </pc:sldMkLst>
      </pc:sldChg>
      <pc:sldChg chg="addSp delSp modSp modNotes">
        <pc:chgData name="EVELYNSM.YONG" userId="S::evelynsm.yong_gmail.com#ext#@risebcg.onmicrosoft.com::67a27a72-2420-4d38-b745-316a53f4b99a" providerId="AD" clId="Web-{B3D6AD75-5C2B-429E-AEC9-A42607A550DC}" dt="2022-01-10T04:48:09.797" v="4759" actId="1076"/>
        <pc:sldMkLst>
          <pc:docMk/>
          <pc:sldMk cId="3531645893" sldId="360"/>
        </pc:sldMkLst>
        <pc:spChg chg="mod ord">
          <ac:chgData name="EVELYNSM.YONG" userId="S::evelynsm.yong_gmail.com#ext#@risebcg.onmicrosoft.com::67a27a72-2420-4d38-b745-316a53f4b99a" providerId="AD" clId="Web-{B3D6AD75-5C2B-429E-AEC9-A42607A550DC}" dt="2022-01-10T04:48:09.797" v="4759" actId="1076"/>
          <ac:spMkLst>
            <pc:docMk/>
            <pc:sldMk cId="3531645893" sldId="360"/>
            <ac:spMk id="5" creationId="{1999C9A4-8C8B-43CC-B77D-B8C58575D4DE}"/>
          </ac:spMkLst>
        </pc:spChg>
        <pc:spChg chg="mod">
          <ac:chgData name="EVELYNSM.YONG" userId="S::evelynsm.yong_gmail.com#ext#@risebcg.onmicrosoft.com::67a27a72-2420-4d38-b745-316a53f4b99a" providerId="AD" clId="Web-{B3D6AD75-5C2B-429E-AEC9-A42607A550DC}" dt="2022-01-10T02:30:07.432" v="310" actId="1076"/>
          <ac:spMkLst>
            <pc:docMk/>
            <pc:sldMk cId="3531645893" sldId="360"/>
            <ac:spMk id="9" creationId="{E3C0B427-9E9D-47EC-AFD8-3D8F22D59FE9}"/>
          </ac:spMkLst>
        </pc:spChg>
        <pc:spChg chg="mod">
          <ac:chgData name="EVELYNSM.YONG" userId="S::evelynsm.yong_gmail.com#ext#@risebcg.onmicrosoft.com::67a27a72-2420-4d38-b745-316a53f4b99a" providerId="AD" clId="Web-{B3D6AD75-5C2B-429E-AEC9-A42607A550DC}" dt="2022-01-10T02:17:37.670" v="22" actId="1076"/>
          <ac:spMkLst>
            <pc:docMk/>
            <pc:sldMk cId="3531645893" sldId="360"/>
            <ac:spMk id="15" creationId="{EA512C5C-B61E-4EDE-A2CD-308BFA2920DA}"/>
          </ac:spMkLst>
        </pc:spChg>
        <pc:spChg chg="add mod ord">
          <ac:chgData name="EVELYNSM.YONG" userId="S::evelynsm.yong_gmail.com#ext#@risebcg.onmicrosoft.com::67a27a72-2420-4d38-b745-316a53f4b99a" providerId="AD" clId="Web-{B3D6AD75-5C2B-429E-AEC9-A42607A550DC}" dt="2022-01-10T04:47:58.985" v="4756" actId="1076"/>
          <ac:spMkLst>
            <pc:docMk/>
            <pc:sldMk cId="3531645893" sldId="360"/>
            <ac:spMk id="18" creationId="{83C6C493-EE06-4670-B1AB-91DD5175B793}"/>
          </ac:spMkLst>
        </pc:spChg>
        <pc:spChg chg="mod">
          <ac:chgData name="EVELYNSM.YONG" userId="S::evelynsm.yong_gmail.com#ext#@risebcg.onmicrosoft.com::67a27a72-2420-4d38-b745-316a53f4b99a" providerId="AD" clId="Web-{B3D6AD75-5C2B-429E-AEC9-A42607A550DC}" dt="2022-01-10T04:48:04.688" v="4757" actId="1076"/>
          <ac:spMkLst>
            <pc:docMk/>
            <pc:sldMk cId="3531645893" sldId="360"/>
            <ac:spMk id="19" creationId="{950C64E7-6661-4AEA-8068-716AD3707128}"/>
          </ac:spMkLst>
        </pc:spChg>
        <pc:spChg chg="mod">
          <ac:chgData name="EVELYNSM.YONG" userId="S::evelynsm.yong_gmail.com#ext#@risebcg.onmicrosoft.com::67a27a72-2420-4d38-b745-316a53f4b99a" providerId="AD" clId="Web-{B3D6AD75-5C2B-429E-AEC9-A42607A550DC}" dt="2022-01-10T02:30:04.151" v="306" actId="1076"/>
          <ac:spMkLst>
            <pc:docMk/>
            <pc:sldMk cId="3531645893" sldId="360"/>
            <ac:spMk id="20" creationId="{64A6A166-6CE6-41F0-99B2-FC47AF50CD6C}"/>
          </ac:spMkLst>
        </pc:spChg>
        <pc:spChg chg="mod">
          <ac:chgData name="EVELYNSM.YONG" userId="S::evelynsm.yong_gmail.com#ext#@risebcg.onmicrosoft.com::67a27a72-2420-4d38-b745-316a53f4b99a" providerId="AD" clId="Web-{B3D6AD75-5C2B-429E-AEC9-A42607A550DC}" dt="2022-01-10T02:30:04.166" v="307" actId="1076"/>
          <ac:spMkLst>
            <pc:docMk/>
            <pc:sldMk cId="3531645893" sldId="360"/>
            <ac:spMk id="22" creationId="{31E2D2F4-E28C-4B52-9C47-E50AD68240D1}"/>
          </ac:spMkLst>
        </pc:spChg>
        <pc:spChg chg="mod">
          <ac:chgData name="EVELYNSM.YONG" userId="S::evelynsm.yong_gmail.com#ext#@risebcg.onmicrosoft.com::67a27a72-2420-4d38-b745-316a53f4b99a" providerId="AD" clId="Web-{B3D6AD75-5C2B-429E-AEC9-A42607A550DC}" dt="2022-01-10T02:30:04.182" v="308" actId="1076"/>
          <ac:spMkLst>
            <pc:docMk/>
            <pc:sldMk cId="3531645893" sldId="360"/>
            <ac:spMk id="23" creationId="{2E06316D-D669-4187-8235-1A4EE0D9868B}"/>
          </ac:spMkLst>
        </pc:spChg>
        <pc:spChg chg="mod">
          <ac:chgData name="EVELYNSM.YONG" userId="S::evelynsm.yong_gmail.com#ext#@risebcg.onmicrosoft.com::67a27a72-2420-4d38-b745-316a53f4b99a" providerId="AD" clId="Web-{B3D6AD75-5C2B-429E-AEC9-A42607A550DC}" dt="2022-01-10T02:30:04.182" v="309" actId="1076"/>
          <ac:spMkLst>
            <pc:docMk/>
            <pc:sldMk cId="3531645893" sldId="360"/>
            <ac:spMk id="24" creationId="{CEFC4E90-FB9D-4E3E-86B1-5712D705BC99}"/>
          </ac:spMkLst>
        </pc:spChg>
        <pc:spChg chg="add mod ord">
          <ac:chgData name="EVELYNSM.YONG" userId="S::evelynsm.yong_gmail.com#ext#@risebcg.onmicrosoft.com::67a27a72-2420-4d38-b745-316a53f4b99a" providerId="AD" clId="Web-{B3D6AD75-5C2B-429E-AEC9-A42607A550DC}" dt="2022-01-10T02:29:26.072" v="295"/>
          <ac:spMkLst>
            <pc:docMk/>
            <pc:sldMk cId="3531645893" sldId="360"/>
            <ac:spMk id="25" creationId="{F2D8752B-46CF-482C-9E54-5BF79DDF6A1D}"/>
          </ac:spMkLst>
        </pc:spChg>
        <pc:grpChg chg="del">
          <ac:chgData name="EVELYNSM.YONG" userId="S::evelynsm.yong_gmail.com#ext#@risebcg.onmicrosoft.com::67a27a72-2420-4d38-b745-316a53f4b99a" providerId="AD" clId="Web-{B3D6AD75-5C2B-429E-AEC9-A42607A550DC}" dt="2022-01-10T02:14:14.354" v="6"/>
          <ac:grpSpMkLst>
            <pc:docMk/>
            <pc:sldMk cId="3531645893" sldId="360"/>
            <ac:grpSpMk id="4" creationId="{61B1B73A-FFA9-4E13-9361-87D7D06DE48D}"/>
          </ac:grpSpMkLst>
        </pc:grpChg>
        <pc:picChg chg="add mod ord">
          <ac:chgData name="EVELYNSM.YONG" userId="S::evelynsm.yong_gmail.com#ext#@risebcg.onmicrosoft.com::67a27a72-2420-4d38-b745-316a53f4b99a" providerId="AD" clId="Web-{B3D6AD75-5C2B-429E-AEC9-A42607A550DC}" dt="2022-01-10T02:29:25.838" v="285"/>
          <ac:picMkLst>
            <pc:docMk/>
            <pc:sldMk cId="3531645893" sldId="360"/>
            <ac:picMk id="2" creationId="{D0C0A48E-43AC-4647-84A5-DAC9A37420F4}"/>
          </ac:picMkLst>
        </pc:picChg>
        <pc:picChg chg="del mod">
          <ac:chgData name="EVELYNSM.YONG" userId="S::evelynsm.yong_gmail.com#ext#@risebcg.onmicrosoft.com::67a27a72-2420-4d38-b745-316a53f4b99a" providerId="AD" clId="Web-{B3D6AD75-5C2B-429E-AEC9-A42607A550DC}" dt="2022-01-10T02:17:29.233" v="16"/>
          <ac:picMkLst>
            <pc:docMk/>
            <pc:sldMk cId="3531645893" sldId="360"/>
            <ac:picMk id="3" creationId="{D5FC14B1-A770-4155-9046-CEE54A573DFA}"/>
          </ac:picMkLst>
        </pc:picChg>
        <pc:picChg chg="add mod ord">
          <ac:chgData name="EVELYNSM.YONG" userId="S::evelynsm.yong_gmail.com#ext#@risebcg.onmicrosoft.com::67a27a72-2420-4d38-b745-316a53f4b99a" providerId="AD" clId="Web-{B3D6AD75-5C2B-429E-AEC9-A42607A550DC}" dt="2022-01-10T04:48:09.782" v="4758" actId="1076"/>
          <ac:picMkLst>
            <pc:docMk/>
            <pc:sldMk cId="3531645893" sldId="360"/>
            <ac:picMk id="6" creationId="{EF6EAEC0-2A43-4308-9642-0428A55E7A00}"/>
          </ac:picMkLst>
        </pc:picChg>
        <pc:picChg chg="add del">
          <ac:chgData name="EVELYNSM.YONG" userId="S::evelynsm.yong_gmail.com#ext#@risebcg.onmicrosoft.com::67a27a72-2420-4d38-b745-316a53f4b99a" providerId="AD" clId="Web-{B3D6AD75-5C2B-429E-AEC9-A42607A550DC}" dt="2022-01-10T02:28:19.258" v="269"/>
          <ac:picMkLst>
            <pc:docMk/>
            <pc:sldMk cId="3531645893" sldId="360"/>
            <ac:picMk id="21" creationId="{F2A86FE3-E47A-47C4-B0E5-37857BCB76CC}"/>
          </ac:picMkLst>
        </pc:picChg>
      </pc:sldChg>
      <pc:sldChg chg="modSp add del">
        <pc:chgData name="EVELYNSM.YONG" userId="S::evelynsm.yong_gmail.com#ext#@risebcg.onmicrosoft.com::67a27a72-2420-4d38-b745-316a53f4b99a" providerId="AD" clId="Web-{B3D6AD75-5C2B-429E-AEC9-A42607A550DC}" dt="2022-01-10T02:18:32.437" v="25"/>
        <pc:sldMkLst>
          <pc:docMk/>
          <pc:sldMk cId="1849268947" sldId="369"/>
        </pc:sldMkLst>
        <pc:picChg chg="mod">
          <ac:chgData name="EVELYNSM.YONG" userId="S::evelynsm.yong_gmail.com#ext#@risebcg.onmicrosoft.com::67a27a72-2420-4d38-b745-316a53f4b99a" providerId="AD" clId="Web-{B3D6AD75-5C2B-429E-AEC9-A42607A550DC}" dt="2022-01-10T02:17:14.560" v="11" actId="1076"/>
          <ac:picMkLst>
            <pc:docMk/>
            <pc:sldMk cId="1849268947" sldId="369"/>
            <ac:picMk id="4" creationId="{4488F9E0-EA70-4592-AD9F-77C2FC333B9B}"/>
          </ac:picMkLst>
        </pc:picChg>
      </pc:sldChg>
    </pc:docChg>
  </pc:docChgLst>
  <pc:docChgLst>
    <pc:chgData name="WONGYONGLIN91" userId="S::wongyonglin91_gmail.com#ext#@risebcg.onmicrosoft.com::b2d94f93-e580-4f0d-9dda-2138509d25ae" providerId="AD" clId="Web-{6F35DDEF-8826-4C84-9907-7B864915BAD9}"/>
    <pc:docChg chg="addSld modSld">
      <pc:chgData name="WONGYONGLIN91" userId="S::wongyonglin91_gmail.com#ext#@risebcg.onmicrosoft.com::b2d94f93-e580-4f0d-9dda-2138509d25ae" providerId="AD" clId="Web-{6F35DDEF-8826-4C84-9907-7B864915BAD9}" dt="2022-01-10T13:24:19.747" v="45"/>
      <pc:docMkLst>
        <pc:docMk/>
      </pc:docMkLst>
      <pc:sldChg chg="delSp modSp">
        <pc:chgData name="WONGYONGLIN91" userId="S::wongyonglin91_gmail.com#ext#@risebcg.onmicrosoft.com::b2d94f93-e580-4f0d-9dda-2138509d25ae" providerId="AD" clId="Web-{6F35DDEF-8826-4C84-9907-7B864915BAD9}" dt="2022-01-10T13:24:19.747" v="45"/>
        <pc:sldMkLst>
          <pc:docMk/>
          <pc:sldMk cId="3758978858" sldId="379"/>
        </pc:sldMkLst>
        <pc:spChg chg="mod">
          <ac:chgData name="WONGYONGLIN91" userId="S::wongyonglin91_gmail.com#ext#@risebcg.onmicrosoft.com::b2d94f93-e580-4f0d-9dda-2138509d25ae" providerId="AD" clId="Web-{6F35DDEF-8826-4C84-9907-7B864915BAD9}" dt="2022-01-10T13:23:52.574" v="40" actId="20577"/>
          <ac:spMkLst>
            <pc:docMk/>
            <pc:sldMk cId="3758978858" sldId="379"/>
            <ac:spMk id="2" creationId="{C8764925-553F-46C0-AD49-7EDC41FA393B}"/>
          </ac:spMkLst>
        </pc:spChg>
        <pc:spChg chg="mod">
          <ac:chgData name="WONGYONGLIN91" userId="S::wongyonglin91_gmail.com#ext#@risebcg.onmicrosoft.com::b2d94f93-e580-4f0d-9dda-2138509d25ae" providerId="AD" clId="Web-{6F35DDEF-8826-4C84-9907-7B864915BAD9}" dt="2022-01-10T13:23:59.637" v="41" actId="1076"/>
          <ac:spMkLst>
            <pc:docMk/>
            <pc:sldMk cId="3758978858" sldId="379"/>
            <ac:spMk id="3" creationId="{D93B70F6-8F9F-4D73-AE2A-A23E51FFBBC3}"/>
          </ac:spMkLst>
        </pc:spChg>
        <pc:picChg chg="mod">
          <ac:chgData name="WONGYONGLIN91" userId="S::wongyonglin91_gmail.com#ext#@risebcg.onmicrosoft.com::b2d94f93-e580-4f0d-9dda-2138509d25ae" providerId="AD" clId="Web-{6F35DDEF-8826-4C84-9907-7B864915BAD9}" dt="2022-01-10T13:24:05.590" v="43" actId="1076"/>
          <ac:picMkLst>
            <pc:docMk/>
            <pc:sldMk cId="3758978858" sldId="379"/>
            <ac:picMk id="4" creationId="{645E4C34-8A7C-455C-918F-46EBACD32826}"/>
          </ac:picMkLst>
        </pc:picChg>
        <pc:picChg chg="del mod">
          <ac:chgData name="WONGYONGLIN91" userId="S::wongyonglin91_gmail.com#ext#@risebcg.onmicrosoft.com::b2d94f93-e580-4f0d-9dda-2138509d25ae" providerId="AD" clId="Web-{6F35DDEF-8826-4C84-9907-7B864915BAD9}" dt="2022-01-10T13:24:19.747" v="45"/>
          <ac:picMkLst>
            <pc:docMk/>
            <pc:sldMk cId="3758978858" sldId="379"/>
            <ac:picMk id="5" creationId="{4C0717A3-F270-40BA-91D9-A08D7039A05B}"/>
          </ac:picMkLst>
        </pc:picChg>
        <pc:picChg chg="mod">
          <ac:chgData name="WONGYONGLIN91" userId="S::wongyonglin91_gmail.com#ext#@risebcg.onmicrosoft.com::b2d94f93-e580-4f0d-9dda-2138509d25ae" providerId="AD" clId="Web-{6F35DDEF-8826-4C84-9907-7B864915BAD9}" dt="2022-01-10T13:24:03.715" v="42" actId="1076"/>
          <ac:picMkLst>
            <pc:docMk/>
            <pc:sldMk cId="3758978858" sldId="379"/>
            <ac:picMk id="6" creationId="{18A63D16-B496-4004-AB0A-2AAA668E85F4}"/>
          </ac:picMkLst>
        </pc:picChg>
      </pc:sldChg>
      <pc:sldChg chg="add replId">
        <pc:chgData name="WONGYONGLIN91" userId="S::wongyonglin91_gmail.com#ext#@risebcg.onmicrosoft.com::b2d94f93-e580-4f0d-9dda-2138509d25ae" providerId="AD" clId="Web-{6F35DDEF-8826-4C84-9907-7B864915BAD9}" dt="2022-01-10T13:22:22.979" v="0"/>
        <pc:sldMkLst>
          <pc:docMk/>
          <pc:sldMk cId="1360270799" sldId="384"/>
        </pc:sldMkLst>
      </pc:sldChg>
    </pc:docChg>
  </pc:docChgLst>
  <pc:docChgLst>
    <pc:chgData name="wei yuan" userId="S::pwy_92_hotmail.com#ext#@risebcg.onmicrosoft.com::ca38e7f8-9ace-4d94-b37a-86e65e91f2b0" providerId="AD" clId="Web-{819C4CA1-6F1E-40FB-B176-D0B36B393917}"/>
    <pc:docChg chg="modSld">
      <pc:chgData name="wei yuan" userId="S::pwy_92_hotmail.com#ext#@risebcg.onmicrosoft.com::ca38e7f8-9ace-4d94-b37a-86e65e91f2b0" providerId="AD" clId="Web-{819C4CA1-6F1E-40FB-B176-D0B36B393917}" dt="2022-01-08T12:35:43.368" v="714" actId="20577"/>
      <pc:docMkLst>
        <pc:docMk/>
      </pc:docMkLst>
      <pc:sldChg chg="addSp delSp modSp">
        <pc:chgData name="wei yuan" userId="S::pwy_92_hotmail.com#ext#@risebcg.onmicrosoft.com::ca38e7f8-9ace-4d94-b37a-86e65e91f2b0" providerId="AD" clId="Web-{819C4CA1-6F1E-40FB-B176-D0B36B393917}" dt="2022-01-08T12:35:43.368" v="714" actId="20577"/>
        <pc:sldMkLst>
          <pc:docMk/>
          <pc:sldMk cId="2316358039" sldId="325"/>
        </pc:sldMkLst>
        <pc:spChg chg="mod">
          <ac:chgData name="wei yuan" userId="S::pwy_92_hotmail.com#ext#@risebcg.onmicrosoft.com::ca38e7f8-9ace-4d94-b37a-86e65e91f2b0" providerId="AD" clId="Web-{819C4CA1-6F1E-40FB-B176-D0B36B393917}" dt="2022-01-08T12:35:43.368" v="714" actId="20577"/>
          <ac:spMkLst>
            <pc:docMk/>
            <pc:sldMk cId="2316358039" sldId="325"/>
            <ac:spMk id="9" creationId="{CE26EE87-2792-4EC3-8D5C-A7F50F434726}"/>
          </ac:spMkLst>
        </pc:spChg>
        <pc:spChg chg="add mod">
          <ac:chgData name="wei yuan" userId="S::pwy_92_hotmail.com#ext#@risebcg.onmicrosoft.com::ca38e7f8-9ace-4d94-b37a-86e65e91f2b0" providerId="AD" clId="Web-{819C4CA1-6F1E-40FB-B176-D0B36B393917}" dt="2022-01-08T12:35:19.336" v="708" actId="1076"/>
          <ac:spMkLst>
            <pc:docMk/>
            <pc:sldMk cId="2316358039" sldId="325"/>
            <ac:spMk id="11" creationId="{2EFF56F4-3D9E-4EE7-83BA-042A94F63CC3}"/>
          </ac:spMkLst>
        </pc:spChg>
        <pc:spChg chg="mod">
          <ac:chgData name="wei yuan" userId="S::pwy_92_hotmail.com#ext#@risebcg.onmicrosoft.com::ca38e7f8-9ace-4d94-b37a-86e65e91f2b0" providerId="AD" clId="Web-{819C4CA1-6F1E-40FB-B176-D0B36B393917}" dt="2022-01-08T12:35:16.555" v="707" actId="20577"/>
          <ac:spMkLst>
            <pc:docMk/>
            <pc:sldMk cId="2316358039" sldId="325"/>
            <ac:spMk id="21" creationId="{E9143E79-0358-464A-ACC6-31293226C369}"/>
          </ac:spMkLst>
        </pc:spChg>
        <pc:picChg chg="add del mod">
          <ac:chgData name="wei yuan" userId="S::pwy_92_hotmail.com#ext#@risebcg.onmicrosoft.com::ca38e7f8-9ace-4d94-b37a-86e65e91f2b0" providerId="AD" clId="Web-{819C4CA1-6F1E-40FB-B176-D0B36B393917}" dt="2022-01-08T12:30:14.659" v="362"/>
          <ac:picMkLst>
            <pc:docMk/>
            <pc:sldMk cId="2316358039" sldId="325"/>
            <ac:picMk id="4" creationId="{1EE6AA77-FDB0-48D1-BC00-D3BEA9A54F91}"/>
          </ac:picMkLst>
        </pc:picChg>
      </pc:sldChg>
      <pc:sldChg chg="addSp modSp">
        <pc:chgData name="wei yuan" userId="S::pwy_92_hotmail.com#ext#@risebcg.onmicrosoft.com::ca38e7f8-9ace-4d94-b37a-86e65e91f2b0" providerId="AD" clId="Web-{819C4CA1-6F1E-40FB-B176-D0B36B393917}" dt="2022-01-08T12:26:08.217" v="358" actId="20577"/>
        <pc:sldMkLst>
          <pc:docMk/>
          <pc:sldMk cId="2160415509" sldId="326"/>
        </pc:sldMkLst>
        <pc:spChg chg="mod">
          <ac:chgData name="wei yuan" userId="S::pwy_92_hotmail.com#ext#@risebcg.onmicrosoft.com::ca38e7f8-9ace-4d94-b37a-86e65e91f2b0" providerId="AD" clId="Web-{819C4CA1-6F1E-40FB-B176-D0B36B393917}" dt="2022-01-08T12:26:08.217" v="358" actId="20577"/>
          <ac:spMkLst>
            <pc:docMk/>
            <pc:sldMk cId="2160415509" sldId="326"/>
            <ac:spMk id="4" creationId="{215644EC-E1A2-4B5F-BA53-79EB189605EC}"/>
          </ac:spMkLst>
        </pc:spChg>
        <pc:picChg chg="add mod">
          <ac:chgData name="wei yuan" userId="S::pwy_92_hotmail.com#ext#@risebcg.onmicrosoft.com::ca38e7f8-9ace-4d94-b37a-86e65e91f2b0" providerId="AD" clId="Web-{819C4CA1-6F1E-40FB-B176-D0B36B393917}" dt="2022-01-08T12:08:05.289" v="4" actId="1076"/>
          <ac:picMkLst>
            <pc:docMk/>
            <pc:sldMk cId="2160415509" sldId="326"/>
            <ac:picMk id="5" creationId="{8D9C3E5E-0B98-4B88-BFAE-486A9BD232FA}"/>
          </ac:picMkLst>
        </pc:picChg>
      </pc:sldChg>
    </pc:docChg>
  </pc:docChgLst>
  <pc:docChgLst>
    <pc:chgData name="wei yuan" userId="S::pwy_92_hotmail.com#ext#@risebcg.onmicrosoft.com::ca38e7f8-9ace-4d94-b37a-86e65e91f2b0" providerId="AD" clId="Web-{DFDD5CEE-4220-4D97-8780-A131383F4A54}"/>
    <pc:docChg chg="modSld">
      <pc:chgData name="wei yuan" userId="S::pwy_92_hotmail.com#ext#@risebcg.onmicrosoft.com::ca38e7f8-9ace-4d94-b37a-86e65e91f2b0" providerId="AD" clId="Web-{DFDD5CEE-4220-4D97-8780-A131383F4A54}" dt="2022-01-08T11:59:46.481" v="703" actId="20577"/>
      <pc:docMkLst>
        <pc:docMk/>
      </pc:docMkLst>
      <pc:sldChg chg="addSp modSp">
        <pc:chgData name="wei yuan" userId="S::pwy_92_hotmail.com#ext#@risebcg.onmicrosoft.com::ca38e7f8-9ace-4d94-b37a-86e65e91f2b0" providerId="AD" clId="Web-{DFDD5CEE-4220-4D97-8780-A131383F4A54}" dt="2022-01-08T11:59:46.481" v="703" actId="20577"/>
        <pc:sldMkLst>
          <pc:docMk/>
          <pc:sldMk cId="2316358039" sldId="325"/>
        </pc:sldMkLst>
        <pc:spChg chg="mod">
          <ac:chgData name="wei yuan" userId="S::pwy_92_hotmail.com#ext#@risebcg.onmicrosoft.com::ca38e7f8-9ace-4d94-b37a-86e65e91f2b0" providerId="AD" clId="Web-{DFDD5CEE-4220-4D97-8780-A131383F4A54}" dt="2022-01-08T11:59:12.746" v="699" actId="1076"/>
          <ac:spMkLst>
            <pc:docMk/>
            <pc:sldMk cId="2316358039" sldId="325"/>
            <ac:spMk id="3" creationId="{424AF61A-30BE-4BE9-9F56-D2497C21C355}"/>
          </ac:spMkLst>
        </pc:spChg>
        <pc:spChg chg="add mod">
          <ac:chgData name="wei yuan" userId="S::pwy_92_hotmail.com#ext#@risebcg.onmicrosoft.com::ca38e7f8-9ace-4d94-b37a-86e65e91f2b0" providerId="AD" clId="Web-{DFDD5CEE-4220-4D97-8780-A131383F4A54}" dt="2022-01-08T11:59:46.481" v="703" actId="20577"/>
          <ac:spMkLst>
            <pc:docMk/>
            <pc:sldMk cId="2316358039" sldId="325"/>
            <ac:spMk id="9" creationId="{CE26EE87-2792-4EC3-8D5C-A7F50F434726}"/>
          </ac:spMkLst>
        </pc:spChg>
        <pc:spChg chg="mod">
          <ac:chgData name="wei yuan" userId="S::pwy_92_hotmail.com#ext#@risebcg.onmicrosoft.com::ca38e7f8-9ace-4d94-b37a-86e65e91f2b0" providerId="AD" clId="Web-{DFDD5CEE-4220-4D97-8780-A131383F4A54}" dt="2022-01-08T11:58:00.260" v="694" actId="1076"/>
          <ac:spMkLst>
            <pc:docMk/>
            <pc:sldMk cId="2316358039" sldId="325"/>
            <ac:spMk id="14" creationId="{3C1C8EDA-91F1-403C-A371-164289F5FB16}"/>
          </ac:spMkLst>
        </pc:spChg>
        <pc:picChg chg="mod">
          <ac:chgData name="wei yuan" userId="S::pwy_92_hotmail.com#ext#@risebcg.onmicrosoft.com::ca38e7f8-9ace-4d94-b37a-86e65e91f2b0" providerId="AD" clId="Web-{DFDD5CEE-4220-4D97-8780-A131383F4A54}" dt="2022-01-08T11:57:29.056" v="688" actId="1076"/>
          <ac:picMkLst>
            <pc:docMk/>
            <pc:sldMk cId="2316358039" sldId="325"/>
            <ac:picMk id="2" creationId="{69CF128B-0B09-4BF1-B2CA-1BA877B1F78B}"/>
          </ac:picMkLst>
        </pc:picChg>
      </pc:sldChg>
    </pc:docChg>
  </pc:docChgLst>
  <pc:docChgLst>
    <pc:chgData name="wei yuan" userId="S::pwy_92_hotmail.com#ext#@risebcg.onmicrosoft.com::ca38e7f8-9ace-4d94-b37a-86e65e91f2b0" providerId="AD" clId="Web-{753517D1-64AA-4B8B-9638-0F17DE131089}"/>
    <pc:docChg chg="modSld">
      <pc:chgData name="wei yuan" userId="S::pwy_92_hotmail.com#ext#@risebcg.onmicrosoft.com::ca38e7f8-9ace-4d94-b37a-86e65e91f2b0" providerId="AD" clId="Web-{753517D1-64AA-4B8B-9638-0F17DE131089}" dt="2022-01-11T02:53:24.791" v="4" actId="1076"/>
      <pc:docMkLst>
        <pc:docMk/>
      </pc:docMkLst>
      <pc:sldChg chg="addSp modSp">
        <pc:chgData name="wei yuan" userId="S::pwy_92_hotmail.com#ext#@risebcg.onmicrosoft.com::ca38e7f8-9ace-4d94-b37a-86e65e91f2b0" providerId="AD" clId="Web-{753517D1-64AA-4B8B-9638-0F17DE131089}" dt="2022-01-11T02:53:24.791" v="4" actId="1076"/>
        <pc:sldMkLst>
          <pc:docMk/>
          <pc:sldMk cId="2160415509" sldId="326"/>
        </pc:sldMkLst>
        <pc:picChg chg="add mod">
          <ac:chgData name="wei yuan" userId="S::pwy_92_hotmail.com#ext#@risebcg.onmicrosoft.com::ca38e7f8-9ace-4d94-b37a-86e65e91f2b0" providerId="AD" clId="Web-{753517D1-64AA-4B8B-9638-0F17DE131089}" dt="2022-01-11T02:53:24.791" v="4" actId="1076"/>
          <ac:picMkLst>
            <pc:docMk/>
            <pc:sldMk cId="2160415509" sldId="326"/>
            <ac:picMk id="5" creationId="{3739471E-5215-49A8-8746-A476792E3348}"/>
          </ac:picMkLst>
        </pc:picChg>
      </pc:sldChg>
    </pc:docChg>
  </pc:docChgLst>
  <pc:docChgLst>
    <pc:chgData name="WESLEY.TBW" userId="S::wesley.tbw_gmail.com#ext#@risebcg.onmicrosoft.com::1034df62-ee6d-4b2f-8a56-03c4406a0a8a" providerId="AD" clId="Web-{0781AC2C-9B4D-48D3-8DAF-7A5A21AEF7CE}"/>
    <pc:docChg chg="addSld delSld modSld sldOrd">
      <pc:chgData name="WESLEY.TBW" userId="S::wesley.tbw_gmail.com#ext#@risebcg.onmicrosoft.com::1034df62-ee6d-4b2f-8a56-03c4406a0a8a" providerId="AD" clId="Web-{0781AC2C-9B4D-48D3-8DAF-7A5A21AEF7CE}" dt="2022-01-08T16:24:48.142" v="1955"/>
      <pc:docMkLst>
        <pc:docMk/>
      </pc:docMkLst>
      <pc:sldChg chg="addSp delSp modSp modNotes">
        <pc:chgData name="WESLEY.TBW" userId="S::wesley.tbw_gmail.com#ext#@risebcg.onmicrosoft.com::1034df62-ee6d-4b2f-8a56-03c4406a0a8a" providerId="AD" clId="Web-{0781AC2C-9B4D-48D3-8DAF-7A5A21AEF7CE}" dt="2022-01-08T15:52:30.964" v="1809"/>
        <pc:sldMkLst>
          <pc:docMk/>
          <pc:sldMk cId="2256265757" sldId="315"/>
        </pc:sldMkLst>
        <pc:spChg chg="add del">
          <ac:chgData name="WESLEY.TBW" userId="S::wesley.tbw_gmail.com#ext#@risebcg.onmicrosoft.com::1034df62-ee6d-4b2f-8a56-03c4406a0a8a" providerId="AD" clId="Web-{0781AC2C-9B4D-48D3-8DAF-7A5A21AEF7CE}" dt="2022-01-08T15:11:38.948" v="1315"/>
          <ac:spMkLst>
            <pc:docMk/>
            <pc:sldMk cId="2256265757" sldId="315"/>
            <ac:spMk id="307" creationId="{E00E73AA-F824-41AB-B027-8124E5A10950}"/>
          </ac:spMkLst>
        </pc:spChg>
        <pc:spChg chg="add del">
          <ac:chgData name="WESLEY.TBW" userId="S::wesley.tbw_gmail.com#ext#@risebcg.onmicrosoft.com::1034df62-ee6d-4b2f-8a56-03c4406a0a8a" providerId="AD" clId="Web-{0781AC2C-9B4D-48D3-8DAF-7A5A21AEF7CE}" dt="2022-01-08T15:11:37.120" v="1314"/>
          <ac:spMkLst>
            <pc:docMk/>
            <pc:sldMk cId="2256265757" sldId="315"/>
            <ac:spMk id="309" creationId="{A26C4C9B-6DBB-43FF-AC4B-9BFF881F3C41}"/>
          </ac:spMkLst>
        </pc:spChg>
        <pc:spChg chg="add del mod">
          <ac:chgData name="WESLEY.TBW" userId="S::wesley.tbw_gmail.com#ext#@risebcg.onmicrosoft.com::1034df62-ee6d-4b2f-8a56-03c4406a0a8a" providerId="AD" clId="Web-{0781AC2C-9B4D-48D3-8DAF-7A5A21AEF7CE}" dt="2022-01-08T15:43:34.548" v="1496"/>
          <ac:spMkLst>
            <pc:docMk/>
            <pc:sldMk cId="2256265757" sldId="315"/>
            <ac:spMk id="310" creationId="{7279E154-C085-4EBE-AC48-6B0CF54A67C5}"/>
          </ac:spMkLst>
        </pc:spChg>
        <pc:spChg chg="add del mod">
          <ac:chgData name="WESLEY.TBW" userId="S::wesley.tbw_gmail.com#ext#@risebcg.onmicrosoft.com::1034df62-ee6d-4b2f-8a56-03c4406a0a8a" providerId="AD" clId="Web-{0781AC2C-9B4D-48D3-8DAF-7A5A21AEF7CE}" dt="2022-01-08T15:11:36.213" v="1313"/>
          <ac:spMkLst>
            <pc:docMk/>
            <pc:sldMk cId="2256265757" sldId="315"/>
            <ac:spMk id="311" creationId="{0D7DB02B-9E0D-42BB-B9F5-6E4E6F601F99}"/>
          </ac:spMkLst>
        </pc:spChg>
        <pc:inkChg chg="add del">
          <ac:chgData name="WESLEY.TBW" userId="S::wesley.tbw_gmail.com#ext#@risebcg.onmicrosoft.com::1034df62-ee6d-4b2f-8a56-03c4406a0a8a" providerId="AD" clId="Web-{0781AC2C-9B4D-48D3-8DAF-7A5A21AEF7CE}" dt="2022-01-08T15:44:26.674" v="1539"/>
          <ac:inkMkLst>
            <pc:docMk/>
            <pc:sldMk cId="2256265757" sldId="315"/>
            <ac:inkMk id="23" creationId="{C2F4CE54-E29E-4058-ACAE-D21109DB8FE1}"/>
          </ac:inkMkLst>
        </pc:inkChg>
        <pc:inkChg chg="add del">
          <ac:chgData name="WESLEY.TBW" userId="S::wesley.tbw_gmail.com#ext#@risebcg.onmicrosoft.com::1034df62-ee6d-4b2f-8a56-03c4406a0a8a" providerId="AD" clId="Web-{0781AC2C-9B4D-48D3-8DAF-7A5A21AEF7CE}" dt="2022-01-08T15:44:26.674" v="1538"/>
          <ac:inkMkLst>
            <pc:docMk/>
            <pc:sldMk cId="2256265757" sldId="315"/>
            <ac:inkMk id="24" creationId="{A50A6D13-DD58-4435-B868-16DCFE26F779}"/>
          </ac:inkMkLst>
        </pc:inkChg>
        <pc:inkChg chg="add del">
          <ac:chgData name="WESLEY.TBW" userId="S::wesley.tbw_gmail.com#ext#@risebcg.onmicrosoft.com::1034df62-ee6d-4b2f-8a56-03c4406a0a8a" providerId="AD" clId="Web-{0781AC2C-9B4D-48D3-8DAF-7A5A21AEF7CE}" dt="2022-01-08T15:44:26.658" v="1537"/>
          <ac:inkMkLst>
            <pc:docMk/>
            <pc:sldMk cId="2256265757" sldId="315"/>
            <ac:inkMk id="25" creationId="{9CABD214-0ACC-4B81-859B-336EB863F42E}"/>
          </ac:inkMkLst>
        </pc:inkChg>
        <pc:inkChg chg="add del">
          <ac:chgData name="WESLEY.TBW" userId="S::wesley.tbw_gmail.com#ext#@risebcg.onmicrosoft.com::1034df62-ee6d-4b2f-8a56-03c4406a0a8a" providerId="AD" clId="Web-{0781AC2C-9B4D-48D3-8DAF-7A5A21AEF7CE}" dt="2022-01-08T15:44:26.658" v="1536"/>
          <ac:inkMkLst>
            <pc:docMk/>
            <pc:sldMk cId="2256265757" sldId="315"/>
            <ac:inkMk id="26" creationId="{58B50773-2D60-4526-A1E9-47B026EC25C1}"/>
          </ac:inkMkLst>
        </pc:inkChg>
        <pc:inkChg chg="add del">
          <ac:chgData name="WESLEY.TBW" userId="S::wesley.tbw_gmail.com#ext#@risebcg.onmicrosoft.com::1034df62-ee6d-4b2f-8a56-03c4406a0a8a" providerId="AD" clId="Web-{0781AC2C-9B4D-48D3-8DAF-7A5A21AEF7CE}" dt="2022-01-08T15:44:26.658" v="1535"/>
          <ac:inkMkLst>
            <pc:docMk/>
            <pc:sldMk cId="2256265757" sldId="315"/>
            <ac:inkMk id="27" creationId="{3D7FE265-7B2F-44CB-A72B-4D553863B224}"/>
          </ac:inkMkLst>
        </pc:inkChg>
        <pc:inkChg chg="add del">
          <ac:chgData name="WESLEY.TBW" userId="S::wesley.tbw_gmail.com#ext#@risebcg.onmicrosoft.com::1034df62-ee6d-4b2f-8a56-03c4406a0a8a" providerId="AD" clId="Web-{0781AC2C-9B4D-48D3-8DAF-7A5A21AEF7CE}" dt="2022-01-08T15:44:26.658" v="1534"/>
          <ac:inkMkLst>
            <pc:docMk/>
            <pc:sldMk cId="2256265757" sldId="315"/>
            <ac:inkMk id="28" creationId="{FA95E691-1111-4AC6-8FD5-C393ACB792D0}"/>
          </ac:inkMkLst>
        </pc:inkChg>
        <pc:inkChg chg="add del">
          <ac:chgData name="WESLEY.TBW" userId="S::wesley.tbw_gmail.com#ext#@risebcg.onmicrosoft.com::1034df62-ee6d-4b2f-8a56-03c4406a0a8a" providerId="AD" clId="Web-{0781AC2C-9B4D-48D3-8DAF-7A5A21AEF7CE}" dt="2022-01-08T15:44:26.658" v="1533"/>
          <ac:inkMkLst>
            <pc:docMk/>
            <pc:sldMk cId="2256265757" sldId="315"/>
            <ac:inkMk id="29" creationId="{1CADFB49-10B3-42FA-9AAD-803D16899073}"/>
          </ac:inkMkLst>
        </pc:inkChg>
        <pc:inkChg chg="add del">
          <ac:chgData name="WESLEY.TBW" userId="S::wesley.tbw_gmail.com#ext#@risebcg.onmicrosoft.com::1034df62-ee6d-4b2f-8a56-03c4406a0a8a" providerId="AD" clId="Web-{0781AC2C-9B4D-48D3-8DAF-7A5A21AEF7CE}" dt="2022-01-08T15:44:27.752" v="1541"/>
          <ac:inkMkLst>
            <pc:docMk/>
            <pc:sldMk cId="2256265757" sldId="315"/>
            <ac:inkMk id="30" creationId="{8CC5C3D1-1667-469C-B3B0-794BCD151ABE}"/>
          </ac:inkMkLst>
        </pc:inkChg>
        <pc:inkChg chg="add del">
          <ac:chgData name="WESLEY.TBW" userId="S::wesley.tbw_gmail.com#ext#@risebcg.onmicrosoft.com::1034df62-ee6d-4b2f-8a56-03c4406a0a8a" providerId="AD" clId="Web-{0781AC2C-9B4D-48D3-8DAF-7A5A21AEF7CE}" dt="2022-01-08T15:44:33.080" v="1549"/>
          <ac:inkMkLst>
            <pc:docMk/>
            <pc:sldMk cId="2256265757" sldId="315"/>
            <ac:inkMk id="31" creationId="{4399D499-0467-4A35-9D3C-4F55F12A9D8E}"/>
          </ac:inkMkLst>
        </pc:inkChg>
        <pc:inkChg chg="add del">
          <ac:chgData name="WESLEY.TBW" userId="S::wesley.tbw_gmail.com#ext#@risebcg.onmicrosoft.com::1034df62-ee6d-4b2f-8a56-03c4406a0a8a" providerId="AD" clId="Web-{0781AC2C-9B4D-48D3-8DAF-7A5A21AEF7CE}" dt="2022-01-08T15:44:33.080" v="1548"/>
          <ac:inkMkLst>
            <pc:docMk/>
            <pc:sldMk cId="2256265757" sldId="315"/>
            <ac:inkMk id="32" creationId="{97235DD4-4C11-4D05-82DB-67D973ED21E7}"/>
          </ac:inkMkLst>
        </pc:inkChg>
        <pc:inkChg chg="add del">
          <ac:chgData name="WESLEY.TBW" userId="S::wesley.tbw_gmail.com#ext#@risebcg.onmicrosoft.com::1034df62-ee6d-4b2f-8a56-03c4406a0a8a" providerId="AD" clId="Web-{0781AC2C-9B4D-48D3-8DAF-7A5A21AEF7CE}" dt="2022-01-08T15:44:33.080" v="1547"/>
          <ac:inkMkLst>
            <pc:docMk/>
            <pc:sldMk cId="2256265757" sldId="315"/>
            <ac:inkMk id="33" creationId="{BEE4AE01-62A7-436F-873F-B6694A01C12A}"/>
          </ac:inkMkLst>
        </pc:inkChg>
        <pc:inkChg chg="add del">
          <ac:chgData name="WESLEY.TBW" userId="S::wesley.tbw_gmail.com#ext#@risebcg.onmicrosoft.com::1034df62-ee6d-4b2f-8a56-03c4406a0a8a" providerId="AD" clId="Web-{0781AC2C-9B4D-48D3-8DAF-7A5A21AEF7CE}" dt="2022-01-08T15:44:33.080" v="1546"/>
          <ac:inkMkLst>
            <pc:docMk/>
            <pc:sldMk cId="2256265757" sldId="315"/>
            <ac:inkMk id="34" creationId="{AB881702-E2B8-4741-85D3-17F5532913DC}"/>
          </ac:inkMkLst>
        </pc:inkChg>
        <pc:inkChg chg="add del">
          <ac:chgData name="WESLEY.TBW" userId="S::wesley.tbw_gmail.com#ext#@risebcg.onmicrosoft.com::1034df62-ee6d-4b2f-8a56-03c4406a0a8a" providerId="AD" clId="Web-{0781AC2C-9B4D-48D3-8DAF-7A5A21AEF7CE}" dt="2022-01-08T15:44:33.080" v="1545"/>
          <ac:inkMkLst>
            <pc:docMk/>
            <pc:sldMk cId="2256265757" sldId="315"/>
            <ac:inkMk id="35" creationId="{A5A07B7A-289D-4874-BFD9-77F6860E1062}"/>
          </ac:inkMkLst>
        </pc:inkChg>
        <pc:inkChg chg="add del">
          <ac:chgData name="WESLEY.TBW" userId="S::wesley.tbw_gmail.com#ext#@risebcg.onmicrosoft.com::1034df62-ee6d-4b2f-8a56-03c4406a0a8a" providerId="AD" clId="Web-{0781AC2C-9B4D-48D3-8DAF-7A5A21AEF7CE}" dt="2022-01-08T15:44:33.080" v="1544"/>
          <ac:inkMkLst>
            <pc:docMk/>
            <pc:sldMk cId="2256265757" sldId="315"/>
            <ac:inkMk id="36" creationId="{9705C685-CD40-43E3-B17C-2A60521D7914}"/>
          </ac:inkMkLst>
        </pc:inkChg>
        <pc:inkChg chg="add del">
          <ac:chgData name="WESLEY.TBW" userId="S::wesley.tbw_gmail.com#ext#@risebcg.onmicrosoft.com::1034df62-ee6d-4b2f-8a56-03c4406a0a8a" providerId="AD" clId="Web-{0781AC2C-9B4D-48D3-8DAF-7A5A21AEF7CE}" dt="2022-01-08T15:44:33.080" v="1543"/>
          <ac:inkMkLst>
            <pc:docMk/>
            <pc:sldMk cId="2256265757" sldId="315"/>
            <ac:inkMk id="37" creationId="{A0B02A6A-348D-4C2A-A9D5-CB932866A743}"/>
          </ac:inkMkLst>
        </pc:inkChg>
        <pc:inkChg chg="add del">
          <ac:chgData name="WESLEY.TBW" userId="S::wesley.tbw_gmail.com#ext#@risebcg.onmicrosoft.com::1034df62-ee6d-4b2f-8a56-03c4406a0a8a" providerId="AD" clId="Web-{0781AC2C-9B4D-48D3-8DAF-7A5A21AEF7CE}" dt="2022-01-08T15:44:33.080" v="1542"/>
          <ac:inkMkLst>
            <pc:docMk/>
            <pc:sldMk cId="2256265757" sldId="315"/>
            <ac:inkMk id="38" creationId="{3E28EA8C-24DC-4B94-B99A-8088F0309A32}"/>
          </ac:inkMkLst>
        </pc:inkChg>
        <pc:inkChg chg="add del">
          <ac:chgData name="WESLEY.TBW" userId="S::wesley.tbw_gmail.com#ext#@risebcg.onmicrosoft.com::1034df62-ee6d-4b2f-8a56-03c4406a0a8a" providerId="AD" clId="Web-{0781AC2C-9B4D-48D3-8DAF-7A5A21AEF7CE}" dt="2022-01-08T15:44:20.017" v="1525"/>
          <ac:inkMkLst>
            <pc:docMk/>
            <pc:sldMk cId="2256265757" sldId="315"/>
            <ac:inkMk id="39" creationId="{FBAFBF46-5E82-431C-A151-5E03AE8A6BB5}"/>
          </ac:inkMkLst>
        </pc:inkChg>
        <pc:inkChg chg="add del">
          <ac:chgData name="WESLEY.TBW" userId="S::wesley.tbw_gmail.com#ext#@risebcg.onmicrosoft.com::1034df62-ee6d-4b2f-8a56-03c4406a0a8a" providerId="AD" clId="Web-{0781AC2C-9B4D-48D3-8DAF-7A5A21AEF7CE}" dt="2022-01-08T15:44:20.017" v="1524"/>
          <ac:inkMkLst>
            <pc:docMk/>
            <pc:sldMk cId="2256265757" sldId="315"/>
            <ac:inkMk id="40" creationId="{777AA4B3-F23B-4279-9EE6-8FA7558C39CB}"/>
          </ac:inkMkLst>
        </pc:inkChg>
        <pc:inkChg chg="add del">
          <ac:chgData name="WESLEY.TBW" userId="S::wesley.tbw_gmail.com#ext#@risebcg.onmicrosoft.com::1034df62-ee6d-4b2f-8a56-03c4406a0a8a" providerId="AD" clId="Web-{0781AC2C-9B4D-48D3-8DAF-7A5A21AEF7CE}" dt="2022-01-08T15:43:38.579" v="1497"/>
          <ac:inkMkLst>
            <pc:docMk/>
            <pc:sldMk cId="2256265757" sldId="315"/>
            <ac:inkMk id="306" creationId="{1ADAC67C-7A8E-4033-BC20-2A0849411A17}"/>
          </ac:inkMkLst>
        </pc:inkChg>
        <pc:inkChg chg="add del">
          <ac:chgData name="WESLEY.TBW" userId="S::wesley.tbw_gmail.com#ext#@risebcg.onmicrosoft.com::1034df62-ee6d-4b2f-8a56-03c4406a0a8a" providerId="AD" clId="Web-{0781AC2C-9B4D-48D3-8DAF-7A5A21AEF7CE}" dt="2022-01-08T15:11:25.791" v="1309"/>
          <ac:inkMkLst>
            <pc:docMk/>
            <pc:sldMk cId="2256265757" sldId="315"/>
            <ac:inkMk id="308" creationId="{4548D7DD-5CD4-4B4F-BC99-26F1FBEE0A54}"/>
          </ac:inkMkLst>
        </pc:inkChg>
        <pc:inkChg chg="add del">
          <ac:chgData name="WESLEY.TBW" userId="S::wesley.tbw_gmail.com#ext#@risebcg.onmicrosoft.com::1034df62-ee6d-4b2f-8a56-03c4406a0a8a" providerId="AD" clId="Web-{0781AC2C-9B4D-48D3-8DAF-7A5A21AEF7CE}" dt="2022-01-08T15:44:26.674" v="1540"/>
          <ac:inkMkLst>
            <pc:docMk/>
            <pc:sldMk cId="2256265757" sldId="315"/>
            <ac:inkMk id="652" creationId="{FDE45141-A42A-4B3A-B173-8EE6D1ABDDF0}"/>
          </ac:inkMkLst>
        </pc:inkChg>
        <pc:inkChg chg="add del">
          <ac:chgData name="WESLEY.TBW" userId="S::wesley.tbw_gmail.com#ext#@risebcg.onmicrosoft.com::1034df62-ee6d-4b2f-8a56-03c4406a0a8a" providerId="AD" clId="Web-{0781AC2C-9B4D-48D3-8DAF-7A5A21AEF7CE}" dt="2022-01-08T15:44:22.877" v="1532"/>
          <ac:inkMkLst>
            <pc:docMk/>
            <pc:sldMk cId="2256265757" sldId="315"/>
            <ac:inkMk id="681" creationId="{CD447D58-BB3A-4632-989D-CA5C5C7EF243}"/>
          </ac:inkMkLst>
        </pc:inkChg>
        <pc:inkChg chg="add del">
          <ac:chgData name="WESLEY.TBW" userId="S::wesley.tbw_gmail.com#ext#@risebcg.onmicrosoft.com::1034df62-ee6d-4b2f-8a56-03c4406a0a8a" providerId="AD" clId="Web-{0781AC2C-9B4D-48D3-8DAF-7A5A21AEF7CE}" dt="2022-01-08T15:44:22.877" v="1531"/>
          <ac:inkMkLst>
            <pc:docMk/>
            <pc:sldMk cId="2256265757" sldId="315"/>
            <ac:inkMk id="682" creationId="{67D4A873-5173-400D-9DE7-58A798CF7449}"/>
          </ac:inkMkLst>
        </pc:inkChg>
        <pc:inkChg chg="add del">
          <ac:chgData name="WESLEY.TBW" userId="S::wesley.tbw_gmail.com#ext#@risebcg.onmicrosoft.com::1034df62-ee6d-4b2f-8a56-03c4406a0a8a" providerId="AD" clId="Web-{0781AC2C-9B4D-48D3-8DAF-7A5A21AEF7CE}" dt="2022-01-08T15:44:22.877" v="1530"/>
          <ac:inkMkLst>
            <pc:docMk/>
            <pc:sldMk cId="2256265757" sldId="315"/>
            <ac:inkMk id="683" creationId="{79E2BAAF-0A92-4783-AC2F-423147AD25F2}"/>
          </ac:inkMkLst>
        </pc:inkChg>
        <pc:inkChg chg="add del">
          <ac:chgData name="WESLEY.TBW" userId="S::wesley.tbw_gmail.com#ext#@risebcg.onmicrosoft.com::1034df62-ee6d-4b2f-8a56-03c4406a0a8a" providerId="AD" clId="Web-{0781AC2C-9B4D-48D3-8DAF-7A5A21AEF7CE}" dt="2022-01-08T15:44:22.877" v="1529"/>
          <ac:inkMkLst>
            <pc:docMk/>
            <pc:sldMk cId="2256265757" sldId="315"/>
            <ac:inkMk id="744" creationId="{DBCE7B23-F1B4-4B9A-9209-ACBF2A02ACDC}"/>
          </ac:inkMkLst>
        </pc:inkChg>
        <pc:inkChg chg="add del">
          <ac:chgData name="WESLEY.TBW" userId="S::wesley.tbw_gmail.com#ext#@risebcg.onmicrosoft.com::1034df62-ee6d-4b2f-8a56-03c4406a0a8a" providerId="AD" clId="Web-{0781AC2C-9B4D-48D3-8DAF-7A5A21AEF7CE}" dt="2022-01-08T15:44:22.877" v="1528"/>
          <ac:inkMkLst>
            <pc:docMk/>
            <pc:sldMk cId="2256265757" sldId="315"/>
            <ac:inkMk id="745" creationId="{4E0CBFFF-4162-45BF-B134-2328CFFF93D5}"/>
          </ac:inkMkLst>
        </pc:inkChg>
        <pc:inkChg chg="add del">
          <ac:chgData name="WESLEY.TBW" userId="S::wesley.tbw_gmail.com#ext#@risebcg.onmicrosoft.com::1034df62-ee6d-4b2f-8a56-03c4406a0a8a" providerId="AD" clId="Web-{0781AC2C-9B4D-48D3-8DAF-7A5A21AEF7CE}" dt="2022-01-08T15:44:22.877" v="1527"/>
          <ac:inkMkLst>
            <pc:docMk/>
            <pc:sldMk cId="2256265757" sldId="315"/>
            <ac:inkMk id="746" creationId="{3CBC7C08-B8D8-4198-9DA0-19B776EB9CBA}"/>
          </ac:inkMkLst>
        </pc:inkChg>
        <pc:inkChg chg="add del">
          <ac:chgData name="WESLEY.TBW" userId="S::wesley.tbw_gmail.com#ext#@risebcg.onmicrosoft.com::1034df62-ee6d-4b2f-8a56-03c4406a0a8a" providerId="AD" clId="Web-{0781AC2C-9B4D-48D3-8DAF-7A5A21AEF7CE}" dt="2022-01-08T15:44:22.877" v="1526"/>
          <ac:inkMkLst>
            <pc:docMk/>
            <pc:sldMk cId="2256265757" sldId="315"/>
            <ac:inkMk id="747" creationId="{B319FEA4-818F-4419-BE68-9BDC7F10686A}"/>
          </ac:inkMkLst>
        </pc:inkChg>
      </pc:sldChg>
      <pc:sldChg chg="addSp delSp modSp modNotes">
        <pc:chgData name="WESLEY.TBW" userId="S::wesley.tbw_gmail.com#ext#@risebcg.onmicrosoft.com::1034df62-ee6d-4b2f-8a56-03c4406a0a8a" providerId="AD" clId="Web-{0781AC2C-9B4D-48D3-8DAF-7A5A21AEF7CE}" dt="2022-01-08T16:24:48.142" v="1955"/>
        <pc:sldMkLst>
          <pc:docMk/>
          <pc:sldMk cId="4084366951" sldId="318"/>
        </pc:sldMkLst>
        <pc:spChg chg="mod">
          <ac:chgData name="WESLEY.TBW" userId="S::wesley.tbw_gmail.com#ext#@risebcg.onmicrosoft.com::1034df62-ee6d-4b2f-8a56-03c4406a0a8a" providerId="AD" clId="Web-{0781AC2C-9B4D-48D3-8DAF-7A5A21AEF7CE}" dt="2022-01-08T14:26:35.786" v="959" actId="20577"/>
          <ac:spMkLst>
            <pc:docMk/>
            <pc:sldMk cId="4084366951" sldId="318"/>
            <ac:spMk id="32" creationId="{41E099E5-F68B-4939-9F7A-B9CC2E5F333A}"/>
          </ac:spMkLst>
        </pc:spChg>
        <pc:grpChg chg="del">
          <ac:chgData name="WESLEY.TBW" userId="S::wesley.tbw_gmail.com#ext#@risebcg.onmicrosoft.com::1034df62-ee6d-4b2f-8a56-03c4406a0a8a" providerId="AD" clId="Web-{0781AC2C-9B4D-48D3-8DAF-7A5A21AEF7CE}" dt="2022-01-08T13:47:06.115" v="616"/>
          <ac:grpSpMkLst>
            <pc:docMk/>
            <pc:sldMk cId="4084366951" sldId="318"/>
            <ac:grpSpMk id="34" creationId="{05607143-7AC4-4585-8FF1-3A1245EE3DDE}"/>
          </ac:grpSpMkLst>
        </pc:grpChg>
        <pc:picChg chg="add mod">
          <ac:chgData name="WESLEY.TBW" userId="S::wesley.tbw_gmail.com#ext#@risebcg.onmicrosoft.com::1034df62-ee6d-4b2f-8a56-03c4406a0a8a" providerId="AD" clId="Web-{0781AC2C-9B4D-48D3-8DAF-7A5A21AEF7CE}" dt="2022-01-08T12:33:27.341" v="71" actId="14100"/>
          <ac:picMkLst>
            <pc:docMk/>
            <pc:sldMk cId="4084366951" sldId="318"/>
            <ac:picMk id="2" creationId="{A614BDB2-A87C-4D6E-B961-198BF7854FE2}"/>
          </ac:picMkLst>
        </pc:picChg>
        <pc:picChg chg="del">
          <ac:chgData name="WESLEY.TBW" userId="S::wesley.tbw_gmail.com#ext#@risebcg.onmicrosoft.com::1034df62-ee6d-4b2f-8a56-03c4406a0a8a" providerId="AD" clId="Web-{0781AC2C-9B4D-48D3-8DAF-7A5A21AEF7CE}" dt="2022-01-08T12:33:12.466" v="68"/>
          <ac:picMkLst>
            <pc:docMk/>
            <pc:sldMk cId="4084366951" sldId="318"/>
            <ac:picMk id="3" creationId="{4EA9D4D3-D6BE-4DD3-A185-A6287A9302E7}"/>
          </ac:picMkLst>
        </pc:picChg>
        <pc:picChg chg="add del mod">
          <ac:chgData name="WESLEY.TBW" userId="S::wesley.tbw_gmail.com#ext#@risebcg.onmicrosoft.com::1034df62-ee6d-4b2f-8a56-03c4406a0a8a" providerId="AD" clId="Web-{0781AC2C-9B4D-48D3-8DAF-7A5A21AEF7CE}" dt="2022-01-08T13:47:06.115" v="615"/>
          <ac:picMkLst>
            <pc:docMk/>
            <pc:sldMk cId="4084366951" sldId="318"/>
            <ac:picMk id="5" creationId="{B46453E5-BEB4-482A-8561-F215B9AE53A0}"/>
          </ac:picMkLst>
        </pc:picChg>
        <pc:picChg chg="del">
          <ac:chgData name="WESLEY.TBW" userId="S::wesley.tbw_gmail.com#ext#@risebcg.onmicrosoft.com::1034df62-ee6d-4b2f-8a56-03c4406a0a8a" providerId="AD" clId="Web-{0781AC2C-9B4D-48D3-8DAF-7A5A21AEF7CE}" dt="2022-01-08T12:09:59.045" v="0"/>
          <ac:picMkLst>
            <pc:docMk/>
            <pc:sldMk cId="4084366951" sldId="318"/>
            <ac:picMk id="9" creationId="{329F3741-BB5B-4CA9-80DC-60382768BE40}"/>
          </ac:picMkLst>
        </pc:picChg>
        <pc:picChg chg="del">
          <ac:chgData name="WESLEY.TBW" userId="S::wesley.tbw_gmail.com#ext#@risebcg.onmicrosoft.com::1034df62-ee6d-4b2f-8a56-03c4406a0a8a" providerId="AD" clId="Web-{0781AC2C-9B4D-48D3-8DAF-7A5A21AEF7CE}" dt="2022-01-08T12:33:11.654" v="67"/>
          <ac:picMkLst>
            <pc:docMk/>
            <pc:sldMk cId="4084366951" sldId="318"/>
            <ac:picMk id="11" creationId="{079CE0C2-D9FF-4DFE-967B-E9EFC7681473}"/>
          </ac:picMkLst>
        </pc:picChg>
        <pc:picChg chg="del">
          <ac:chgData name="WESLEY.TBW" userId="S::wesley.tbw_gmail.com#ext#@risebcg.onmicrosoft.com::1034df62-ee6d-4b2f-8a56-03c4406a0a8a" providerId="AD" clId="Web-{0781AC2C-9B4D-48D3-8DAF-7A5A21AEF7CE}" dt="2022-01-08T12:10:00.608" v="1"/>
          <ac:picMkLst>
            <pc:docMk/>
            <pc:sldMk cId="4084366951" sldId="318"/>
            <ac:picMk id="16" creationId="{D69CAFA9-4C9E-4C9D-8063-6AB7F66A7981}"/>
          </ac:picMkLst>
        </pc:picChg>
        <pc:picChg chg="mod">
          <ac:chgData name="WESLEY.TBW" userId="S::wesley.tbw_gmail.com#ext#@risebcg.onmicrosoft.com::1034df62-ee6d-4b2f-8a56-03c4406a0a8a" providerId="AD" clId="Web-{0781AC2C-9B4D-48D3-8DAF-7A5A21AEF7CE}" dt="2022-01-08T12:10:03.296" v="3" actId="1076"/>
          <ac:picMkLst>
            <pc:docMk/>
            <pc:sldMk cId="4084366951" sldId="318"/>
            <ac:picMk id="18" creationId="{01844450-929B-4C6F-8685-6FF3118F02E2}"/>
          </ac:picMkLst>
        </pc:picChg>
        <pc:inkChg chg="add del">
          <ac:chgData name="WESLEY.TBW" userId="S::wesley.tbw_gmail.com#ext#@risebcg.onmicrosoft.com::1034df62-ee6d-4b2f-8a56-03c4406a0a8a" providerId="AD" clId="Web-{0781AC2C-9B4D-48D3-8DAF-7A5A21AEF7CE}" dt="2022-01-08T12:52:57.005" v="121"/>
          <ac:inkMkLst>
            <pc:docMk/>
            <pc:sldMk cId="4084366951" sldId="318"/>
            <ac:inkMk id="9" creationId="{8F82CD96-0B4A-459B-9447-67F6FCB00A17}"/>
          </ac:inkMkLst>
        </pc:inkChg>
        <pc:inkChg chg="add del">
          <ac:chgData name="WESLEY.TBW" userId="S::wesley.tbw_gmail.com#ext#@risebcg.onmicrosoft.com::1034df62-ee6d-4b2f-8a56-03c4406a0a8a" providerId="AD" clId="Web-{0781AC2C-9B4D-48D3-8DAF-7A5A21AEF7CE}" dt="2022-01-08T12:52:55.880" v="120"/>
          <ac:inkMkLst>
            <pc:docMk/>
            <pc:sldMk cId="4084366951" sldId="318"/>
            <ac:inkMk id="10" creationId="{B41B370B-9EB4-4D59-B187-3D40C9339EE6}"/>
          </ac:inkMkLst>
        </pc:inkChg>
        <pc:inkChg chg="add del">
          <ac:chgData name="WESLEY.TBW" userId="S::wesley.tbw_gmail.com#ext#@risebcg.onmicrosoft.com::1034df62-ee6d-4b2f-8a56-03c4406a0a8a" providerId="AD" clId="Web-{0781AC2C-9B4D-48D3-8DAF-7A5A21AEF7CE}" dt="2022-01-08T12:53:01.630" v="123"/>
          <ac:inkMkLst>
            <pc:docMk/>
            <pc:sldMk cId="4084366951" sldId="318"/>
            <ac:inkMk id="13" creationId="{EBE6E996-1632-4D61-9334-9B03E63D8278}"/>
          </ac:inkMkLst>
        </pc:inkChg>
      </pc:sldChg>
      <pc:sldChg chg="addSp delSp modSp new">
        <pc:chgData name="WESLEY.TBW" userId="S::wesley.tbw_gmail.com#ext#@risebcg.onmicrosoft.com::1034df62-ee6d-4b2f-8a56-03c4406a0a8a" providerId="AD" clId="Web-{0781AC2C-9B4D-48D3-8DAF-7A5A21AEF7CE}" dt="2022-01-08T13:55:44.953" v="680" actId="1076"/>
        <pc:sldMkLst>
          <pc:docMk/>
          <pc:sldMk cId="426360798" sldId="347"/>
        </pc:sldMkLst>
        <pc:spChg chg="mod">
          <ac:chgData name="WESLEY.TBW" userId="S::wesley.tbw_gmail.com#ext#@risebcg.onmicrosoft.com::1034df62-ee6d-4b2f-8a56-03c4406a0a8a" providerId="AD" clId="Web-{0781AC2C-9B4D-48D3-8DAF-7A5A21AEF7CE}" dt="2022-01-08T13:55:44.953" v="680" actId="1076"/>
          <ac:spMkLst>
            <pc:docMk/>
            <pc:sldMk cId="426360798" sldId="347"/>
            <ac:spMk id="2" creationId="{539C9826-9E79-4999-9783-F530944DD31E}"/>
          </ac:spMkLst>
        </pc:spChg>
        <pc:spChg chg="del">
          <ac:chgData name="WESLEY.TBW" userId="S::wesley.tbw_gmail.com#ext#@risebcg.onmicrosoft.com::1034df62-ee6d-4b2f-8a56-03c4406a0a8a" providerId="AD" clId="Web-{0781AC2C-9B4D-48D3-8DAF-7A5A21AEF7CE}" dt="2022-01-08T13:46:50.693" v="612"/>
          <ac:spMkLst>
            <pc:docMk/>
            <pc:sldMk cId="426360798" sldId="347"/>
            <ac:spMk id="3" creationId="{A254067E-EB82-44DA-A794-5BF0FF9FF8E7}"/>
          </ac:spMkLst>
        </pc:spChg>
        <pc:spChg chg="add">
          <ac:chgData name="WESLEY.TBW" userId="S::wesley.tbw_gmail.com#ext#@risebcg.onmicrosoft.com::1034df62-ee6d-4b2f-8a56-03c4406a0a8a" providerId="AD" clId="Web-{0781AC2C-9B4D-48D3-8DAF-7A5A21AEF7CE}" dt="2022-01-08T13:47:10.490" v="617"/>
          <ac:spMkLst>
            <pc:docMk/>
            <pc:sldMk cId="426360798" sldId="347"/>
            <ac:spMk id="8" creationId="{140DCEFC-B17A-4E93-BD95-F2C39BB68786}"/>
          </ac:spMkLst>
        </pc:spChg>
        <pc:spChg chg="add">
          <ac:chgData name="WESLEY.TBW" userId="S::wesley.tbw_gmail.com#ext#@risebcg.onmicrosoft.com::1034df62-ee6d-4b2f-8a56-03c4406a0a8a" providerId="AD" clId="Web-{0781AC2C-9B4D-48D3-8DAF-7A5A21AEF7CE}" dt="2022-01-08T13:47:10.490" v="617"/>
          <ac:spMkLst>
            <pc:docMk/>
            <pc:sldMk cId="426360798" sldId="347"/>
            <ac:spMk id="9" creationId="{82BDF24A-ECCC-4A3B-BA0C-529F536B1CEF}"/>
          </ac:spMkLst>
        </pc:spChg>
        <pc:grpChg chg="add del mod">
          <ac:chgData name="WESLEY.TBW" userId="S::wesley.tbw_gmail.com#ext#@risebcg.onmicrosoft.com::1034df62-ee6d-4b2f-8a56-03c4406a0a8a" providerId="AD" clId="Web-{0781AC2C-9B4D-48D3-8DAF-7A5A21AEF7CE}" dt="2022-01-08T13:47:55.866" v="626"/>
          <ac:grpSpMkLst>
            <pc:docMk/>
            <pc:sldMk cId="426360798" sldId="347"/>
            <ac:grpSpMk id="5" creationId="{0532B9A3-2CE8-47E6-92B2-6F465C10AF36}"/>
          </ac:grpSpMkLst>
        </pc:grpChg>
        <pc:picChg chg="add del mod">
          <ac:chgData name="WESLEY.TBW" userId="S::wesley.tbw_gmail.com#ext#@risebcg.onmicrosoft.com::1034df62-ee6d-4b2f-8a56-03c4406a0a8a" providerId="AD" clId="Web-{0781AC2C-9B4D-48D3-8DAF-7A5A21AEF7CE}" dt="2022-01-08T13:47:54.569" v="624"/>
          <ac:picMkLst>
            <pc:docMk/>
            <pc:sldMk cId="426360798" sldId="347"/>
            <ac:picMk id="4" creationId="{5077707B-414C-42AA-B330-0167CEF42AD3}"/>
          </ac:picMkLst>
        </pc:picChg>
        <pc:picChg chg="add del mod">
          <ac:chgData name="WESLEY.TBW" userId="S::wesley.tbw_gmail.com#ext#@risebcg.onmicrosoft.com::1034df62-ee6d-4b2f-8a56-03c4406a0a8a" providerId="AD" clId="Web-{0781AC2C-9B4D-48D3-8DAF-7A5A21AEF7CE}" dt="2022-01-08T13:47:55.225" v="625"/>
          <ac:picMkLst>
            <pc:docMk/>
            <pc:sldMk cId="426360798" sldId="347"/>
            <ac:picMk id="6" creationId="{C0B12439-C614-4DBE-98E0-19638BA3CCB5}"/>
          </ac:picMkLst>
        </pc:picChg>
        <pc:picChg chg="add">
          <ac:chgData name="WESLEY.TBW" userId="S::wesley.tbw_gmail.com#ext#@risebcg.onmicrosoft.com::1034df62-ee6d-4b2f-8a56-03c4406a0a8a" providerId="AD" clId="Web-{0781AC2C-9B4D-48D3-8DAF-7A5A21AEF7CE}" dt="2022-01-08T13:47:10.490" v="617"/>
          <ac:picMkLst>
            <pc:docMk/>
            <pc:sldMk cId="426360798" sldId="347"/>
            <ac:picMk id="7" creationId="{FA955553-C4F0-4574-B009-5E58FA251B0F}"/>
          </ac:picMkLst>
        </pc:picChg>
        <pc:picChg chg="add mod">
          <ac:chgData name="WESLEY.TBW" userId="S::wesley.tbw_gmail.com#ext#@risebcg.onmicrosoft.com::1034df62-ee6d-4b2f-8a56-03c4406a0a8a" providerId="AD" clId="Web-{0781AC2C-9B4D-48D3-8DAF-7A5A21AEF7CE}" dt="2022-01-08T13:55:41.703" v="679" actId="1076"/>
          <ac:picMkLst>
            <pc:docMk/>
            <pc:sldMk cId="426360798" sldId="347"/>
            <ac:picMk id="10" creationId="{676266AD-39DD-4C63-AC43-FBDA958C8BFA}"/>
          </ac:picMkLst>
        </pc:picChg>
      </pc:sldChg>
      <pc:sldChg chg="addSp modSp new del">
        <pc:chgData name="WESLEY.TBW" userId="S::wesley.tbw_gmail.com#ext#@risebcg.onmicrosoft.com::1034df62-ee6d-4b2f-8a56-03c4406a0a8a" providerId="AD" clId="Web-{0781AC2C-9B4D-48D3-8DAF-7A5A21AEF7CE}" dt="2022-01-08T12:51:30.503" v="117"/>
        <pc:sldMkLst>
          <pc:docMk/>
          <pc:sldMk cId="3201265486" sldId="347"/>
        </pc:sldMkLst>
        <pc:spChg chg="add mod">
          <ac:chgData name="WESLEY.TBW" userId="S::wesley.tbw_gmail.com#ext#@risebcg.onmicrosoft.com::1034df62-ee6d-4b2f-8a56-03c4406a0a8a" providerId="AD" clId="Web-{0781AC2C-9B4D-48D3-8DAF-7A5A21AEF7CE}" dt="2022-01-08T12:48:02.155" v="100"/>
          <ac:spMkLst>
            <pc:docMk/>
            <pc:sldMk cId="3201265486" sldId="347"/>
            <ac:spMk id="4" creationId="{D335345E-A5D2-4357-BA65-198E63ECAED2}"/>
          </ac:spMkLst>
        </pc:spChg>
        <pc:spChg chg="add mod">
          <ac:chgData name="WESLEY.TBW" userId="S::wesley.tbw_gmail.com#ext#@risebcg.onmicrosoft.com::1034df62-ee6d-4b2f-8a56-03c4406a0a8a" providerId="AD" clId="Web-{0781AC2C-9B4D-48D3-8DAF-7A5A21AEF7CE}" dt="2022-01-08T12:48:08.890" v="103" actId="1076"/>
          <ac:spMkLst>
            <pc:docMk/>
            <pc:sldMk cId="3201265486" sldId="347"/>
            <ac:spMk id="5" creationId="{64952840-ABA1-4113-A857-771F0C1A625B}"/>
          </ac:spMkLst>
        </pc:spChg>
        <pc:inkChg chg="add">
          <ac:chgData name="WESLEY.TBW" userId="S::wesley.tbw_gmail.com#ext#@risebcg.onmicrosoft.com::1034df62-ee6d-4b2f-8a56-03c4406a0a8a" providerId="AD" clId="Web-{0781AC2C-9B4D-48D3-8DAF-7A5A21AEF7CE}" dt="2022-01-08T12:48:21.031" v="104"/>
          <ac:inkMkLst>
            <pc:docMk/>
            <pc:sldMk cId="3201265486" sldId="347"/>
            <ac:inkMk id="6" creationId="{48D22F0D-F3C9-4336-A135-89D0B62D5D7E}"/>
          </ac:inkMkLst>
        </pc:inkChg>
        <pc:inkChg chg="add">
          <ac:chgData name="WESLEY.TBW" userId="S::wesley.tbw_gmail.com#ext#@risebcg.onmicrosoft.com::1034df62-ee6d-4b2f-8a56-03c4406a0a8a" providerId="AD" clId="Web-{0781AC2C-9B4D-48D3-8DAF-7A5A21AEF7CE}" dt="2022-01-08T12:48:22.093" v="105"/>
          <ac:inkMkLst>
            <pc:docMk/>
            <pc:sldMk cId="3201265486" sldId="347"/>
            <ac:inkMk id="7" creationId="{92538774-378A-4375-8D99-8B1FD0C60E06}"/>
          </ac:inkMkLst>
        </pc:inkChg>
        <pc:inkChg chg="add">
          <ac:chgData name="WESLEY.TBW" userId="S::wesley.tbw_gmail.com#ext#@risebcg.onmicrosoft.com::1034df62-ee6d-4b2f-8a56-03c4406a0a8a" providerId="AD" clId="Web-{0781AC2C-9B4D-48D3-8DAF-7A5A21AEF7CE}" dt="2022-01-08T12:48:26.999" v="106"/>
          <ac:inkMkLst>
            <pc:docMk/>
            <pc:sldMk cId="3201265486" sldId="347"/>
            <ac:inkMk id="8" creationId="{DE783DDB-3A91-46A1-93B0-4D9A37FE1A59}"/>
          </ac:inkMkLst>
        </pc:inkChg>
        <pc:inkChg chg="add">
          <ac:chgData name="WESLEY.TBW" userId="S::wesley.tbw_gmail.com#ext#@risebcg.onmicrosoft.com::1034df62-ee6d-4b2f-8a56-03c4406a0a8a" providerId="AD" clId="Web-{0781AC2C-9B4D-48D3-8DAF-7A5A21AEF7CE}" dt="2022-01-08T12:48:31.734" v="107"/>
          <ac:inkMkLst>
            <pc:docMk/>
            <pc:sldMk cId="3201265486" sldId="347"/>
            <ac:inkMk id="9" creationId="{6844DFCE-D259-4DB3-8800-29F2AD81BC26}"/>
          </ac:inkMkLst>
        </pc:inkChg>
        <pc:inkChg chg="add">
          <ac:chgData name="WESLEY.TBW" userId="S::wesley.tbw_gmail.com#ext#@risebcg.onmicrosoft.com::1034df62-ee6d-4b2f-8a56-03c4406a0a8a" providerId="AD" clId="Web-{0781AC2C-9B4D-48D3-8DAF-7A5A21AEF7CE}" dt="2022-01-08T12:50:46.830" v="108"/>
          <ac:inkMkLst>
            <pc:docMk/>
            <pc:sldMk cId="3201265486" sldId="347"/>
            <ac:inkMk id="10" creationId="{371B720D-0408-44FE-AF8A-1C4C541B12F1}"/>
          </ac:inkMkLst>
        </pc:inkChg>
        <pc:inkChg chg="add">
          <ac:chgData name="WESLEY.TBW" userId="S::wesley.tbw_gmail.com#ext#@risebcg.onmicrosoft.com::1034df62-ee6d-4b2f-8a56-03c4406a0a8a" providerId="AD" clId="Web-{0781AC2C-9B4D-48D3-8DAF-7A5A21AEF7CE}" dt="2022-01-08T12:51:05.112" v="109"/>
          <ac:inkMkLst>
            <pc:docMk/>
            <pc:sldMk cId="3201265486" sldId="347"/>
            <ac:inkMk id="11" creationId="{68D91E38-B19A-4C23-B821-9BFF4BAFEE9E}"/>
          </ac:inkMkLst>
        </pc:inkChg>
        <pc:inkChg chg="add">
          <ac:chgData name="WESLEY.TBW" userId="S::wesley.tbw_gmail.com#ext#@risebcg.onmicrosoft.com::1034df62-ee6d-4b2f-8a56-03c4406a0a8a" providerId="AD" clId="Web-{0781AC2C-9B4D-48D3-8DAF-7A5A21AEF7CE}" dt="2022-01-08T12:51:14.846" v="110"/>
          <ac:inkMkLst>
            <pc:docMk/>
            <pc:sldMk cId="3201265486" sldId="347"/>
            <ac:inkMk id="12" creationId="{5AF93DA5-1919-4375-802C-EBB97327B761}"/>
          </ac:inkMkLst>
        </pc:inkChg>
        <pc:inkChg chg="add">
          <ac:chgData name="WESLEY.TBW" userId="S::wesley.tbw_gmail.com#ext#@risebcg.onmicrosoft.com::1034df62-ee6d-4b2f-8a56-03c4406a0a8a" providerId="AD" clId="Web-{0781AC2C-9B4D-48D3-8DAF-7A5A21AEF7CE}" dt="2022-01-08T12:51:15.581" v="111"/>
          <ac:inkMkLst>
            <pc:docMk/>
            <pc:sldMk cId="3201265486" sldId="347"/>
            <ac:inkMk id="13" creationId="{2AE93BE0-FCF8-4080-B699-F35912D3C5B2}"/>
          </ac:inkMkLst>
        </pc:inkChg>
        <pc:inkChg chg="add">
          <ac:chgData name="WESLEY.TBW" userId="S::wesley.tbw_gmail.com#ext#@risebcg.onmicrosoft.com::1034df62-ee6d-4b2f-8a56-03c4406a0a8a" providerId="AD" clId="Web-{0781AC2C-9B4D-48D3-8DAF-7A5A21AEF7CE}" dt="2022-01-08T12:51:16.253" v="112"/>
          <ac:inkMkLst>
            <pc:docMk/>
            <pc:sldMk cId="3201265486" sldId="347"/>
            <ac:inkMk id="14" creationId="{89186AF9-D668-4847-8AEE-034C73692439}"/>
          </ac:inkMkLst>
        </pc:inkChg>
        <pc:inkChg chg="add">
          <ac:chgData name="WESLEY.TBW" userId="S::wesley.tbw_gmail.com#ext#@risebcg.onmicrosoft.com::1034df62-ee6d-4b2f-8a56-03c4406a0a8a" providerId="AD" clId="Web-{0781AC2C-9B4D-48D3-8DAF-7A5A21AEF7CE}" dt="2022-01-08T12:51:17.190" v="113"/>
          <ac:inkMkLst>
            <pc:docMk/>
            <pc:sldMk cId="3201265486" sldId="347"/>
            <ac:inkMk id="15" creationId="{F382744B-56DE-41B6-97BB-764A0F8CDBD6}"/>
          </ac:inkMkLst>
        </pc:inkChg>
        <pc:inkChg chg="add">
          <ac:chgData name="WESLEY.TBW" userId="S::wesley.tbw_gmail.com#ext#@risebcg.onmicrosoft.com::1034df62-ee6d-4b2f-8a56-03c4406a0a8a" providerId="AD" clId="Web-{0781AC2C-9B4D-48D3-8DAF-7A5A21AEF7CE}" dt="2022-01-08T12:51:17.190" v="114"/>
          <ac:inkMkLst>
            <pc:docMk/>
            <pc:sldMk cId="3201265486" sldId="347"/>
            <ac:inkMk id="16" creationId="{F8354AFF-04A6-4FBE-B7C8-06D0C57C8106}"/>
          </ac:inkMkLst>
        </pc:inkChg>
        <pc:inkChg chg="add">
          <ac:chgData name="WESLEY.TBW" userId="S::wesley.tbw_gmail.com#ext#@risebcg.onmicrosoft.com::1034df62-ee6d-4b2f-8a56-03c4406a0a8a" providerId="AD" clId="Web-{0781AC2C-9B4D-48D3-8DAF-7A5A21AEF7CE}" dt="2022-01-08T12:51:18.034" v="115"/>
          <ac:inkMkLst>
            <pc:docMk/>
            <pc:sldMk cId="3201265486" sldId="347"/>
            <ac:inkMk id="17" creationId="{1F7C0E6E-432F-4796-9E55-FBBE92338E38}"/>
          </ac:inkMkLst>
        </pc:inkChg>
        <pc:inkChg chg="add">
          <ac:chgData name="WESLEY.TBW" userId="S::wesley.tbw_gmail.com#ext#@risebcg.onmicrosoft.com::1034df62-ee6d-4b2f-8a56-03c4406a0a8a" providerId="AD" clId="Web-{0781AC2C-9B4D-48D3-8DAF-7A5A21AEF7CE}" dt="2022-01-08T12:51:18.034" v="116"/>
          <ac:inkMkLst>
            <pc:docMk/>
            <pc:sldMk cId="3201265486" sldId="347"/>
            <ac:inkMk id="18" creationId="{EBBB4658-1A4F-499C-9418-226B11E9EEC6}"/>
          </ac:inkMkLst>
        </pc:inkChg>
      </pc:sldChg>
      <pc:sldChg chg="new">
        <pc:chgData name="WESLEY.TBW" userId="S::wesley.tbw_gmail.com#ext#@risebcg.onmicrosoft.com::1034df62-ee6d-4b2f-8a56-03c4406a0a8a" providerId="AD" clId="Web-{0781AC2C-9B4D-48D3-8DAF-7A5A21AEF7CE}" dt="2022-01-08T13:46:55.427" v="614"/>
        <pc:sldMkLst>
          <pc:docMk/>
          <pc:sldMk cId="861222469" sldId="348"/>
        </pc:sldMkLst>
      </pc:sldChg>
      <pc:sldChg chg="addSp delSp modSp add replId">
        <pc:chgData name="WESLEY.TBW" userId="S::wesley.tbw_gmail.com#ext#@risebcg.onmicrosoft.com::1034df62-ee6d-4b2f-8a56-03c4406a0a8a" providerId="AD" clId="Web-{0781AC2C-9B4D-48D3-8DAF-7A5A21AEF7CE}" dt="2022-01-08T13:56:17.625" v="689" actId="14100"/>
        <pc:sldMkLst>
          <pc:docMk/>
          <pc:sldMk cId="2528704326" sldId="349"/>
        </pc:sldMkLst>
        <pc:spChg chg="mod">
          <ac:chgData name="WESLEY.TBW" userId="S::wesley.tbw_gmail.com#ext#@risebcg.onmicrosoft.com::1034df62-ee6d-4b2f-8a56-03c4406a0a8a" providerId="AD" clId="Web-{0781AC2C-9B4D-48D3-8DAF-7A5A21AEF7CE}" dt="2022-01-08T13:56:09.485" v="687" actId="14100"/>
          <ac:spMkLst>
            <pc:docMk/>
            <pc:sldMk cId="2528704326" sldId="349"/>
            <ac:spMk id="2" creationId="{539C9826-9E79-4999-9783-F530944DD31E}"/>
          </ac:spMkLst>
        </pc:spChg>
        <pc:grpChg chg="del">
          <ac:chgData name="WESLEY.TBW" userId="S::wesley.tbw_gmail.com#ext#@risebcg.onmicrosoft.com::1034df62-ee6d-4b2f-8a56-03c4406a0a8a" providerId="AD" clId="Web-{0781AC2C-9B4D-48D3-8DAF-7A5A21AEF7CE}" dt="2022-01-08T13:48:51.148" v="633"/>
          <ac:grpSpMkLst>
            <pc:docMk/>
            <pc:sldMk cId="2528704326" sldId="349"/>
            <ac:grpSpMk id="5" creationId="{0532B9A3-2CE8-47E6-92B2-6F465C10AF36}"/>
          </ac:grpSpMkLst>
        </pc:grpChg>
        <pc:picChg chg="add del mod">
          <ac:chgData name="WESLEY.TBW" userId="S::wesley.tbw_gmail.com#ext#@risebcg.onmicrosoft.com::1034df62-ee6d-4b2f-8a56-03c4406a0a8a" providerId="AD" clId="Web-{0781AC2C-9B4D-48D3-8DAF-7A5A21AEF7CE}" dt="2022-01-08T13:56:17.625" v="689" actId="14100"/>
          <ac:picMkLst>
            <pc:docMk/>
            <pc:sldMk cId="2528704326" sldId="349"/>
            <ac:picMk id="4" creationId="{5077707B-414C-42AA-B330-0167CEF42AD3}"/>
          </ac:picMkLst>
        </pc:picChg>
        <pc:picChg chg="del">
          <ac:chgData name="WESLEY.TBW" userId="S::wesley.tbw_gmail.com#ext#@risebcg.onmicrosoft.com::1034df62-ee6d-4b2f-8a56-03c4406a0a8a" providerId="AD" clId="Web-{0781AC2C-9B4D-48D3-8DAF-7A5A21AEF7CE}" dt="2022-01-08T13:48:51.148" v="632"/>
          <ac:picMkLst>
            <pc:docMk/>
            <pc:sldMk cId="2528704326" sldId="349"/>
            <ac:picMk id="6" creationId="{C0B12439-C614-4DBE-98E0-19638BA3CCB5}"/>
          </ac:picMkLst>
        </pc:picChg>
      </pc:sldChg>
      <pc:sldChg chg="addSp delSp modSp new">
        <pc:chgData name="WESLEY.TBW" userId="S::wesley.tbw_gmail.com#ext#@risebcg.onmicrosoft.com::1034df62-ee6d-4b2f-8a56-03c4406a0a8a" providerId="AD" clId="Web-{0781AC2C-9B4D-48D3-8DAF-7A5A21AEF7CE}" dt="2022-01-08T13:56:35.740" v="693" actId="1076"/>
        <pc:sldMkLst>
          <pc:docMk/>
          <pc:sldMk cId="3685283696" sldId="350"/>
        </pc:sldMkLst>
        <pc:spChg chg="del">
          <ac:chgData name="WESLEY.TBW" userId="S::wesley.tbw_gmail.com#ext#@risebcg.onmicrosoft.com::1034df62-ee6d-4b2f-8a56-03c4406a0a8a" providerId="AD" clId="Web-{0781AC2C-9B4D-48D3-8DAF-7A5A21AEF7CE}" dt="2022-01-08T13:49:24.227" v="641"/>
          <ac:spMkLst>
            <pc:docMk/>
            <pc:sldMk cId="3685283696" sldId="350"/>
            <ac:spMk id="2" creationId="{E782F4D1-DCDA-4CF4-B83D-4F17C6A30770}"/>
          </ac:spMkLst>
        </pc:spChg>
        <pc:spChg chg="del">
          <ac:chgData name="WESLEY.TBW" userId="S::wesley.tbw_gmail.com#ext#@risebcg.onmicrosoft.com::1034df62-ee6d-4b2f-8a56-03c4406a0a8a" providerId="AD" clId="Web-{0781AC2C-9B4D-48D3-8DAF-7A5A21AEF7CE}" dt="2022-01-08T13:49:11.008" v="636"/>
          <ac:spMkLst>
            <pc:docMk/>
            <pc:sldMk cId="3685283696" sldId="350"/>
            <ac:spMk id="3" creationId="{5C91E705-886E-4DA6-93E3-41961C77C8ED}"/>
          </ac:spMkLst>
        </pc:spChg>
        <pc:spChg chg="add">
          <ac:chgData name="WESLEY.TBW" userId="S::wesley.tbw_gmail.com#ext#@risebcg.onmicrosoft.com::1034df62-ee6d-4b2f-8a56-03c4406a0a8a" providerId="AD" clId="Web-{0781AC2C-9B4D-48D3-8DAF-7A5A21AEF7CE}" dt="2022-01-08T13:48:52.851" v="634"/>
          <ac:spMkLst>
            <pc:docMk/>
            <pc:sldMk cId="3685283696" sldId="350"/>
            <ac:spMk id="7" creationId="{448DCFB8-0BB7-4818-BFA7-52EE275AEB29}"/>
          </ac:spMkLst>
        </pc:spChg>
        <pc:spChg chg="add">
          <ac:chgData name="WESLEY.TBW" userId="S::wesley.tbw_gmail.com#ext#@risebcg.onmicrosoft.com::1034df62-ee6d-4b2f-8a56-03c4406a0a8a" providerId="AD" clId="Web-{0781AC2C-9B4D-48D3-8DAF-7A5A21AEF7CE}" dt="2022-01-08T13:48:52.851" v="634"/>
          <ac:spMkLst>
            <pc:docMk/>
            <pc:sldMk cId="3685283696" sldId="350"/>
            <ac:spMk id="8" creationId="{09412181-5062-449B-9180-7019A8119B2C}"/>
          </ac:spMkLst>
        </pc:spChg>
        <pc:spChg chg="add mod">
          <ac:chgData name="WESLEY.TBW" userId="S::wesley.tbw_gmail.com#ext#@risebcg.onmicrosoft.com::1034df62-ee6d-4b2f-8a56-03c4406a0a8a" providerId="AD" clId="Web-{0781AC2C-9B4D-48D3-8DAF-7A5A21AEF7CE}" dt="2022-01-08T13:56:26.563" v="690"/>
          <ac:spMkLst>
            <pc:docMk/>
            <pc:sldMk cId="3685283696" sldId="350"/>
            <ac:spMk id="10" creationId="{5867374F-5434-4E13-812F-03FB0E588491}"/>
          </ac:spMkLst>
        </pc:spChg>
        <pc:grpChg chg="add del mod">
          <ac:chgData name="WESLEY.TBW" userId="S::wesley.tbw_gmail.com#ext#@risebcg.onmicrosoft.com::1034df62-ee6d-4b2f-8a56-03c4406a0a8a" providerId="AD" clId="Web-{0781AC2C-9B4D-48D3-8DAF-7A5A21AEF7CE}" dt="2022-01-08T13:56:35.740" v="693" actId="1076"/>
          <ac:grpSpMkLst>
            <pc:docMk/>
            <pc:sldMk cId="3685283696" sldId="350"/>
            <ac:grpSpMk id="4" creationId="{94C6C106-B386-4A2E-81E6-1F3F086FEAC0}"/>
          </ac:grpSpMkLst>
        </pc:grpChg>
        <pc:picChg chg="add mod">
          <ac:chgData name="WESLEY.TBW" userId="S::wesley.tbw_gmail.com#ext#@risebcg.onmicrosoft.com::1034df62-ee6d-4b2f-8a56-03c4406a0a8a" providerId="AD" clId="Web-{0781AC2C-9B4D-48D3-8DAF-7A5A21AEF7CE}" dt="2022-01-08T13:56:33.423" v="692" actId="14100"/>
          <ac:picMkLst>
            <pc:docMk/>
            <pc:sldMk cId="3685283696" sldId="350"/>
            <ac:picMk id="5" creationId="{B95C723D-080B-423A-BEDF-8046FB191CAA}"/>
          </ac:picMkLst>
        </pc:picChg>
        <pc:picChg chg="add">
          <ac:chgData name="WESLEY.TBW" userId="S::wesley.tbw_gmail.com#ext#@risebcg.onmicrosoft.com::1034df62-ee6d-4b2f-8a56-03c4406a0a8a" providerId="AD" clId="Web-{0781AC2C-9B4D-48D3-8DAF-7A5A21AEF7CE}" dt="2022-01-08T13:48:52.851" v="634"/>
          <ac:picMkLst>
            <pc:docMk/>
            <pc:sldMk cId="3685283696" sldId="350"/>
            <ac:picMk id="6" creationId="{403F2A95-E655-4F3E-AA55-9C7C28F67C77}"/>
          </ac:picMkLst>
        </pc:picChg>
      </pc:sldChg>
      <pc:sldChg chg="addSp delSp modSp new">
        <pc:chgData name="WESLEY.TBW" userId="S::wesley.tbw_gmail.com#ext#@risebcg.onmicrosoft.com::1034df62-ee6d-4b2f-8a56-03c4406a0a8a" providerId="AD" clId="Web-{0781AC2C-9B4D-48D3-8DAF-7A5A21AEF7CE}" dt="2022-01-08T13:56:01.328" v="685" actId="1076"/>
        <pc:sldMkLst>
          <pc:docMk/>
          <pc:sldMk cId="1823296178" sldId="351"/>
        </pc:sldMkLst>
        <pc:spChg chg="del">
          <ac:chgData name="WESLEY.TBW" userId="S::wesley.tbw_gmail.com#ext#@risebcg.onmicrosoft.com::1034df62-ee6d-4b2f-8a56-03c4406a0a8a" providerId="AD" clId="Web-{0781AC2C-9B4D-48D3-8DAF-7A5A21AEF7CE}" dt="2022-01-08T13:53:01.606" v="660"/>
          <ac:spMkLst>
            <pc:docMk/>
            <pc:sldMk cId="1823296178" sldId="351"/>
            <ac:spMk id="2" creationId="{004DC5F3-DEC9-4374-94EB-F850FEC70A64}"/>
          </ac:spMkLst>
        </pc:spChg>
        <pc:spChg chg="del">
          <ac:chgData name="WESLEY.TBW" userId="S::wesley.tbw_gmail.com#ext#@risebcg.onmicrosoft.com::1034df62-ee6d-4b2f-8a56-03c4406a0a8a" providerId="AD" clId="Web-{0781AC2C-9B4D-48D3-8DAF-7A5A21AEF7CE}" dt="2022-01-08T13:53:00.262" v="659"/>
          <ac:spMkLst>
            <pc:docMk/>
            <pc:sldMk cId="1823296178" sldId="351"/>
            <ac:spMk id="3" creationId="{50036D6F-AF58-41CB-8D39-63EB8D9FC19A}"/>
          </ac:spMkLst>
        </pc:spChg>
        <pc:spChg chg="add mod">
          <ac:chgData name="WESLEY.TBW" userId="S::wesley.tbw_gmail.com#ext#@risebcg.onmicrosoft.com::1034df62-ee6d-4b2f-8a56-03c4406a0a8a" providerId="AD" clId="Web-{0781AC2C-9B4D-48D3-8DAF-7A5A21AEF7CE}" dt="2022-01-08T13:56:01.328" v="685" actId="1076"/>
          <ac:spMkLst>
            <pc:docMk/>
            <pc:sldMk cId="1823296178" sldId="351"/>
            <ac:spMk id="8" creationId="{38EF7586-1E62-49DF-BFC5-73CC01BB83D6}"/>
          </ac:spMkLst>
        </pc:spChg>
        <pc:picChg chg="add mod">
          <ac:chgData name="WESLEY.TBW" userId="S::wesley.tbw_gmail.com#ext#@risebcg.onmicrosoft.com::1034df62-ee6d-4b2f-8a56-03c4406a0a8a" providerId="AD" clId="Web-{0781AC2C-9B4D-48D3-8DAF-7A5A21AEF7CE}" dt="2022-01-08T13:55:53.500" v="683" actId="1076"/>
          <ac:picMkLst>
            <pc:docMk/>
            <pc:sldMk cId="1823296178" sldId="351"/>
            <ac:picMk id="4" creationId="{809C533A-AFC0-4A50-BB53-AD1A504EB8AA}"/>
          </ac:picMkLst>
        </pc:picChg>
        <pc:picChg chg="add del mod">
          <ac:chgData name="WESLEY.TBW" userId="S::wesley.tbw_gmail.com#ext#@risebcg.onmicrosoft.com::1034df62-ee6d-4b2f-8a56-03c4406a0a8a" providerId="AD" clId="Web-{0781AC2C-9B4D-48D3-8DAF-7A5A21AEF7CE}" dt="2022-01-08T13:54:28.264" v="668"/>
          <ac:picMkLst>
            <pc:docMk/>
            <pc:sldMk cId="1823296178" sldId="351"/>
            <ac:picMk id="5" creationId="{7F0C3A1F-2F60-48EA-8AC7-351A266EDF90}"/>
          </ac:picMkLst>
        </pc:picChg>
        <pc:picChg chg="add mod">
          <ac:chgData name="WESLEY.TBW" userId="S::wesley.tbw_gmail.com#ext#@risebcg.onmicrosoft.com::1034df62-ee6d-4b2f-8a56-03c4406a0a8a" providerId="AD" clId="Web-{0781AC2C-9B4D-48D3-8DAF-7A5A21AEF7CE}" dt="2022-01-08T13:55:56.703" v="684" actId="14100"/>
          <ac:picMkLst>
            <pc:docMk/>
            <pc:sldMk cId="1823296178" sldId="351"/>
            <ac:picMk id="6" creationId="{6A9FCBE7-1CC3-44E4-81F0-428DD3F70CFC}"/>
          </ac:picMkLst>
        </pc:picChg>
      </pc:sldChg>
      <pc:sldChg chg="addSp delSp modSp add ord replId">
        <pc:chgData name="WESLEY.TBW" userId="S::wesley.tbw_gmail.com#ext#@risebcg.onmicrosoft.com::1034df62-ee6d-4b2f-8a56-03c4406a0a8a" providerId="AD" clId="Web-{0781AC2C-9B4D-48D3-8DAF-7A5A21AEF7CE}" dt="2022-01-08T14:14:09.928" v="706" actId="1076"/>
        <pc:sldMkLst>
          <pc:docMk/>
          <pc:sldMk cId="1602317283" sldId="352"/>
        </pc:sldMkLst>
        <pc:picChg chg="add mod">
          <ac:chgData name="WESLEY.TBW" userId="S::wesley.tbw_gmail.com#ext#@risebcg.onmicrosoft.com::1034df62-ee6d-4b2f-8a56-03c4406a0a8a" providerId="AD" clId="Web-{0781AC2C-9B4D-48D3-8DAF-7A5A21AEF7CE}" dt="2022-01-08T14:14:08.349" v="705" actId="1076"/>
          <ac:picMkLst>
            <pc:docMk/>
            <pc:sldMk cId="1602317283" sldId="352"/>
            <ac:picMk id="3" creationId="{20B35CB3-36DD-49EE-954D-E122673D5070}"/>
          </ac:picMkLst>
        </pc:picChg>
        <pc:picChg chg="add mod">
          <ac:chgData name="WESLEY.TBW" userId="S::wesley.tbw_gmail.com#ext#@risebcg.onmicrosoft.com::1034df62-ee6d-4b2f-8a56-03c4406a0a8a" providerId="AD" clId="Web-{0781AC2C-9B4D-48D3-8DAF-7A5A21AEF7CE}" dt="2022-01-08T14:14:09.928" v="706" actId="1076"/>
          <ac:picMkLst>
            <pc:docMk/>
            <pc:sldMk cId="1602317283" sldId="352"/>
            <ac:picMk id="4" creationId="{77A06809-46E8-4104-8CC2-39B3E44D4271}"/>
          </ac:picMkLst>
        </pc:picChg>
        <pc:picChg chg="del">
          <ac:chgData name="WESLEY.TBW" userId="S::wesley.tbw_gmail.com#ext#@risebcg.onmicrosoft.com::1034df62-ee6d-4b2f-8a56-03c4406a0a8a" providerId="AD" clId="Web-{0781AC2C-9B4D-48D3-8DAF-7A5A21AEF7CE}" dt="2022-01-08T13:57:02.095" v="696"/>
          <ac:picMkLst>
            <pc:docMk/>
            <pc:sldMk cId="1602317283" sldId="352"/>
            <ac:picMk id="10" creationId="{676266AD-39DD-4C63-AC43-FBDA958C8BFA}"/>
          </ac:picMkLst>
        </pc:picChg>
      </pc:sldChg>
      <pc:sldChg chg="addSp delSp modSp add replId">
        <pc:chgData name="WESLEY.TBW" userId="S::wesley.tbw_gmail.com#ext#@risebcg.onmicrosoft.com::1034df62-ee6d-4b2f-8a56-03c4406a0a8a" providerId="AD" clId="Web-{0781AC2C-9B4D-48D3-8DAF-7A5A21AEF7CE}" dt="2022-01-08T14:14:38.116" v="715" actId="1076"/>
        <pc:sldMkLst>
          <pc:docMk/>
          <pc:sldMk cId="1042141491" sldId="353"/>
        </pc:sldMkLst>
        <pc:picChg chg="del">
          <ac:chgData name="WESLEY.TBW" userId="S::wesley.tbw_gmail.com#ext#@risebcg.onmicrosoft.com::1034df62-ee6d-4b2f-8a56-03c4406a0a8a" providerId="AD" clId="Web-{0781AC2C-9B4D-48D3-8DAF-7A5A21AEF7CE}" dt="2022-01-08T14:14:18.397" v="707"/>
          <ac:picMkLst>
            <pc:docMk/>
            <pc:sldMk cId="1042141491" sldId="353"/>
            <ac:picMk id="3" creationId="{20B35CB3-36DD-49EE-954D-E122673D5070}"/>
          </ac:picMkLst>
        </pc:picChg>
        <pc:picChg chg="add mod">
          <ac:chgData name="WESLEY.TBW" userId="S::wesley.tbw_gmail.com#ext#@risebcg.onmicrosoft.com::1034df62-ee6d-4b2f-8a56-03c4406a0a8a" providerId="AD" clId="Web-{0781AC2C-9B4D-48D3-8DAF-7A5A21AEF7CE}" dt="2022-01-08T14:14:38.116" v="715" actId="1076"/>
          <ac:picMkLst>
            <pc:docMk/>
            <pc:sldMk cId="1042141491" sldId="353"/>
            <ac:picMk id="4" creationId="{0633DDFD-C6E4-49AC-8FC0-3B3F14495A9E}"/>
          </ac:picMkLst>
        </pc:picChg>
        <pc:picChg chg="add mod">
          <ac:chgData name="WESLEY.TBW" userId="S::wesley.tbw_gmail.com#ext#@risebcg.onmicrosoft.com::1034df62-ee6d-4b2f-8a56-03c4406a0a8a" providerId="AD" clId="Web-{0781AC2C-9B4D-48D3-8DAF-7A5A21AEF7CE}" dt="2022-01-08T14:14:36.100" v="714" actId="1076"/>
          <ac:picMkLst>
            <pc:docMk/>
            <pc:sldMk cId="1042141491" sldId="353"/>
            <ac:picMk id="5" creationId="{3B6F7F7B-D3FB-4B64-A663-FE7B75E2A8B0}"/>
          </ac:picMkLst>
        </pc:picChg>
      </pc:sldChg>
    </pc:docChg>
  </pc:docChgLst>
  <pc:docChgLst>
    <pc:chgData name="COSMOSFREN" userId="S::cosmosfren_yahoo.com#ext#@risebcg.onmicrosoft.com::5462f5f4-f618-47aa-abd8-fd504e002570" providerId="AD" clId="Web-{FE7A7410-B3C7-4707-853A-BB53FCF4B11C}"/>
    <pc:docChg chg="modSld sldOrd">
      <pc:chgData name="COSMOSFREN" userId="S::cosmosfren_yahoo.com#ext#@risebcg.onmicrosoft.com::5462f5f4-f618-47aa-abd8-fd504e002570" providerId="AD" clId="Web-{FE7A7410-B3C7-4707-853A-BB53FCF4B11C}" dt="2022-01-09T06:53:57.815" v="2"/>
      <pc:docMkLst>
        <pc:docMk/>
      </pc:docMkLst>
      <pc:sldChg chg="ord">
        <pc:chgData name="COSMOSFREN" userId="S::cosmosfren_yahoo.com#ext#@risebcg.onmicrosoft.com::5462f5f4-f618-47aa-abd8-fd504e002570" providerId="AD" clId="Web-{FE7A7410-B3C7-4707-853A-BB53FCF4B11C}" dt="2022-01-09T06:53:57.815" v="2"/>
        <pc:sldMkLst>
          <pc:docMk/>
          <pc:sldMk cId="1791060006" sldId="319"/>
        </pc:sldMkLst>
      </pc:sldChg>
      <pc:sldChg chg="modSp">
        <pc:chgData name="COSMOSFREN" userId="S::cosmosfren_yahoo.com#ext#@risebcg.onmicrosoft.com::5462f5f4-f618-47aa-abd8-fd504e002570" providerId="AD" clId="Web-{FE7A7410-B3C7-4707-853A-BB53FCF4B11C}" dt="2022-01-09T06:53:47.347" v="1" actId="20577"/>
        <pc:sldMkLst>
          <pc:docMk/>
          <pc:sldMk cId="2652119032" sldId="335"/>
        </pc:sldMkLst>
        <pc:spChg chg="mod">
          <ac:chgData name="COSMOSFREN" userId="S::cosmosfren_yahoo.com#ext#@risebcg.onmicrosoft.com::5462f5f4-f618-47aa-abd8-fd504e002570" providerId="AD" clId="Web-{FE7A7410-B3C7-4707-853A-BB53FCF4B11C}" dt="2022-01-09T06:53:47.347" v="1" actId="20577"/>
          <ac:spMkLst>
            <pc:docMk/>
            <pc:sldMk cId="2652119032" sldId="335"/>
            <ac:spMk id="10" creationId="{5B136050-0C52-4973-B00A-9438EBC773F2}"/>
          </ac:spMkLst>
        </pc:spChg>
      </pc:sldChg>
    </pc:docChg>
  </pc:docChgLst>
  <pc:docChgLst>
    <pc:chgData name="Kin Nam Lee" userId="S::kinnam0123_gmail.com#ext#@risebcg.onmicrosoft.com::d0b82110-aff5-4a68-b92e-ffa659453e49" providerId="AD" clId="Web-{75A97B9E-77E4-426A-B7F0-B00B889C97DC}"/>
    <pc:docChg chg="addSld delSld modSld sldOrd">
      <pc:chgData name="Kin Nam Lee" userId="S::kinnam0123_gmail.com#ext#@risebcg.onmicrosoft.com::d0b82110-aff5-4a68-b92e-ffa659453e49" providerId="AD" clId="Web-{75A97B9E-77E4-426A-B7F0-B00B889C97DC}" dt="2022-01-09T09:49:42.068" v="509" actId="1076"/>
      <pc:docMkLst>
        <pc:docMk/>
      </pc:docMkLst>
      <pc:sldChg chg="addSp delSp modSp new ord">
        <pc:chgData name="Kin Nam Lee" userId="S::kinnam0123_gmail.com#ext#@risebcg.onmicrosoft.com::d0b82110-aff5-4a68-b92e-ffa659453e49" providerId="AD" clId="Web-{75A97B9E-77E4-426A-B7F0-B00B889C97DC}" dt="2022-01-09T09:34:06.403" v="120" actId="14100"/>
        <pc:sldMkLst>
          <pc:docMk/>
          <pc:sldMk cId="1240857227" sldId="361"/>
        </pc:sldMkLst>
        <pc:spChg chg="mod">
          <ac:chgData name="Kin Nam Lee" userId="S::kinnam0123_gmail.com#ext#@risebcg.onmicrosoft.com::d0b82110-aff5-4a68-b92e-ffa659453e49" providerId="AD" clId="Web-{75A97B9E-77E4-426A-B7F0-B00B889C97DC}" dt="2022-01-09T09:29:25.022" v="19" actId="20577"/>
          <ac:spMkLst>
            <pc:docMk/>
            <pc:sldMk cId="1240857227" sldId="361"/>
            <ac:spMk id="2" creationId="{12D3493F-F903-4297-A83F-FCC5CC0BF756}"/>
          </ac:spMkLst>
        </pc:spChg>
        <pc:spChg chg="del">
          <ac:chgData name="Kin Nam Lee" userId="S::kinnam0123_gmail.com#ext#@risebcg.onmicrosoft.com::d0b82110-aff5-4a68-b92e-ffa659453e49" providerId="AD" clId="Web-{75A97B9E-77E4-426A-B7F0-B00B889C97DC}" dt="2022-01-09T09:29:29.460" v="20"/>
          <ac:spMkLst>
            <pc:docMk/>
            <pc:sldMk cId="1240857227" sldId="361"/>
            <ac:spMk id="3" creationId="{39629CE8-0050-4183-9A08-FE4622FDF302}"/>
          </ac:spMkLst>
        </pc:spChg>
        <pc:spChg chg="add mod">
          <ac:chgData name="Kin Nam Lee" userId="S::kinnam0123_gmail.com#ext#@risebcg.onmicrosoft.com::d0b82110-aff5-4a68-b92e-ffa659453e49" providerId="AD" clId="Web-{75A97B9E-77E4-426A-B7F0-B00B889C97DC}" dt="2022-01-09T09:31:12.868" v="46" actId="1076"/>
          <ac:spMkLst>
            <pc:docMk/>
            <pc:sldMk cId="1240857227" sldId="361"/>
            <ac:spMk id="5" creationId="{09C603B1-83E3-40C7-AD23-240A45A6713E}"/>
          </ac:spMkLst>
        </pc:spChg>
        <pc:spChg chg="add mod">
          <ac:chgData name="Kin Nam Lee" userId="S::kinnam0123_gmail.com#ext#@risebcg.onmicrosoft.com::d0b82110-aff5-4a68-b92e-ffa659453e49" providerId="AD" clId="Web-{75A97B9E-77E4-426A-B7F0-B00B889C97DC}" dt="2022-01-09T09:33:57.277" v="118" actId="1076"/>
          <ac:spMkLst>
            <pc:docMk/>
            <pc:sldMk cId="1240857227" sldId="361"/>
            <ac:spMk id="9" creationId="{3179ADB1-85CE-4DE6-A4AE-524B8EB2D41D}"/>
          </ac:spMkLst>
        </pc:spChg>
        <pc:picChg chg="add mod">
          <ac:chgData name="Kin Nam Lee" userId="S::kinnam0123_gmail.com#ext#@risebcg.onmicrosoft.com::d0b82110-aff5-4a68-b92e-ffa659453e49" providerId="AD" clId="Web-{75A97B9E-77E4-426A-B7F0-B00B889C97DC}" dt="2022-01-09T09:34:06.403" v="120" actId="14100"/>
          <ac:picMkLst>
            <pc:docMk/>
            <pc:sldMk cId="1240857227" sldId="361"/>
            <ac:picMk id="4" creationId="{A0243221-DFB5-465E-ADC6-F46920AB8BAD}"/>
          </ac:picMkLst>
        </pc:picChg>
        <pc:picChg chg="add mod">
          <ac:chgData name="Kin Nam Lee" userId="S::kinnam0123_gmail.com#ext#@risebcg.onmicrosoft.com::d0b82110-aff5-4a68-b92e-ffa659453e49" providerId="AD" clId="Web-{75A97B9E-77E4-426A-B7F0-B00B889C97DC}" dt="2022-01-09T09:32:34.323" v="58" actId="1076"/>
          <ac:picMkLst>
            <pc:docMk/>
            <pc:sldMk cId="1240857227" sldId="361"/>
            <ac:picMk id="6" creationId="{0A4441F9-3BF1-4F69-A316-B658D09F3EE0}"/>
          </ac:picMkLst>
        </pc:picChg>
        <pc:picChg chg="add mod">
          <ac:chgData name="Kin Nam Lee" userId="S::kinnam0123_gmail.com#ext#@risebcg.onmicrosoft.com::d0b82110-aff5-4a68-b92e-ffa659453e49" providerId="AD" clId="Web-{75A97B9E-77E4-426A-B7F0-B00B889C97DC}" dt="2022-01-09T09:33:02.354" v="64" actId="1076"/>
          <ac:picMkLst>
            <pc:docMk/>
            <pc:sldMk cId="1240857227" sldId="361"/>
            <ac:picMk id="7" creationId="{BAACB8E4-69DD-479F-80D3-67E0293AB487}"/>
          </ac:picMkLst>
        </pc:picChg>
        <pc:picChg chg="add mod">
          <ac:chgData name="Kin Nam Lee" userId="S::kinnam0123_gmail.com#ext#@risebcg.onmicrosoft.com::d0b82110-aff5-4a68-b92e-ffa659453e49" providerId="AD" clId="Web-{75A97B9E-77E4-426A-B7F0-B00B889C97DC}" dt="2022-01-09T09:32:29.104" v="57" actId="1076"/>
          <ac:picMkLst>
            <pc:docMk/>
            <pc:sldMk cId="1240857227" sldId="361"/>
            <ac:picMk id="8" creationId="{2D9F6303-CB72-4F30-934B-2477D027F983}"/>
          </ac:picMkLst>
        </pc:picChg>
      </pc:sldChg>
      <pc:sldChg chg="new del">
        <pc:chgData name="Kin Nam Lee" userId="S::kinnam0123_gmail.com#ext#@risebcg.onmicrosoft.com::d0b82110-aff5-4a68-b92e-ffa659453e49" providerId="AD" clId="Web-{75A97B9E-77E4-426A-B7F0-B00B889C97DC}" dt="2022-01-09T09:28:49.568" v="1"/>
        <pc:sldMkLst>
          <pc:docMk/>
          <pc:sldMk cId="1304755235" sldId="361"/>
        </pc:sldMkLst>
      </pc:sldChg>
      <pc:sldChg chg="addSp delSp modSp add replId">
        <pc:chgData name="Kin Nam Lee" userId="S::kinnam0123_gmail.com#ext#@risebcg.onmicrosoft.com::d0b82110-aff5-4a68-b92e-ffa659453e49" providerId="AD" clId="Web-{75A97B9E-77E4-426A-B7F0-B00B889C97DC}" dt="2022-01-09T09:36:46.687" v="157" actId="1076"/>
        <pc:sldMkLst>
          <pc:docMk/>
          <pc:sldMk cId="1435943691" sldId="362"/>
        </pc:sldMkLst>
        <pc:spChg chg="mod">
          <ac:chgData name="Kin Nam Lee" userId="S::kinnam0123_gmail.com#ext#@risebcg.onmicrosoft.com::d0b82110-aff5-4a68-b92e-ffa659453e49" providerId="AD" clId="Web-{75A97B9E-77E4-426A-B7F0-B00B889C97DC}" dt="2022-01-09T09:35:51.311" v="144" actId="20577"/>
          <ac:spMkLst>
            <pc:docMk/>
            <pc:sldMk cId="1435943691" sldId="362"/>
            <ac:spMk id="5" creationId="{09C603B1-83E3-40C7-AD23-240A45A6713E}"/>
          </ac:spMkLst>
        </pc:spChg>
        <pc:spChg chg="mod">
          <ac:chgData name="Kin Nam Lee" userId="S::kinnam0123_gmail.com#ext#@risebcg.onmicrosoft.com::d0b82110-aff5-4a68-b92e-ffa659453e49" providerId="AD" clId="Web-{75A97B9E-77E4-426A-B7F0-B00B889C97DC}" dt="2022-01-09T09:35:37.014" v="137" actId="20577"/>
          <ac:spMkLst>
            <pc:docMk/>
            <pc:sldMk cId="1435943691" sldId="362"/>
            <ac:spMk id="9" creationId="{3179ADB1-85CE-4DE6-A4AE-524B8EB2D41D}"/>
          </ac:spMkLst>
        </pc:spChg>
        <pc:picChg chg="add mod">
          <ac:chgData name="Kin Nam Lee" userId="S::kinnam0123_gmail.com#ext#@risebcg.onmicrosoft.com::d0b82110-aff5-4a68-b92e-ffa659453e49" providerId="AD" clId="Web-{75A97B9E-77E4-426A-B7F0-B00B889C97DC}" dt="2022-01-09T09:35:55.405" v="145" actId="14100"/>
          <ac:picMkLst>
            <pc:docMk/>
            <pc:sldMk cId="1435943691" sldId="362"/>
            <ac:picMk id="3" creationId="{F490B9E4-E4C6-44FE-92D7-DFF88C9C04E8}"/>
          </ac:picMkLst>
        </pc:picChg>
        <pc:picChg chg="del">
          <ac:chgData name="Kin Nam Lee" userId="S::kinnam0123_gmail.com#ext#@risebcg.onmicrosoft.com::d0b82110-aff5-4a68-b92e-ffa659453e49" providerId="AD" clId="Web-{75A97B9E-77E4-426A-B7F0-B00B889C97DC}" dt="2022-01-09T09:34:42.388" v="122"/>
          <ac:picMkLst>
            <pc:docMk/>
            <pc:sldMk cId="1435943691" sldId="362"/>
            <ac:picMk id="4" creationId="{A0243221-DFB5-465E-ADC6-F46920AB8BAD}"/>
          </ac:picMkLst>
        </pc:picChg>
        <pc:picChg chg="del">
          <ac:chgData name="Kin Nam Lee" userId="S::kinnam0123_gmail.com#ext#@risebcg.onmicrosoft.com::d0b82110-aff5-4a68-b92e-ffa659453e49" providerId="AD" clId="Web-{75A97B9E-77E4-426A-B7F0-B00B889C97DC}" dt="2022-01-09T09:34:49.794" v="125"/>
          <ac:picMkLst>
            <pc:docMk/>
            <pc:sldMk cId="1435943691" sldId="362"/>
            <ac:picMk id="6" creationId="{0A4441F9-3BF1-4F69-A316-B658D09F3EE0}"/>
          </ac:picMkLst>
        </pc:picChg>
        <pc:picChg chg="del">
          <ac:chgData name="Kin Nam Lee" userId="S::kinnam0123_gmail.com#ext#@risebcg.onmicrosoft.com::d0b82110-aff5-4a68-b92e-ffa659453e49" providerId="AD" clId="Web-{75A97B9E-77E4-426A-B7F0-B00B889C97DC}" dt="2022-01-09T09:34:49.794" v="124"/>
          <ac:picMkLst>
            <pc:docMk/>
            <pc:sldMk cId="1435943691" sldId="362"/>
            <ac:picMk id="7" creationId="{BAACB8E4-69DD-479F-80D3-67E0293AB487}"/>
          </ac:picMkLst>
        </pc:picChg>
        <pc:picChg chg="del">
          <ac:chgData name="Kin Nam Lee" userId="S::kinnam0123_gmail.com#ext#@risebcg.onmicrosoft.com::d0b82110-aff5-4a68-b92e-ffa659453e49" providerId="AD" clId="Web-{75A97B9E-77E4-426A-B7F0-B00B889C97DC}" dt="2022-01-09T09:34:49.794" v="123"/>
          <ac:picMkLst>
            <pc:docMk/>
            <pc:sldMk cId="1435943691" sldId="362"/>
            <ac:picMk id="8" creationId="{2D9F6303-CB72-4F30-934B-2477D027F983}"/>
          </ac:picMkLst>
        </pc:picChg>
        <pc:picChg chg="add mod">
          <ac:chgData name="Kin Nam Lee" userId="S::kinnam0123_gmail.com#ext#@risebcg.onmicrosoft.com::d0b82110-aff5-4a68-b92e-ffa659453e49" providerId="AD" clId="Web-{75A97B9E-77E4-426A-B7F0-B00B889C97DC}" dt="2022-01-09T09:36:37.437" v="153" actId="1076"/>
          <ac:picMkLst>
            <pc:docMk/>
            <pc:sldMk cId="1435943691" sldId="362"/>
            <ac:picMk id="10" creationId="{A4589F60-54A0-4840-83C8-3CA2E9115C9D}"/>
          </ac:picMkLst>
        </pc:picChg>
        <pc:picChg chg="add mod">
          <ac:chgData name="Kin Nam Lee" userId="S::kinnam0123_gmail.com#ext#@risebcg.onmicrosoft.com::d0b82110-aff5-4a68-b92e-ffa659453e49" providerId="AD" clId="Web-{75A97B9E-77E4-426A-B7F0-B00B889C97DC}" dt="2022-01-09T09:36:46.687" v="157" actId="1076"/>
          <ac:picMkLst>
            <pc:docMk/>
            <pc:sldMk cId="1435943691" sldId="362"/>
            <ac:picMk id="11" creationId="{CF98E824-4F82-4929-9719-C647B13D1C49}"/>
          </ac:picMkLst>
        </pc:picChg>
        <pc:picChg chg="add mod">
          <ac:chgData name="Kin Nam Lee" userId="S::kinnam0123_gmail.com#ext#@risebcg.onmicrosoft.com::d0b82110-aff5-4a68-b92e-ffa659453e49" providerId="AD" clId="Web-{75A97B9E-77E4-426A-B7F0-B00B889C97DC}" dt="2022-01-09T09:36:38.093" v="154" actId="1076"/>
          <ac:picMkLst>
            <pc:docMk/>
            <pc:sldMk cId="1435943691" sldId="362"/>
            <ac:picMk id="12" creationId="{D9BB96CA-1C75-4A6B-89BF-583AD774395E}"/>
          </ac:picMkLst>
        </pc:picChg>
      </pc:sldChg>
      <pc:sldChg chg="addSp delSp modSp add replId">
        <pc:chgData name="Kin Nam Lee" userId="S::kinnam0123_gmail.com#ext#@risebcg.onmicrosoft.com::d0b82110-aff5-4a68-b92e-ffa659453e49" providerId="AD" clId="Web-{75A97B9E-77E4-426A-B7F0-B00B889C97DC}" dt="2022-01-09T09:40:08.040" v="252" actId="1076"/>
        <pc:sldMkLst>
          <pc:docMk/>
          <pc:sldMk cId="3116244911" sldId="363"/>
        </pc:sldMkLst>
        <pc:spChg chg="mod">
          <ac:chgData name="Kin Nam Lee" userId="S::kinnam0123_gmail.com#ext#@risebcg.onmicrosoft.com::d0b82110-aff5-4a68-b92e-ffa659453e49" providerId="AD" clId="Web-{75A97B9E-77E4-426A-B7F0-B00B889C97DC}" dt="2022-01-09T09:38:01.720" v="168" actId="20577"/>
          <ac:spMkLst>
            <pc:docMk/>
            <pc:sldMk cId="3116244911" sldId="363"/>
            <ac:spMk id="5" creationId="{09C603B1-83E3-40C7-AD23-240A45A6713E}"/>
          </ac:spMkLst>
        </pc:spChg>
        <pc:spChg chg="mod">
          <ac:chgData name="Kin Nam Lee" userId="S::kinnam0123_gmail.com#ext#@risebcg.onmicrosoft.com::d0b82110-aff5-4a68-b92e-ffa659453e49" providerId="AD" clId="Web-{75A97B9E-77E4-426A-B7F0-B00B889C97DC}" dt="2022-01-09T09:40:08.040" v="252" actId="1076"/>
          <ac:spMkLst>
            <pc:docMk/>
            <pc:sldMk cId="3116244911" sldId="363"/>
            <ac:spMk id="9" creationId="{3179ADB1-85CE-4DE6-A4AE-524B8EB2D41D}"/>
          </ac:spMkLst>
        </pc:spChg>
        <pc:picChg chg="del">
          <ac:chgData name="Kin Nam Lee" userId="S::kinnam0123_gmail.com#ext#@risebcg.onmicrosoft.com::d0b82110-aff5-4a68-b92e-ffa659453e49" providerId="AD" clId="Web-{75A97B9E-77E4-426A-B7F0-B00B889C97DC}" dt="2022-01-09T09:36:58.359" v="159"/>
          <ac:picMkLst>
            <pc:docMk/>
            <pc:sldMk cId="3116244911" sldId="363"/>
            <ac:picMk id="3" creationId="{F490B9E4-E4C6-44FE-92D7-DFF88C9C04E8}"/>
          </ac:picMkLst>
        </pc:picChg>
        <pc:picChg chg="add mod">
          <ac:chgData name="Kin Nam Lee" userId="S::kinnam0123_gmail.com#ext#@risebcg.onmicrosoft.com::d0b82110-aff5-4a68-b92e-ffa659453e49" providerId="AD" clId="Web-{75A97B9E-77E4-426A-B7F0-B00B889C97DC}" dt="2022-01-09T09:38:36.502" v="198" actId="1076"/>
          <ac:picMkLst>
            <pc:docMk/>
            <pc:sldMk cId="3116244911" sldId="363"/>
            <ac:picMk id="4" creationId="{71974ED0-949D-4F9C-98BF-F953E32EC188}"/>
          </ac:picMkLst>
        </pc:picChg>
        <pc:picChg chg="add mod">
          <ac:chgData name="Kin Nam Lee" userId="S::kinnam0123_gmail.com#ext#@risebcg.onmicrosoft.com::d0b82110-aff5-4a68-b92e-ffa659453e49" providerId="AD" clId="Web-{75A97B9E-77E4-426A-B7F0-B00B889C97DC}" dt="2022-01-09T09:38:09.345" v="170" actId="1076"/>
          <ac:picMkLst>
            <pc:docMk/>
            <pc:sldMk cId="3116244911" sldId="363"/>
            <ac:picMk id="6" creationId="{E3ADEC42-E3A8-473D-AE75-070A05E47158}"/>
          </ac:picMkLst>
        </pc:picChg>
        <pc:picChg chg="del">
          <ac:chgData name="Kin Nam Lee" userId="S::kinnam0123_gmail.com#ext#@risebcg.onmicrosoft.com::d0b82110-aff5-4a68-b92e-ffa659453e49" providerId="AD" clId="Web-{75A97B9E-77E4-426A-B7F0-B00B889C97DC}" dt="2022-01-09T09:36:59.281" v="160"/>
          <ac:picMkLst>
            <pc:docMk/>
            <pc:sldMk cId="3116244911" sldId="363"/>
            <ac:picMk id="10" creationId="{A4589F60-54A0-4840-83C8-3CA2E9115C9D}"/>
          </ac:picMkLst>
        </pc:picChg>
        <pc:picChg chg="del">
          <ac:chgData name="Kin Nam Lee" userId="S::kinnam0123_gmail.com#ext#@risebcg.onmicrosoft.com::d0b82110-aff5-4a68-b92e-ffa659453e49" providerId="AD" clId="Web-{75A97B9E-77E4-426A-B7F0-B00B889C97DC}" dt="2022-01-09T09:37:03.703" v="162"/>
          <ac:picMkLst>
            <pc:docMk/>
            <pc:sldMk cId="3116244911" sldId="363"/>
            <ac:picMk id="11" creationId="{CF98E824-4F82-4929-9719-C647B13D1C49}"/>
          </ac:picMkLst>
        </pc:picChg>
        <pc:picChg chg="del">
          <ac:chgData name="Kin Nam Lee" userId="S::kinnam0123_gmail.com#ext#@risebcg.onmicrosoft.com::d0b82110-aff5-4a68-b92e-ffa659453e49" providerId="AD" clId="Web-{75A97B9E-77E4-426A-B7F0-B00B889C97DC}" dt="2022-01-09T09:37:00.328" v="161"/>
          <ac:picMkLst>
            <pc:docMk/>
            <pc:sldMk cId="3116244911" sldId="363"/>
            <ac:picMk id="12" creationId="{D9BB96CA-1C75-4A6B-89BF-583AD774395E}"/>
          </ac:picMkLst>
        </pc:picChg>
      </pc:sldChg>
      <pc:sldChg chg="addSp delSp modSp add replId">
        <pc:chgData name="Kin Nam Lee" userId="S::kinnam0123_gmail.com#ext#@risebcg.onmicrosoft.com::d0b82110-aff5-4a68-b92e-ffa659453e49" providerId="AD" clId="Web-{75A97B9E-77E4-426A-B7F0-B00B889C97DC}" dt="2022-01-09T09:42:04.433" v="290" actId="1076"/>
        <pc:sldMkLst>
          <pc:docMk/>
          <pc:sldMk cId="3544593396" sldId="364"/>
        </pc:sldMkLst>
        <pc:spChg chg="mod">
          <ac:chgData name="Kin Nam Lee" userId="S::kinnam0123_gmail.com#ext#@risebcg.onmicrosoft.com::d0b82110-aff5-4a68-b92e-ffa659453e49" providerId="AD" clId="Web-{75A97B9E-77E4-426A-B7F0-B00B889C97DC}" dt="2022-01-09T09:40:23.259" v="266" actId="20577"/>
          <ac:spMkLst>
            <pc:docMk/>
            <pc:sldMk cId="3544593396" sldId="364"/>
            <ac:spMk id="5" creationId="{09C603B1-83E3-40C7-AD23-240A45A6713E}"/>
          </ac:spMkLst>
        </pc:spChg>
        <pc:spChg chg="mod">
          <ac:chgData name="Kin Nam Lee" userId="S::kinnam0123_gmail.com#ext#@risebcg.onmicrosoft.com::d0b82110-aff5-4a68-b92e-ffa659453e49" providerId="AD" clId="Web-{75A97B9E-77E4-426A-B7F0-B00B889C97DC}" dt="2022-01-09T09:41:48.776" v="287" actId="20577"/>
          <ac:spMkLst>
            <pc:docMk/>
            <pc:sldMk cId="3544593396" sldId="364"/>
            <ac:spMk id="9" creationId="{3179ADB1-85CE-4DE6-A4AE-524B8EB2D41D}"/>
          </ac:spMkLst>
        </pc:spChg>
        <pc:picChg chg="add mod">
          <ac:chgData name="Kin Nam Lee" userId="S::kinnam0123_gmail.com#ext#@risebcg.onmicrosoft.com::d0b82110-aff5-4a68-b92e-ffa659453e49" providerId="AD" clId="Web-{75A97B9E-77E4-426A-B7F0-B00B889C97DC}" dt="2022-01-09T09:42:04.433" v="290" actId="1076"/>
          <ac:picMkLst>
            <pc:docMk/>
            <pc:sldMk cId="3544593396" sldId="364"/>
            <ac:picMk id="3" creationId="{92F2F078-2A64-4F81-AAB6-04F45D935590}"/>
          </ac:picMkLst>
        </pc:picChg>
        <pc:picChg chg="del">
          <ac:chgData name="Kin Nam Lee" userId="S::kinnam0123_gmail.com#ext#@risebcg.onmicrosoft.com::d0b82110-aff5-4a68-b92e-ffa659453e49" providerId="AD" clId="Web-{75A97B9E-77E4-426A-B7F0-B00B889C97DC}" dt="2022-01-09T09:38:49.955" v="201"/>
          <ac:picMkLst>
            <pc:docMk/>
            <pc:sldMk cId="3544593396" sldId="364"/>
            <ac:picMk id="4" creationId="{71974ED0-949D-4F9C-98BF-F953E32EC188}"/>
          </ac:picMkLst>
        </pc:picChg>
        <pc:picChg chg="del">
          <ac:chgData name="Kin Nam Lee" userId="S::kinnam0123_gmail.com#ext#@risebcg.onmicrosoft.com::d0b82110-aff5-4a68-b92e-ffa659453e49" providerId="AD" clId="Web-{75A97B9E-77E4-426A-B7F0-B00B889C97DC}" dt="2022-01-09T09:38:48.549" v="200"/>
          <ac:picMkLst>
            <pc:docMk/>
            <pc:sldMk cId="3544593396" sldId="364"/>
            <ac:picMk id="6" creationId="{E3ADEC42-E3A8-473D-AE75-070A05E47158}"/>
          </ac:picMkLst>
        </pc:picChg>
        <pc:picChg chg="add mod">
          <ac:chgData name="Kin Nam Lee" userId="S::kinnam0123_gmail.com#ext#@risebcg.onmicrosoft.com::d0b82110-aff5-4a68-b92e-ffa659453e49" providerId="AD" clId="Web-{75A97B9E-77E4-426A-B7F0-B00B889C97DC}" dt="2022-01-09T09:41:31.088" v="275" actId="14100"/>
          <ac:picMkLst>
            <pc:docMk/>
            <pc:sldMk cId="3544593396" sldId="364"/>
            <ac:picMk id="7" creationId="{32A083E4-1136-43B2-AA61-204C83559131}"/>
          </ac:picMkLst>
        </pc:picChg>
        <pc:picChg chg="add del mod">
          <ac:chgData name="Kin Nam Lee" userId="S::kinnam0123_gmail.com#ext#@risebcg.onmicrosoft.com::d0b82110-aff5-4a68-b92e-ffa659453e49" providerId="AD" clId="Web-{75A97B9E-77E4-426A-B7F0-B00B889C97DC}" dt="2022-01-09T09:41:51.386" v="288"/>
          <ac:picMkLst>
            <pc:docMk/>
            <pc:sldMk cId="3544593396" sldId="364"/>
            <ac:picMk id="8" creationId="{AC03C6AA-6961-4022-A80B-9246FE646644}"/>
          </ac:picMkLst>
        </pc:picChg>
      </pc:sldChg>
      <pc:sldChg chg="addSp delSp modSp add replId">
        <pc:chgData name="Kin Nam Lee" userId="S::kinnam0123_gmail.com#ext#@risebcg.onmicrosoft.com::d0b82110-aff5-4a68-b92e-ffa659453e49" providerId="AD" clId="Web-{75A97B9E-77E4-426A-B7F0-B00B889C97DC}" dt="2022-01-09T09:44:00.826" v="351" actId="14100"/>
        <pc:sldMkLst>
          <pc:docMk/>
          <pc:sldMk cId="1368706879" sldId="365"/>
        </pc:sldMkLst>
        <pc:spChg chg="mod">
          <ac:chgData name="Kin Nam Lee" userId="S::kinnam0123_gmail.com#ext#@risebcg.onmicrosoft.com::d0b82110-aff5-4a68-b92e-ffa659453e49" providerId="AD" clId="Web-{75A97B9E-77E4-426A-B7F0-B00B889C97DC}" dt="2022-01-09T09:44:00.826" v="351" actId="14100"/>
          <ac:spMkLst>
            <pc:docMk/>
            <pc:sldMk cId="1368706879" sldId="365"/>
            <ac:spMk id="5" creationId="{09C603B1-83E3-40C7-AD23-240A45A6713E}"/>
          </ac:spMkLst>
        </pc:spChg>
        <pc:spChg chg="mod">
          <ac:chgData name="Kin Nam Lee" userId="S::kinnam0123_gmail.com#ext#@risebcg.onmicrosoft.com::d0b82110-aff5-4a68-b92e-ffa659453e49" providerId="AD" clId="Web-{75A97B9E-77E4-426A-B7F0-B00B889C97DC}" dt="2022-01-09T09:43:50.919" v="350" actId="1076"/>
          <ac:spMkLst>
            <pc:docMk/>
            <pc:sldMk cId="1368706879" sldId="365"/>
            <ac:spMk id="9" creationId="{3179ADB1-85CE-4DE6-A4AE-524B8EB2D41D}"/>
          </ac:spMkLst>
        </pc:spChg>
        <pc:picChg chg="del">
          <ac:chgData name="Kin Nam Lee" userId="S::kinnam0123_gmail.com#ext#@risebcg.onmicrosoft.com::d0b82110-aff5-4a68-b92e-ffa659453e49" providerId="AD" clId="Web-{75A97B9E-77E4-426A-B7F0-B00B889C97DC}" dt="2022-01-09T09:42:15.558" v="292"/>
          <ac:picMkLst>
            <pc:docMk/>
            <pc:sldMk cId="1368706879" sldId="365"/>
            <ac:picMk id="3" creationId="{92F2F078-2A64-4F81-AAB6-04F45D935590}"/>
          </ac:picMkLst>
        </pc:picChg>
        <pc:picChg chg="add mod">
          <ac:chgData name="Kin Nam Lee" userId="S::kinnam0123_gmail.com#ext#@risebcg.onmicrosoft.com::d0b82110-aff5-4a68-b92e-ffa659453e49" providerId="AD" clId="Web-{75A97B9E-77E4-426A-B7F0-B00B889C97DC}" dt="2022-01-09T09:42:50.902" v="298" actId="14100"/>
          <ac:picMkLst>
            <pc:docMk/>
            <pc:sldMk cId="1368706879" sldId="365"/>
            <ac:picMk id="4" creationId="{566D1659-13FF-47F8-88C8-68034A0DB9EE}"/>
          </ac:picMkLst>
        </pc:picChg>
        <pc:picChg chg="add mod">
          <ac:chgData name="Kin Nam Lee" userId="S::kinnam0123_gmail.com#ext#@risebcg.onmicrosoft.com::d0b82110-aff5-4a68-b92e-ffa659453e49" providerId="AD" clId="Web-{75A97B9E-77E4-426A-B7F0-B00B889C97DC}" dt="2022-01-09T09:42:57.074" v="300" actId="14100"/>
          <ac:picMkLst>
            <pc:docMk/>
            <pc:sldMk cId="1368706879" sldId="365"/>
            <ac:picMk id="6" creationId="{9A02E292-73CE-41B4-88EF-76B9EA903288}"/>
          </ac:picMkLst>
        </pc:picChg>
        <pc:picChg chg="del">
          <ac:chgData name="Kin Nam Lee" userId="S::kinnam0123_gmail.com#ext#@risebcg.onmicrosoft.com::d0b82110-aff5-4a68-b92e-ffa659453e49" providerId="AD" clId="Web-{75A97B9E-77E4-426A-B7F0-B00B889C97DC}" dt="2022-01-09T09:42:16.636" v="293"/>
          <ac:picMkLst>
            <pc:docMk/>
            <pc:sldMk cId="1368706879" sldId="365"/>
            <ac:picMk id="7" creationId="{32A083E4-1136-43B2-AA61-204C83559131}"/>
          </ac:picMkLst>
        </pc:picChg>
      </pc:sldChg>
      <pc:sldChg chg="addSp delSp modSp add replId">
        <pc:chgData name="Kin Nam Lee" userId="S::kinnam0123_gmail.com#ext#@risebcg.onmicrosoft.com::d0b82110-aff5-4a68-b92e-ffa659453e49" providerId="AD" clId="Web-{75A97B9E-77E4-426A-B7F0-B00B889C97DC}" dt="2022-01-09T09:45:36.907" v="400" actId="1076"/>
        <pc:sldMkLst>
          <pc:docMk/>
          <pc:sldMk cId="3891548654" sldId="366"/>
        </pc:sldMkLst>
        <pc:spChg chg="mod">
          <ac:chgData name="Kin Nam Lee" userId="S::kinnam0123_gmail.com#ext#@risebcg.onmicrosoft.com::d0b82110-aff5-4a68-b92e-ffa659453e49" providerId="AD" clId="Web-{75A97B9E-77E4-426A-B7F0-B00B889C97DC}" dt="2022-01-09T09:45:24.032" v="377" actId="20577"/>
          <ac:spMkLst>
            <pc:docMk/>
            <pc:sldMk cId="3891548654" sldId="366"/>
            <ac:spMk id="5" creationId="{09C603B1-83E3-40C7-AD23-240A45A6713E}"/>
          </ac:spMkLst>
        </pc:spChg>
        <pc:spChg chg="mod">
          <ac:chgData name="Kin Nam Lee" userId="S::kinnam0123_gmail.com#ext#@risebcg.onmicrosoft.com::d0b82110-aff5-4a68-b92e-ffa659453e49" providerId="AD" clId="Web-{75A97B9E-77E4-426A-B7F0-B00B889C97DC}" dt="2022-01-09T09:45:29.829" v="399" actId="20577"/>
          <ac:spMkLst>
            <pc:docMk/>
            <pc:sldMk cId="3891548654" sldId="366"/>
            <ac:spMk id="9" creationId="{3179ADB1-85CE-4DE6-A4AE-524B8EB2D41D}"/>
          </ac:spMkLst>
        </pc:spChg>
        <pc:picChg chg="add mod">
          <ac:chgData name="Kin Nam Lee" userId="S::kinnam0123_gmail.com#ext#@risebcg.onmicrosoft.com::d0b82110-aff5-4a68-b92e-ffa659453e49" providerId="AD" clId="Web-{75A97B9E-77E4-426A-B7F0-B00B889C97DC}" dt="2022-01-09T09:45:06.860" v="363" actId="1076"/>
          <ac:picMkLst>
            <pc:docMk/>
            <pc:sldMk cId="3891548654" sldId="366"/>
            <ac:picMk id="3" creationId="{3A9AAE25-4049-446E-8E70-55A209C4D22D}"/>
          </ac:picMkLst>
        </pc:picChg>
        <pc:picChg chg="del">
          <ac:chgData name="Kin Nam Lee" userId="S::kinnam0123_gmail.com#ext#@risebcg.onmicrosoft.com::d0b82110-aff5-4a68-b92e-ffa659453e49" providerId="AD" clId="Web-{75A97B9E-77E4-426A-B7F0-B00B889C97DC}" dt="2022-01-09T09:44:17.250" v="353"/>
          <ac:picMkLst>
            <pc:docMk/>
            <pc:sldMk cId="3891548654" sldId="366"/>
            <ac:picMk id="4" creationId="{566D1659-13FF-47F8-88C8-68034A0DB9EE}"/>
          </ac:picMkLst>
        </pc:picChg>
        <pc:picChg chg="del">
          <ac:chgData name="Kin Nam Lee" userId="S::kinnam0123_gmail.com#ext#@risebcg.onmicrosoft.com::d0b82110-aff5-4a68-b92e-ffa659453e49" providerId="AD" clId="Web-{75A97B9E-77E4-426A-B7F0-B00B889C97DC}" dt="2022-01-09T09:44:19.343" v="354"/>
          <ac:picMkLst>
            <pc:docMk/>
            <pc:sldMk cId="3891548654" sldId="366"/>
            <ac:picMk id="6" creationId="{9A02E292-73CE-41B4-88EF-76B9EA903288}"/>
          </ac:picMkLst>
        </pc:picChg>
        <pc:picChg chg="add mod">
          <ac:chgData name="Kin Nam Lee" userId="S::kinnam0123_gmail.com#ext#@risebcg.onmicrosoft.com::d0b82110-aff5-4a68-b92e-ffa659453e49" providerId="AD" clId="Web-{75A97B9E-77E4-426A-B7F0-B00B889C97DC}" dt="2022-01-09T09:45:36.907" v="400" actId="1076"/>
          <ac:picMkLst>
            <pc:docMk/>
            <pc:sldMk cId="3891548654" sldId="366"/>
            <ac:picMk id="7" creationId="{501F7DE2-8991-44A1-9009-B56CC32D49AD}"/>
          </ac:picMkLst>
        </pc:picChg>
      </pc:sldChg>
      <pc:sldChg chg="addSp delSp modSp add replId">
        <pc:chgData name="Kin Nam Lee" userId="S::kinnam0123_gmail.com#ext#@risebcg.onmicrosoft.com::d0b82110-aff5-4a68-b92e-ffa659453e49" providerId="AD" clId="Web-{75A97B9E-77E4-426A-B7F0-B00B889C97DC}" dt="2022-01-09T09:48:25.598" v="494" actId="20577"/>
        <pc:sldMkLst>
          <pc:docMk/>
          <pc:sldMk cId="495325899" sldId="367"/>
        </pc:sldMkLst>
        <pc:spChg chg="mod">
          <ac:chgData name="Kin Nam Lee" userId="S::kinnam0123_gmail.com#ext#@risebcg.onmicrosoft.com::d0b82110-aff5-4a68-b92e-ffa659453e49" providerId="AD" clId="Web-{75A97B9E-77E4-426A-B7F0-B00B889C97DC}" dt="2022-01-09T09:48:25.598" v="494" actId="20577"/>
          <ac:spMkLst>
            <pc:docMk/>
            <pc:sldMk cId="495325899" sldId="367"/>
            <ac:spMk id="5" creationId="{09C603B1-83E3-40C7-AD23-240A45A6713E}"/>
          </ac:spMkLst>
        </pc:spChg>
        <pc:spChg chg="mod">
          <ac:chgData name="Kin Nam Lee" userId="S::kinnam0123_gmail.com#ext#@risebcg.onmicrosoft.com::d0b82110-aff5-4a68-b92e-ffa659453e49" providerId="AD" clId="Web-{75A97B9E-77E4-426A-B7F0-B00B889C97DC}" dt="2022-01-09T09:48:20.176" v="488" actId="20577"/>
          <ac:spMkLst>
            <pc:docMk/>
            <pc:sldMk cId="495325899" sldId="367"/>
            <ac:spMk id="9" creationId="{3179ADB1-85CE-4DE6-A4AE-524B8EB2D41D}"/>
          </ac:spMkLst>
        </pc:spChg>
        <pc:picChg chg="del">
          <ac:chgData name="Kin Nam Lee" userId="S::kinnam0123_gmail.com#ext#@risebcg.onmicrosoft.com::d0b82110-aff5-4a68-b92e-ffa659453e49" providerId="AD" clId="Web-{75A97B9E-77E4-426A-B7F0-B00B889C97DC}" dt="2022-01-09T09:45:48.126" v="402"/>
          <ac:picMkLst>
            <pc:docMk/>
            <pc:sldMk cId="495325899" sldId="367"/>
            <ac:picMk id="3" creationId="{3A9AAE25-4049-446E-8E70-55A209C4D22D}"/>
          </ac:picMkLst>
        </pc:picChg>
        <pc:picChg chg="add mod">
          <ac:chgData name="Kin Nam Lee" userId="S::kinnam0123_gmail.com#ext#@risebcg.onmicrosoft.com::d0b82110-aff5-4a68-b92e-ffa659453e49" providerId="AD" clId="Web-{75A97B9E-77E4-426A-B7F0-B00B889C97DC}" dt="2022-01-09T09:47:24.034" v="475" actId="1076"/>
          <ac:picMkLst>
            <pc:docMk/>
            <pc:sldMk cId="495325899" sldId="367"/>
            <ac:picMk id="4" creationId="{79B30297-A01B-430C-8EB8-745A3D069B7F}"/>
          </ac:picMkLst>
        </pc:picChg>
        <pc:picChg chg="add mod">
          <ac:chgData name="Kin Nam Lee" userId="S::kinnam0123_gmail.com#ext#@risebcg.onmicrosoft.com::d0b82110-aff5-4a68-b92e-ffa659453e49" providerId="AD" clId="Web-{75A97B9E-77E4-426A-B7F0-B00B889C97DC}" dt="2022-01-09T09:47:28.753" v="477" actId="1076"/>
          <ac:picMkLst>
            <pc:docMk/>
            <pc:sldMk cId="495325899" sldId="367"/>
            <ac:picMk id="6" creationId="{4A08CA56-0F2C-4842-8FB2-31B02C4CC1C2}"/>
          </ac:picMkLst>
        </pc:picChg>
        <pc:picChg chg="del">
          <ac:chgData name="Kin Nam Lee" userId="S::kinnam0123_gmail.com#ext#@risebcg.onmicrosoft.com::d0b82110-aff5-4a68-b92e-ffa659453e49" providerId="AD" clId="Web-{75A97B9E-77E4-426A-B7F0-B00B889C97DC}" dt="2022-01-09T09:45:50.220" v="403"/>
          <ac:picMkLst>
            <pc:docMk/>
            <pc:sldMk cId="495325899" sldId="367"/>
            <ac:picMk id="7" creationId="{501F7DE2-8991-44A1-9009-B56CC32D49AD}"/>
          </ac:picMkLst>
        </pc:picChg>
        <pc:picChg chg="add mod">
          <ac:chgData name="Kin Nam Lee" userId="S::kinnam0123_gmail.com#ext#@risebcg.onmicrosoft.com::d0b82110-aff5-4a68-b92e-ffa659453e49" providerId="AD" clId="Web-{75A97B9E-77E4-426A-B7F0-B00B889C97DC}" dt="2022-01-09T09:48:10.067" v="481" actId="1076"/>
          <ac:picMkLst>
            <pc:docMk/>
            <pc:sldMk cId="495325899" sldId="367"/>
            <ac:picMk id="8" creationId="{6CC0388A-2FEB-46B2-970B-B498ED898DF7}"/>
          </ac:picMkLst>
        </pc:picChg>
      </pc:sldChg>
      <pc:sldChg chg="addSp delSp modSp add replId">
        <pc:chgData name="Kin Nam Lee" userId="S::kinnam0123_gmail.com#ext#@risebcg.onmicrosoft.com::d0b82110-aff5-4a68-b92e-ffa659453e49" providerId="AD" clId="Web-{75A97B9E-77E4-426A-B7F0-B00B889C97DC}" dt="2022-01-09T09:49:42.068" v="509" actId="1076"/>
        <pc:sldMkLst>
          <pc:docMk/>
          <pc:sldMk cId="371058751" sldId="368"/>
        </pc:sldMkLst>
        <pc:spChg chg="del mod">
          <ac:chgData name="Kin Nam Lee" userId="S::kinnam0123_gmail.com#ext#@risebcg.onmicrosoft.com::d0b82110-aff5-4a68-b92e-ffa659453e49" providerId="AD" clId="Web-{75A97B9E-77E4-426A-B7F0-B00B889C97DC}" dt="2022-01-09T09:49:14.287" v="503"/>
          <ac:spMkLst>
            <pc:docMk/>
            <pc:sldMk cId="371058751" sldId="368"/>
            <ac:spMk id="5" creationId="{09C603B1-83E3-40C7-AD23-240A45A6713E}"/>
          </ac:spMkLst>
        </pc:spChg>
        <pc:spChg chg="mod">
          <ac:chgData name="Kin Nam Lee" userId="S::kinnam0123_gmail.com#ext#@risebcg.onmicrosoft.com::d0b82110-aff5-4a68-b92e-ffa659453e49" providerId="AD" clId="Web-{75A97B9E-77E4-426A-B7F0-B00B889C97DC}" dt="2022-01-09T09:49:28.052" v="508" actId="1076"/>
          <ac:spMkLst>
            <pc:docMk/>
            <pc:sldMk cId="371058751" sldId="368"/>
            <ac:spMk id="9" creationId="{3179ADB1-85CE-4DE6-A4AE-524B8EB2D41D}"/>
          </ac:spMkLst>
        </pc:spChg>
        <pc:picChg chg="add mod">
          <ac:chgData name="Kin Nam Lee" userId="S::kinnam0123_gmail.com#ext#@risebcg.onmicrosoft.com::d0b82110-aff5-4a68-b92e-ffa659453e49" providerId="AD" clId="Web-{75A97B9E-77E4-426A-B7F0-B00B889C97DC}" dt="2022-01-09T09:49:42.068" v="509" actId="1076"/>
          <ac:picMkLst>
            <pc:docMk/>
            <pc:sldMk cId="371058751" sldId="368"/>
            <ac:picMk id="3" creationId="{3E9A0F2D-BAD5-4289-9F34-C4D0E3B67FD8}"/>
          </ac:picMkLst>
        </pc:picChg>
        <pc:picChg chg="del">
          <ac:chgData name="Kin Nam Lee" userId="S::kinnam0123_gmail.com#ext#@risebcg.onmicrosoft.com::d0b82110-aff5-4a68-b92e-ffa659453e49" providerId="AD" clId="Web-{75A97B9E-77E4-426A-B7F0-B00B889C97DC}" dt="2022-01-09T09:48:37.005" v="497"/>
          <ac:picMkLst>
            <pc:docMk/>
            <pc:sldMk cId="371058751" sldId="368"/>
            <ac:picMk id="4" creationId="{79B30297-A01B-430C-8EB8-745A3D069B7F}"/>
          </ac:picMkLst>
        </pc:picChg>
        <pc:picChg chg="del">
          <ac:chgData name="Kin Nam Lee" userId="S::kinnam0123_gmail.com#ext#@risebcg.onmicrosoft.com::d0b82110-aff5-4a68-b92e-ffa659453e49" providerId="AD" clId="Web-{75A97B9E-77E4-426A-B7F0-B00B889C97DC}" dt="2022-01-09T09:48:35.833" v="496"/>
          <ac:picMkLst>
            <pc:docMk/>
            <pc:sldMk cId="371058751" sldId="368"/>
            <ac:picMk id="6" creationId="{4A08CA56-0F2C-4842-8FB2-31B02C4CC1C2}"/>
          </ac:picMkLst>
        </pc:picChg>
        <pc:picChg chg="del">
          <ac:chgData name="Kin Nam Lee" userId="S::kinnam0123_gmail.com#ext#@risebcg.onmicrosoft.com::d0b82110-aff5-4a68-b92e-ffa659453e49" providerId="AD" clId="Web-{75A97B9E-77E4-426A-B7F0-B00B889C97DC}" dt="2022-01-09T09:48:37.864" v="498"/>
          <ac:picMkLst>
            <pc:docMk/>
            <pc:sldMk cId="371058751" sldId="368"/>
            <ac:picMk id="8" creationId="{6CC0388A-2FEB-46B2-970B-B498ED898DF7}"/>
          </ac:picMkLst>
        </pc:picChg>
      </pc:sldChg>
      <pc:sldChg chg="new del">
        <pc:chgData name="Kin Nam Lee" userId="S::kinnam0123_gmail.com#ext#@risebcg.onmicrosoft.com::d0b82110-aff5-4a68-b92e-ffa659453e49" providerId="AD" clId="Web-{75A97B9E-77E4-426A-B7F0-B00B889C97DC}" dt="2022-01-09T09:45:56.830" v="405"/>
        <pc:sldMkLst>
          <pc:docMk/>
          <pc:sldMk cId="2437280143" sldId="368"/>
        </pc:sldMkLst>
      </pc:sldChg>
    </pc:docChg>
  </pc:docChgLst>
  <pc:docChgLst>
    <pc:chgData name="COSMOSFREN" userId="S::cosmosfren_yahoo.com#ext#@risebcg.onmicrosoft.com::5462f5f4-f618-47aa-abd8-fd504e002570" providerId="AD" clId="Web-{B2367C32-F6D3-4B00-AB58-61F5BF24A91B}"/>
    <pc:docChg chg="modSld">
      <pc:chgData name="COSMOSFREN" userId="S::cosmosfren_yahoo.com#ext#@risebcg.onmicrosoft.com::5462f5f4-f618-47aa-abd8-fd504e002570" providerId="AD" clId="Web-{B2367C32-F6D3-4B00-AB58-61F5BF24A91B}" dt="2022-01-11T03:58:41.334" v="116"/>
      <pc:docMkLst>
        <pc:docMk/>
      </pc:docMkLst>
      <pc:sldChg chg="modNotes">
        <pc:chgData name="COSMOSFREN" userId="S::cosmosfren_yahoo.com#ext#@risebcg.onmicrosoft.com::5462f5f4-f618-47aa-abd8-fd504e002570" providerId="AD" clId="Web-{B2367C32-F6D3-4B00-AB58-61F5BF24A91B}" dt="2022-01-11T03:27:04.710" v="6"/>
        <pc:sldMkLst>
          <pc:docMk/>
          <pc:sldMk cId="2067521295" sldId="323"/>
        </pc:sldMkLst>
      </pc:sldChg>
      <pc:sldChg chg="modNotes">
        <pc:chgData name="COSMOSFREN" userId="S::cosmosfren_yahoo.com#ext#@risebcg.onmicrosoft.com::5462f5f4-f618-47aa-abd8-fd504e002570" providerId="AD" clId="Web-{B2367C32-F6D3-4B00-AB58-61F5BF24A91B}" dt="2022-01-11T03:31:22.639" v="44"/>
        <pc:sldMkLst>
          <pc:docMk/>
          <pc:sldMk cId="3666302761" sldId="324"/>
        </pc:sldMkLst>
      </pc:sldChg>
      <pc:sldChg chg="modNotes">
        <pc:chgData name="COSMOSFREN" userId="S::cosmosfren_yahoo.com#ext#@risebcg.onmicrosoft.com::5462f5f4-f618-47aa-abd8-fd504e002570" providerId="AD" clId="Web-{B2367C32-F6D3-4B00-AB58-61F5BF24A91B}" dt="2022-01-11T03:58:41.334" v="116"/>
        <pc:sldMkLst>
          <pc:docMk/>
          <pc:sldMk cId="416007632" sldId="327"/>
        </pc:sldMkLst>
      </pc:sldChg>
      <pc:sldChg chg="modNotes">
        <pc:chgData name="COSMOSFREN" userId="S::cosmosfren_yahoo.com#ext#@risebcg.onmicrosoft.com::5462f5f4-f618-47aa-abd8-fd504e002570" providerId="AD" clId="Web-{B2367C32-F6D3-4B00-AB58-61F5BF24A91B}" dt="2022-01-11T03:39:49.604" v="88"/>
        <pc:sldMkLst>
          <pc:docMk/>
          <pc:sldMk cId="1894441827" sldId="358"/>
        </pc:sldMkLst>
      </pc:sldChg>
      <pc:sldChg chg="modNotes">
        <pc:chgData name="COSMOSFREN" userId="S::cosmosfren_yahoo.com#ext#@risebcg.onmicrosoft.com::5462f5f4-f618-47aa-abd8-fd504e002570" providerId="AD" clId="Web-{B2367C32-F6D3-4B00-AB58-61F5BF24A91B}" dt="2022-01-11T03:27:35.758" v="36"/>
        <pc:sldMkLst>
          <pc:docMk/>
          <pc:sldMk cId="531825606" sldId="383"/>
        </pc:sldMkLst>
      </pc:sldChg>
    </pc:docChg>
  </pc:docChgLst>
  <pc:docChgLst>
    <pc:chgData name="EVELYNSM.YONG" userId="S::evelynsm.yong_gmail.com#ext#@risebcg.onmicrosoft.com::67a27a72-2420-4d38-b745-316a53f4b99a" providerId="AD" clId="Web-{B1695F6B-E229-47A3-B13F-79B478ED93D2}"/>
    <pc:docChg chg="modSld">
      <pc:chgData name="EVELYNSM.YONG" userId="S::evelynsm.yong_gmail.com#ext#@risebcg.onmicrosoft.com::67a27a72-2420-4d38-b745-316a53f4b99a" providerId="AD" clId="Web-{B1695F6B-E229-47A3-B13F-79B478ED93D2}" dt="2022-01-10T10:54:53.607" v="98"/>
      <pc:docMkLst>
        <pc:docMk/>
      </pc:docMkLst>
      <pc:sldChg chg="addSp delSp modSp">
        <pc:chgData name="EVELYNSM.YONG" userId="S::evelynsm.yong_gmail.com#ext#@risebcg.onmicrosoft.com::67a27a72-2420-4d38-b745-316a53f4b99a" providerId="AD" clId="Web-{B1695F6B-E229-47A3-B13F-79B478ED93D2}" dt="2022-01-10T10:47:57.475" v="14"/>
        <pc:sldMkLst>
          <pc:docMk/>
          <pc:sldMk cId="3391215681" sldId="339"/>
        </pc:sldMkLst>
        <pc:spChg chg="mod">
          <ac:chgData name="EVELYNSM.YONG" userId="S::evelynsm.yong_gmail.com#ext#@risebcg.onmicrosoft.com::67a27a72-2420-4d38-b745-316a53f4b99a" providerId="AD" clId="Web-{B1695F6B-E229-47A3-B13F-79B478ED93D2}" dt="2022-01-10T10:47:52.491" v="13" actId="14100"/>
          <ac:spMkLst>
            <pc:docMk/>
            <pc:sldMk cId="3391215681" sldId="339"/>
            <ac:spMk id="47" creationId="{B72F6C48-B470-4163-9AC9-2982A10656DA}"/>
          </ac:spMkLst>
        </pc:spChg>
        <pc:spChg chg="mod">
          <ac:chgData name="EVELYNSM.YONG" userId="S::evelynsm.yong_gmail.com#ext#@risebcg.onmicrosoft.com::67a27a72-2420-4d38-b745-316a53f4b99a" providerId="AD" clId="Web-{B1695F6B-E229-47A3-B13F-79B478ED93D2}" dt="2022-01-10T10:46:43.317" v="4"/>
          <ac:spMkLst>
            <pc:docMk/>
            <pc:sldMk cId="3391215681" sldId="339"/>
            <ac:spMk id="49" creationId="{1A40ECD8-EC71-4C0D-A629-C5042C9FBE1B}"/>
          </ac:spMkLst>
        </pc:spChg>
        <pc:spChg chg="mod topLvl">
          <ac:chgData name="EVELYNSM.YONG" userId="S::evelynsm.yong_gmail.com#ext#@risebcg.onmicrosoft.com::67a27a72-2420-4d38-b745-316a53f4b99a" providerId="AD" clId="Web-{B1695F6B-E229-47A3-B13F-79B478ED93D2}" dt="2022-01-10T10:47:47.397" v="12" actId="14100"/>
          <ac:spMkLst>
            <pc:docMk/>
            <pc:sldMk cId="3391215681" sldId="339"/>
            <ac:spMk id="160" creationId="{129EBF9C-3DCE-40EC-8CFB-1CB201B252BE}"/>
          </ac:spMkLst>
        </pc:spChg>
        <pc:spChg chg="mod topLvl">
          <ac:chgData name="EVELYNSM.YONG" userId="S::evelynsm.yong_gmail.com#ext#@risebcg.onmicrosoft.com::67a27a72-2420-4d38-b745-316a53f4b99a" providerId="AD" clId="Web-{B1695F6B-E229-47A3-B13F-79B478ED93D2}" dt="2022-01-10T10:47:38.349" v="11"/>
          <ac:spMkLst>
            <pc:docMk/>
            <pc:sldMk cId="3391215681" sldId="339"/>
            <ac:spMk id="211" creationId="{BE8EF75F-4A8F-4CC0-B3A0-4689491D690B}"/>
          </ac:spMkLst>
        </pc:spChg>
        <pc:spChg chg="topLvl">
          <ac:chgData name="EVELYNSM.YONG" userId="S::evelynsm.yong_gmail.com#ext#@risebcg.onmicrosoft.com::67a27a72-2420-4d38-b745-316a53f4b99a" providerId="AD" clId="Web-{B1695F6B-E229-47A3-B13F-79B478ED93D2}" dt="2022-01-10T10:47:38.349" v="11"/>
          <ac:spMkLst>
            <pc:docMk/>
            <pc:sldMk cId="3391215681" sldId="339"/>
            <ac:spMk id="3097" creationId="{B43BCD4D-C119-4545-A18A-03EFECDDCAC1}"/>
          </ac:spMkLst>
        </pc:spChg>
        <pc:grpChg chg="del mod">
          <ac:chgData name="EVELYNSM.YONG" userId="S::evelynsm.yong_gmail.com#ext#@risebcg.onmicrosoft.com::67a27a72-2420-4d38-b745-316a53f4b99a" providerId="AD" clId="Web-{B1695F6B-E229-47A3-B13F-79B478ED93D2}" dt="2022-01-10T10:47:38.349" v="11"/>
          <ac:grpSpMkLst>
            <pc:docMk/>
            <pc:sldMk cId="3391215681" sldId="339"/>
            <ac:grpSpMk id="46" creationId="{4ABE6692-7EE9-44C2-9397-CB90DBA38CB3}"/>
          </ac:grpSpMkLst>
        </pc:grpChg>
        <pc:grpChg chg="add">
          <ac:chgData name="EVELYNSM.YONG" userId="S::evelynsm.yong_gmail.com#ext#@risebcg.onmicrosoft.com::67a27a72-2420-4d38-b745-316a53f4b99a" providerId="AD" clId="Web-{B1695F6B-E229-47A3-B13F-79B478ED93D2}" dt="2022-01-10T10:47:57.475" v="14"/>
          <ac:grpSpMkLst>
            <pc:docMk/>
            <pc:sldMk cId="3391215681" sldId="339"/>
            <ac:grpSpMk id="159" creationId="{6CF11143-2C2D-41F3-A344-0766ACFE591C}"/>
          </ac:grpSpMkLst>
        </pc:grpChg>
        <pc:graphicFrameChg chg="modGraphic">
          <ac:chgData name="EVELYNSM.YONG" userId="S::evelynsm.yong_gmail.com#ext#@risebcg.onmicrosoft.com::67a27a72-2420-4d38-b745-316a53f4b99a" providerId="AD" clId="Web-{B1695F6B-E229-47A3-B13F-79B478ED93D2}" dt="2022-01-10T10:46:55.378" v="6" actId="20577"/>
          <ac:graphicFrameMkLst>
            <pc:docMk/>
            <pc:sldMk cId="3391215681" sldId="339"/>
            <ac:graphicFrameMk id="28" creationId="{9D58B7B4-DE29-4DDF-BB8A-729D2B705659}"/>
          </ac:graphicFrameMkLst>
        </pc:graphicFrameChg>
      </pc:sldChg>
      <pc:sldChg chg="addSp delSp modSp">
        <pc:chgData name="EVELYNSM.YONG" userId="S::evelynsm.yong_gmail.com#ext#@risebcg.onmicrosoft.com::67a27a72-2420-4d38-b745-316a53f4b99a" providerId="AD" clId="Web-{B1695F6B-E229-47A3-B13F-79B478ED93D2}" dt="2022-01-10T10:54:53.607" v="98"/>
        <pc:sldMkLst>
          <pc:docMk/>
          <pc:sldMk cId="3531645893" sldId="360"/>
        </pc:sldMkLst>
        <pc:spChg chg="mod">
          <ac:chgData name="EVELYNSM.YONG" userId="S::evelynsm.yong_gmail.com#ext#@risebcg.onmicrosoft.com::67a27a72-2420-4d38-b745-316a53f4b99a" providerId="AD" clId="Web-{B1695F6B-E229-47A3-B13F-79B478ED93D2}" dt="2022-01-10T10:54:09.854" v="95"/>
          <ac:spMkLst>
            <pc:docMk/>
            <pc:sldMk cId="3531645893" sldId="360"/>
            <ac:spMk id="3" creationId="{FC2A26BC-6E3B-4E2F-9C36-577BA7E9132E}"/>
          </ac:spMkLst>
        </pc:spChg>
        <pc:spChg chg="mod">
          <ac:chgData name="EVELYNSM.YONG" userId="S::evelynsm.yong_gmail.com#ext#@risebcg.onmicrosoft.com::67a27a72-2420-4d38-b745-316a53f4b99a" providerId="AD" clId="Web-{B1695F6B-E229-47A3-B13F-79B478ED93D2}" dt="2022-01-10T10:50:11.357" v="59" actId="1076"/>
          <ac:spMkLst>
            <pc:docMk/>
            <pc:sldMk cId="3531645893" sldId="360"/>
            <ac:spMk id="5" creationId="{1999C9A4-8C8B-43CC-B77D-B8C58575D4DE}"/>
          </ac:spMkLst>
        </pc:spChg>
        <pc:spChg chg="mod">
          <ac:chgData name="EVELYNSM.YONG" userId="S::evelynsm.yong_gmail.com#ext#@risebcg.onmicrosoft.com::67a27a72-2420-4d38-b745-316a53f4b99a" providerId="AD" clId="Web-{B1695F6B-E229-47A3-B13F-79B478ED93D2}" dt="2022-01-10T10:46:25.049" v="1"/>
          <ac:spMkLst>
            <pc:docMk/>
            <pc:sldMk cId="3531645893" sldId="360"/>
            <ac:spMk id="15" creationId="{EA512C5C-B61E-4EDE-A2CD-308BFA2920DA}"/>
          </ac:spMkLst>
        </pc:spChg>
        <pc:spChg chg="mod">
          <ac:chgData name="EVELYNSM.YONG" userId="S::evelynsm.yong_gmail.com#ext#@risebcg.onmicrosoft.com::67a27a72-2420-4d38-b745-316a53f4b99a" providerId="AD" clId="Web-{B1695F6B-E229-47A3-B13F-79B478ED93D2}" dt="2022-01-10T10:51:32.627" v="72"/>
          <ac:spMkLst>
            <pc:docMk/>
            <pc:sldMk cId="3531645893" sldId="360"/>
            <ac:spMk id="18" creationId="{83C6C493-EE06-4670-B1AB-91DD5175B793}"/>
          </ac:spMkLst>
        </pc:spChg>
        <pc:spChg chg="mod">
          <ac:chgData name="EVELYNSM.YONG" userId="S::evelynsm.yong_gmail.com#ext#@risebcg.onmicrosoft.com::67a27a72-2420-4d38-b745-316a53f4b99a" providerId="AD" clId="Web-{B1695F6B-E229-47A3-B13F-79B478ED93D2}" dt="2022-01-10T10:50:11.373" v="60" actId="1076"/>
          <ac:spMkLst>
            <pc:docMk/>
            <pc:sldMk cId="3531645893" sldId="360"/>
            <ac:spMk id="19" creationId="{950C64E7-6661-4AEA-8068-716AD3707128}"/>
          </ac:spMkLst>
        </pc:spChg>
        <pc:spChg chg="mod">
          <ac:chgData name="EVELYNSM.YONG" userId="S::evelynsm.yong_gmail.com#ext#@risebcg.onmicrosoft.com::67a27a72-2420-4d38-b745-316a53f4b99a" providerId="AD" clId="Web-{B1695F6B-E229-47A3-B13F-79B478ED93D2}" dt="2022-01-10T10:51:21.502" v="69"/>
          <ac:spMkLst>
            <pc:docMk/>
            <pc:sldMk cId="3531645893" sldId="360"/>
            <ac:spMk id="25" creationId="{F2D8752B-46CF-482C-9E54-5BF79DDF6A1D}"/>
          </ac:spMkLst>
        </pc:spChg>
        <pc:spChg chg="mod">
          <ac:chgData name="EVELYNSM.YONG" userId="S::evelynsm.yong_gmail.com#ext#@risebcg.onmicrosoft.com::67a27a72-2420-4d38-b745-316a53f4b99a" providerId="AD" clId="Web-{B1695F6B-E229-47A3-B13F-79B478ED93D2}" dt="2022-01-10T10:53:35.134" v="90"/>
          <ac:spMkLst>
            <pc:docMk/>
            <pc:sldMk cId="3531645893" sldId="360"/>
            <ac:spMk id="27" creationId="{9C31BED3-CE5F-440A-A9B8-F5924562E1BA}"/>
          </ac:spMkLst>
        </pc:spChg>
        <pc:spChg chg="mod">
          <ac:chgData name="EVELYNSM.YONG" userId="S::evelynsm.yong_gmail.com#ext#@risebcg.onmicrosoft.com::67a27a72-2420-4d38-b745-316a53f4b99a" providerId="AD" clId="Web-{B1695F6B-E229-47A3-B13F-79B478ED93D2}" dt="2022-01-10T10:54:53.607" v="98"/>
          <ac:spMkLst>
            <pc:docMk/>
            <pc:sldMk cId="3531645893" sldId="360"/>
            <ac:spMk id="29" creationId="{C9BEC35E-523C-4554-8EBD-4475698ECF55}"/>
          </ac:spMkLst>
        </pc:spChg>
        <pc:spChg chg="mod">
          <ac:chgData name="EVELYNSM.YONG" userId="S::evelynsm.yong_gmail.com#ext#@risebcg.onmicrosoft.com::67a27a72-2420-4d38-b745-316a53f4b99a" providerId="AD" clId="Web-{B1695F6B-E229-47A3-B13F-79B478ED93D2}" dt="2022-01-10T10:50:26.577" v="63" actId="1076"/>
          <ac:spMkLst>
            <pc:docMk/>
            <pc:sldMk cId="3531645893" sldId="360"/>
            <ac:spMk id="32" creationId="{643819E7-FC5A-44D2-A6BA-F2C1071FA836}"/>
          </ac:spMkLst>
        </pc:spChg>
        <pc:spChg chg="mod">
          <ac:chgData name="EVELYNSM.YONG" userId="S::evelynsm.yong_gmail.com#ext#@risebcg.onmicrosoft.com::67a27a72-2420-4d38-b745-316a53f4b99a" providerId="AD" clId="Web-{B1695F6B-E229-47A3-B13F-79B478ED93D2}" dt="2022-01-10T10:52:32.724" v="77"/>
          <ac:spMkLst>
            <pc:docMk/>
            <pc:sldMk cId="3531645893" sldId="360"/>
            <ac:spMk id="35" creationId="{BEBA2DB5-D01A-45D1-B10F-CDA2A5C3CE6D}"/>
          </ac:spMkLst>
        </pc:spChg>
        <pc:spChg chg="mod">
          <ac:chgData name="EVELYNSM.YONG" userId="S::evelynsm.yong_gmail.com#ext#@risebcg.onmicrosoft.com::67a27a72-2420-4d38-b745-316a53f4b99a" providerId="AD" clId="Web-{B1695F6B-E229-47A3-B13F-79B478ED93D2}" dt="2022-01-10T10:53:02.601" v="85" actId="14100"/>
          <ac:spMkLst>
            <pc:docMk/>
            <pc:sldMk cId="3531645893" sldId="360"/>
            <ac:spMk id="36" creationId="{078A3856-3300-433F-A501-B031E92BEAC1}"/>
          </ac:spMkLst>
        </pc:spChg>
        <pc:spChg chg="mod ord">
          <ac:chgData name="EVELYNSM.YONG" userId="S::evelynsm.yong_gmail.com#ext#@risebcg.onmicrosoft.com::67a27a72-2420-4d38-b745-316a53f4b99a" providerId="AD" clId="Web-{B1695F6B-E229-47A3-B13F-79B478ED93D2}" dt="2022-01-10T10:52:39.756" v="78"/>
          <ac:spMkLst>
            <pc:docMk/>
            <pc:sldMk cId="3531645893" sldId="360"/>
            <ac:spMk id="37" creationId="{4AB50FB2-2592-4F25-B501-5E5ED17825ED}"/>
          </ac:spMkLst>
        </pc:spChg>
        <pc:spChg chg="mod ord">
          <ac:chgData name="EVELYNSM.YONG" userId="S::evelynsm.yong_gmail.com#ext#@risebcg.onmicrosoft.com::67a27a72-2420-4d38-b745-316a53f4b99a" providerId="AD" clId="Web-{B1695F6B-E229-47A3-B13F-79B478ED93D2}" dt="2022-01-10T10:53:21.321" v="87" actId="1076"/>
          <ac:spMkLst>
            <pc:docMk/>
            <pc:sldMk cId="3531645893" sldId="360"/>
            <ac:spMk id="38" creationId="{CB428AE9-51B3-41CB-A62A-62EA6128CCE3}"/>
          </ac:spMkLst>
        </pc:spChg>
        <pc:spChg chg="mod">
          <ac:chgData name="EVELYNSM.YONG" userId="S::evelynsm.yong_gmail.com#ext#@risebcg.onmicrosoft.com::67a27a72-2420-4d38-b745-316a53f4b99a" providerId="AD" clId="Web-{B1695F6B-E229-47A3-B13F-79B478ED93D2}" dt="2022-01-10T10:53:39.587" v="91"/>
          <ac:spMkLst>
            <pc:docMk/>
            <pc:sldMk cId="3531645893" sldId="360"/>
            <ac:spMk id="40" creationId="{ECF14FD3-8E08-4762-B1DE-BECAD18D177B}"/>
          </ac:spMkLst>
        </pc:spChg>
        <pc:picChg chg="mod">
          <ac:chgData name="EVELYNSM.YONG" userId="S::evelynsm.yong_gmail.com#ext#@risebcg.onmicrosoft.com::67a27a72-2420-4d38-b745-316a53f4b99a" providerId="AD" clId="Web-{B1695F6B-E229-47A3-B13F-79B478ED93D2}" dt="2022-01-10T10:50:14.561" v="61" actId="14100"/>
          <ac:picMkLst>
            <pc:docMk/>
            <pc:sldMk cId="3531645893" sldId="360"/>
            <ac:picMk id="6" creationId="{EF6EAEC0-2A43-4308-9642-0428A55E7A00}"/>
          </ac:picMkLst>
        </pc:picChg>
        <pc:picChg chg="ord">
          <ac:chgData name="EVELYNSM.YONG" userId="S::evelynsm.yong_gmail.com#ext#@risebcg.onmicrosoft.com::67a27a72-2420-4d38-b745-316a53f4b99a" providerId="AD" clId="Web-{B1695F6B-E229-47A3-B13F-79B478ED93D2}" dt="2022-01-10T10:49:13.979" v="42"/>
          <ac:picMkLst>
            <pc:docMk/>
            <pc:sldMk cId="3531645893" sldId="360"/>
            <ac:picMk id="7" creationId="{3D126662-F659-4393-8605-1D4F939D289C}"/>
          </ac:picMkLst>
        </pc:picChg>
        <pc:cxnChg chg="del mod">
          <ac:chgData name="EVELYNSM.YONG" userId="S::evelynsm.yong_gmail.com#ext#@risebcg.onmicrosoft.com::67a27a72-2420-4d38-b745-316a53f4b99a" providerId="AD" clId="Web-{B1695F6B-E229-47A3-B13F-79B478ED93D2}" dt="2022-01-10T10:50:37.953" v="64"/>
          <ac:cxnSpMkLst>
            <pc:docMk/>
            <pc:sldMk cId="3531645893" sldId="360"/>
            <ac:cxnSpMk id="4" creationId="{BAA273B8-78B6-46B8-9FDB-2FE8E5FFAA59}"/>
          </ac:cxnSpMkLst>
        </pc:cxnChg>
        <pc:cxnChg chg="add mod ord">
          <ac:chgData name="EVELYNSM.YONG" userId="S::evelynsm.yong_gmail.com#ext#@risebcg.onmicrosoft.com::67a27a72-2420-4d38-b745-316a53f4b99a" providerId="AD" clId="Web-{B1695F6B-E229-47A3-B13F-79B478ED93D2}" dt="2022-01-10T10:53:26.133" v="88" actId="14100"/>
          <ac:cxnSpMkLst>
            <pc:docMk/>
            <pc:sldMk cId="3531645893" sldId="360"/>
            <ac:cxnSpMk id="31" creationId="{F4074082-46FF-4E13-BA1B-8AFDF7803860}"/>
          </ac:cxnSpMkLst>
        </pc:cxnChg>
        <pc:cxnChg chg="mod ord">
          <ac:chgData name="EVELYNSM.YONG" userId="S::evelynsm.yong_gmail.com#ext#@risebcg.onmicrosoft.com::67a27a72-2420-4d38-b745-316a53f4b99a" providerId="AD" clId="Web-{B1695F6B-E229-47A3-B13F-79B478ED93D2}" dt="2022-01-10T10:52:51.006" v="81"/>
          <ac:cxnSpMkLst>
            <pc:docMk/>
            <pc:sldMk cId="3531645893" sldId="360"/>
            <ac:cxnSpMk id="39" creationId="{C02C1C41-DC87-44F6-B172-862875871040}"/>
          </ac:cxnSpMkLst>
        </pc:cxnChg>
      </pc:sldChg>
    </pc:docChg>
  </pc:docChgLst>
  <pc:docChgLst>
    <pc:chgData name="wei yuan" userId="S::pwy_92_hotmail.com#ext#@risebcg.onmicrosoft.com::ca38e7f8-9ace-4d94-b37a-86e65e91f2b0" providerId="AD" clId="Web-{0F3143D1-733D-4693-A1B4-4AC0E952203C}"/>
    <pc:docChg chg="modSld">
      <pc:chgData name="wei yuan" userId="S::pwy_92_hotmail.com#ext#@risebcg.onmicrosoft.com::ca38e7f8-9ace-4d94-b37a-86e65e91f2b0" providerId="AD" clId="Web-{0F3143D1-733D-4693-A1B4-4AC0E952203C}" dt="2022-01-07T13:10:42.577" v="1096" actId="20577"/>
      <pc:docMkLst>
        <pc:docMk/>
      </pc:docMkLst>
      <pc:sldChg chg="modSp">
        <pc:chgData name="wei yuan" userId="S::pwy_92_hotmail.com#ext#@risebcg.onmicrosoft.com::ca38e7f8-9ace-4d94-b37a-86e65e91f2b0" providerId="AD" clId="Web-{0F3143D1-733D-4693-A1B4-4AC0E952203C}" dt="2022-01-07T13:10:42.577" v="1096" actId="20577"/>
        <pc:sldMkLst>
          <pc:docMk/>
          <pc:sldMk cId="2316358039" sldId="325"/>
        </pc:sldMkLst>
        <pc:spChg chg="mod">
          <ac:chgData name="wei yuan" userId="S::pwy_92_hotmail.com#ext#@risebcg.onmicrosoft.com::ca38e7f8-9ace-4d94-b37a-86e65e91f2b0" providerId="AD" clId="Web-{0F3143D1-733D-4693-A1B4-4AC0E952203C}" dt="2022-01-07T13:10:42.577" v="1096" actId="20577"/>
          <ac:spMkLst>
            <pc:docMk/>
            <pc:sldMk cId="2316358039" sldId="325"/>
            <ac:spMk id="14" creationId="{3C1C8EDA-91F1-403C-A371-164289F5FB16}"/>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2C0361-2AF4-403D-9556-EC28E8565404}" type="doc">
      <dgm:prSet loTypeId="urn:microsoft.com/office/officeart/2005/8/layout/orgChart1" loCatId="hierarchy" qsTypeId="urn:microsoft.com/office/officeart/2005/8/quickstyle/simple1" qsCatId="simple" csTypeId="urn:microsoft.com/office/officeart/2005/8/colors/accent2_2" csCatId="accent2" phldr="1"/>
      <dgm:spPr/>
      <dgm:t>
        <a:bodyPr/>
        <a:lstStyle/>
        <a:p>
          <a:endParaRPr lang="en-US"/>
        </a:p>
      </dgm:t>
    </dgm:pt>
    <dgm:pt modelId="{2B407BBF-E10D-49D4-ADC4-C4C936319F45}">
      <dgm:prSet phldrT="[Text]" custT="1"/>
      <dgm:spPr/>
      <dgm:t>
        <a:bodyPr/>
        <a:lstStyle/>
        <a:p>
          <a:pPr rtl="0"/>
          <a:r>
            <a:rPr lang="en-US" sz="2000">
              <a:latin typeface="Trebuchet MS"/>
            </a:rPr>
            <a:t>Features</a:t>
          </a:r>
          <a:endParaRPr lang="en-US" sz="1300"/>
        </a:p>
      </dgm:t>
    </dgm:pt>
    <dgm:pt modelId="{74DDAC21-A09D-4644-BA90-93C87D93DCFD}" type="parTrans" cxnId="{43EB3BA3-8E7E-47E6-886E-B9B7B676597E}">
      <dgm:prSet/>
      <dgm:spPr/>
      <dgm:t>
        <a:bodyPr/>
        <a:lstStyle/>
        <a:p>
          <a:endParaRPr lang="en-US"/>
        </a:p>
      </dgm:t>
    </dgm:pt>
    <dgm:pt modelId="{87BD3336-8813-4C80-9F0B-2E8D3D01CD6A}" type="sibTrans" cxnId="{43EB3BA3-8E7E-47E6-886E-B9B7B676597E}">
      <dgm:prSet/>
      <dgm:spPr/>
      <dgm:t>
        <a:bodyPr/>
        <a:lstStyle/>
        <a:p>
          <a:endParaRPr lang="en-US"/>
        </a:p>
      </dgm:t>
    </dgm:pt>
    <dgm:pt modelId="{921D9F10-6EA4-469D-A3D6-2FA8B9F421D4}">
      <dgm:prSet phldrT="[Text]" phldr="0" custT="1"/>
      <dgm:spPr/>
      <dgm:t>
        <a:bodyPr/>
        <a:lstStyle/>
        <a:p>
          <a:pPr rtl="0"/>
          <a:r>
            <a:rPr lang="en-US" sz="1600">
              <a:latin typeface="Trebuchet MS"/>
            </a:rPr>
            <a:t>Internal Data </a:t>
          </a:r>
        </a:p>
        <a:p>
          <a:pPr rtl="0"/>
          <a:r>
            <a:rPr lang="en-US" sz="1300">
              <a:latin typeface="Trebuchet MS"/>
            </a:rPr>
            <a:t>(Provided by Sentosa) </a:t>
          </a:r>
        </a:p>
      </dgm:t>
    </dgm:pt>
    <dgm:pt modelId="{374B108A-D4A2-4A80-886C-14D2711D64D9}" type="parTrans" cxnId="{0EE3C989-3716-4E88-B036-1A7A526EFB65}">
      <dgm:prSet/>
      <dgm:spPr/>
      <dgm:t>
        <a:bodyPr/>
        <a:lstStyle/>
        <a:p>
          <a:endParaRPr lang="en-US"/>
        </a:p>
      </dgm:t>
    </dgm:pt>
    <dgm:pt modelId="{9B57671D-B35E-4E5E-B75E-946B588954D4}" type="sibTrans" cxnId="{0EE3C989-3716-4E88-B036-1A7A526EFB65}">
      <dgm:prSet/>
      <dgm:spPr/>
      <dgm:t>
        <a:bodyPr/>
        <a:lstStyle/>
        <a:p>
          <a:endParaRPr lang="en-US"/>
        </a:p>
      </dgm:t>
    </dgm:pt>
    <dgm:pt modelId="{7D66D1BA-3244-4E9B-8415-402F3E3D256D}">
      <dgm:prSet phldr="0" custT="1"/>
      <dgm:spPr/>
      <dgm:t>
        <a:bodyPr/>
        <a:lstStyle/>
        <a:p>
          <a:pPr rtl="0"/>
          <a:r>
            <a:rPr lang="en-US" sz="1600">
              <a:latin typeface="Trebuchet MS"/>
            </a:rPr>
            <a:t> External Data</a:t>
          </a:r>
        </a:p>
      </dgm:t>
    </dgm:pt>
    <dgm:pt modelId="{125F3890-B46C-4E18-B024-9FAFB884C3B6}" type="parTrans" cxnId="{8FA3D13F-C739-46CC-BFCD-04686826926F}">
      <dgm:prSet/>
      <dgm:spPr/>
      <dgm:t>
        <a:bodyPr/>
        <a:lstStyle/>
        <a:p>
          <a:endParaRPr lang="en-SG"/>
        </a:p>
      </dgm:t>
    </dgm:pt>
    <dgm:pt modelId="{C1644C6B-4EB3-4693-ADC1-F06434C915B2}" type="sibTrans" cxnId="{8FA3D13F-C739-46CC-BFCD-04686826926F}">
      <dgm:prSet/>
      <dgm:spPr/>
      <dgm:t>
        <a:bodyPr/>
        <a:lstStyle/>
        <a:p>
          <a:endParaRPr lang="en-SG"/>
        </a:p>
      </dgm:t>
    </dgm:pt>
    <dgm:pt modelId="{8D7BA605-43F7-4B34-B283-49A3E2B9C76D}">
      <dgm:prSet phldr="0" custT="1"/>
      <dgm:spPr/>
      <dgm:t>
        <a:bodyPr/>
        <a:lstStyle/>
        <a:p>
          <a:pPr rtl="0"/>
          <a:r>
            <a:rPr lang="en-US" sz="1400">
              <a:latin typeface="Trebuchet MS"/>
            </a:rPr>
            <a:t>Ridership Data</a:t>
          </a:r>
        </a:p>
      </dgm:t>
    </dgm:pt>
    <dgm:pt modelId="{FFFC4EF6-AF4B-4358-B906-D25BA0D07825}" type="parTrans" cxnId="{E243E449-2210-4078-8358-18CA3B6C8108}">
      <dgm:prSet/>
      <dgm:spPr/>
      <dgm:t>
        <a:bodyPr/>
        <a:lstStyle/>
        <a:p>
          <a:endParaRPr lang="en-SG"/>
        </a:p>
      </dgm:t>
    </dgm:pt>
    <dgm:pt modelId="{60240213-0DF5-4AA8-94C6-8476DE2FCB95}" type="sibTrans" cxnId="{E243E449-2210-4078-8358-18CA3B6C8108}">
      <dgm:prSet/>
      <dgm:spPr/>
      <dgm:t>
        <a:bodyPr/>
        <a:lstStyle/>
        <a:p>
          <a:endParaRPr lang="en-SG"/>
        </a:p>
      </dgm:t>
    </dgm:pt>
    <dgm:pt modelId="{CBE2C7AB-6617-4EE5-B073-496CF250BAAD}">
      <dgm:prSet phldr="0" custT="1"/>
      <dgm:spPr/>
      <dgm:t>
        <a:bodyPr/>
        <a:lstStyle/>
        <a:p>
          <a:pPr rtl="0"/>
          <a:r>
            <a:rPr lang="en-US" sz="1600">
              <a:latin typeface="Trebuchet MS"/>
            </a:rPr>
            <a:t> Holiday Flag </a:t>
          </a:r>
        </a:p>
        <a:p>
          <a:pPr rtl="0"/>
          <a:r>
            <a:rPr lang="en-US" sz="1300">
              <a:latin typeface="Trebuchet MS"/>
            </a:rPr>
            <a:t>(Public Holidays, School Holidays)</a:t>
          </a:r>
        </a:p>
      </dgm:t>
    </dgm:pt>
    <dgm:pt modelId="{7C589D82-36DA-40B0-8344-FCAC680EA735}" type="parTrans" cxnId="{4E0B74AD-361B-4CAA-B029-88881EF987EB}">
      <dgm:prSet/>
      <dgm:spPr/>
      <dgm:t>
        <a:bodyPr/>
        <a:lstStyle/>
        <a:p>
          <a:endParaRPr lang="en-SG"/>
        </a:p>
      </dgm:t>
    </dgm:pt>
    <dgm:pt modelId="{E106E858-32B4-4C36-BC3E-35C3DD85BA47}" type="sibTrans" cxnId="{4E0B74AD-361B-4CAA-B029-88881EF987EB}">
      <dgm:prSet/>
      <dgm:spPr/>
      <dgm:t>
        <a:bodyPr/>
        <a:lstStyle/>
        <a:p>
          <a:endParaRPr lang="en-SG"/>
        </a:p>
      </dgm:t>
    </dgm:pt>
    <dgm:pt modelId="{9D6F5524-641C-4880-A3D1-B66718A28B97}">
      <dgm:prSet phldr="0" custT="1"/>
      <dgm:spPr/>
      <dgm:t>
        <a:bodyPr/>
        <a:lstStyle/>
        <a:p>
          <a:pPr rtl="0"/>
          <a:r>
            <a:rPr lang="en-US" sz="1400">
              <a:latin typeface="Trebuchet MS"/>
            </a:rPr>
            <a:t>Weather Data </a:t>
          </a:r>
          <a:r>
            <a:rPr lang="en-US" sz="1100">
              <a:latin typeface="Trebuchet MS"/>
            </a:rPr>
            <a:t>(weather.gov.sg)</a:t>
          </a:r>
        </a:p>
      </dgm:t>
    </dgm:pt>
    <dgm:pt modelId="{B6ABD7A9-BB03-4785-8DA3-1BBC4BBEBE4E}" type="parTrans" cxnId="{265AF77F-1B1B-41AE-8E4B-4CB0A6E2688E}">
      <dgm:prSet/>
      <dgm:spPr/>
      <dgm:t>
        <a:bodyPr/>
        <a:lstStyle/>
        <a:p>
          <a:endParaRPr lang="en-SG"/>
        </a:p>
      </dgm:t>
    </dgm:pt>
    <dgm:pt modelId="{02CFAF66-9DAD-4150-A6FF-CE1138CB7F4B}" type="sibTrans" cxnId="{265AF77F-1B1B-41AE-8E4B-4CB0A6E2688E}">
      <dgm:prSet/>
      <dgm:spPr/>
      <dgm:t>
        <a:bodyPr/>
        <a:lstStyle/>
        <a:p>
          <a:endParaRPr lang="en-SG"/>
        </a:p>
      </dgm:t>
    </dgm:pt>
    <dgm:pt modelId="{5231BFD0-BC09-4EEB-9409-C1D6F460F8A1}">
      <dgm:prSet phldr="0" custT="1"/>
      <dgm:spPr/>
      <dgm:t>
        <a:bodyPr/>
        <a:lstStyle/>
        <a:p>
          <a:pPr rtl="0"/>
          <a:r>
            <a:rPr lang="en-US" sz="1300">
              <a:latin typeface="Trebuchet MS"/>
            </a:rPr>
            <a:t>Day of Week </a:t>
          </a:r>
        </a:p>
        <a:p>
          <a:pPr rtl="0"/>
          <a:r>
            <a:rPr lang="en-US" sz="1300">
              <a:latin typeface="Trebuchet MS"/>
            </a:rPr>
            <a:t>Flag</a:t>
          </a:r>
        </a:p>
      </dgm:t>
    </dgm:pt>
    <dgm:pt modelId="{735B5C96-B3BC-43A1-926F-8385BF18FD02}" type="parTrans" cxnId="{BA0640B0-645A-4385-846E-1E8F04554410}">
      <dgm:prSet/>
      <dgm:spPr/>
      <dgm:t>
        <a:bodyPr/>
        <a:lstStyle/>
        <a:p>
          <a:endParaRPr lang="en-SG"/>
        </a:p>
      </dgm:t>
    </dgm:pt>
    <dgm:pt modelId="{34D59059-1C0A-487B-9C3D-318BC70693E3}" type="sibTrans" cxnId="{BA0640B0-645A-4385-846E-1E8F04554410}">
      <dgm:prSet/>
      <dgm:spPr/>
      <dgm:t>
        <a:bodyPr/>
        <a:lstStyle/>
        <a:p>
          <a:endParaRPr lang="en-SG"/>
        </a:p>
      </dgm:t>
    </dgm:pt>
    <dgm:pt modelId="{E2740EFC-221D-41D6-8B2D-2EEBB2CC1DAB}">
      <dgm:prSet phldr="0" custT="1"/>
      <dgm:spPr/>
      <dgm:t>
        <a:bodyPr/>
        <a:lstStyle/>
        <a:p>
          <a:pPr rtl="0"/>
          <a:r>
            <a:rPr lang="en-US" sz="1300">
              <a:latin typeface="Trebuchet MS"/>
            </a:rPr>
            <a:t>Weekend </a:t>
          </a:r>
        </a:p>
        <a:p>
          <a:pPr rtl="0"/>
          <a:r>
            <a:rPr lang="en-US" sz="1300">
              <a:latin typeface="Trebuchet MS"/>
            </a:rPr>
            <a:t>Flag</a:t>
          </a:r>
        </a:p>
      </dgm:t>
    </dgm:pt>
    <dgm:pt modelId="{E70623EA-78E3-4494-85B1-76A50DD2D521}" type="parTrans" cxnId="{39E85CBB-C155-4460-B418-ACB6054E9C42}">
      <dgm:prSet/>
      <dgm:spPr/>
      <dgm:t>
        <a:bodyPr/>
        <a:lstStyle/>
        <a:p>
          <a:endParaRPr lang="en-SG"/>
        </a:p>
      </dgm:t>
    </dgm:pt>
    <dgm:pt modelId="{A7998C02-45BE-4354-B0F3-B7BED92D3151}" type="sibTrans" cxnId="{39E85CBB-C155-4460-B418-ACB6054E9C42}">
      <dgm:prSet/>
      <dgm:spPr/>
      <dgm:t>
        <a:bodyPr/>
        <a:lstStyle/>
        <a:p>
          <a:endParaRPr lang="en-SG"/>
        </a:p>
      </dgm:t>
    </dgm:pt>
    <dgm:pt modelId="{04511269-CD7F-4C88-B15E-A79D32687DD9}">
      <dgm:prSet phldr="0" custT="1"/>
      <dgm:spPr/>
      <dgm:t>
        <a:bodyPr/>
        <a:lstStyle/>
        <a:p>
          <a:pPr rtl="0"/>
          <a:r>
            <a:rPr lang="en-US" sz="1300">
              <a:latin typeface="Trebuchet MS"/>
            </a:rPr>
            <a:t>Weekday </a:t>
          </a:r>
        </a:p>
        <a:p>
          <a:pPr rtl="0"/>
          <a:r>
            <a:rPr lang="en-US" sz="1300">
              <a:latin typeface="Trebuchet MS"/>
            </a:rPr>
            <a:t>Flag</a:t>
          </a:r>
        </a:p>
      </dgm:t>
    </dgm:pt>
    <dgm:pt modelId="{9194D665-D17F-46BF-9873-0877AFFA3813}" type="parTrans" cxnId="{1AFA23F0-D761-4551-B218-9B2D8259BE7E}">
      <dgm:prSet/>
      <dgm:spPr/>
      <dgm:t>
        <a:bodyPr/>
        <a:lstStyle/>
        <a:p>
          <a:endParaRPr lang="en-SG"/>
        </a:p>
      </dgm:t>
    </dgm:pt>
    <dgm:pt modelId="{2F972072-4AAA-47CA-AD8C-EE5F34370E48}" type="sibTrans" cxnId="{1AFA23F0-D761-4551-B218-9B2D8259BE7E}">
      <dgm:prSet/>
      <dgm:spPr/>
      <dgm:t>
        <a:bodyPr/>
        <a:lstStyle/>
        <a:p>
          <a:endParaRPr lang="en-SG"/>
        </a:p>
      </dgm:t>
    </dgm:pt>
    <dgm:pt modelId="{A195318E-6875-4E10-9D5D-9DD56D57DE8A}">
      <dgm:prSet phldr="0" custT="1"/>
      <dgm:spPr/>
      <dgm:t>
        <a:bodyPr/>
        <a:lstStyle/>
        <a:p>
          <a:r>
            <a:rPr lang="en-US" sz="1300">
              <a:latin typeface="Trebuchet MS"/>
            </a:rPr>
            <a:t>Mid-week </a:t>
          </a:r>
        </a:p>
        <a:p>
          <a:r>
            <a:rPr lang="en-US" sz="1300">
              <a:latin typeface="Trebuchet MS"/>
            </a:rPr>
            <a:t>Flag</a:t>
          </a:r>
          <a:endParaRPr lang="en-US" sz="1300"/>
        </a:p>
      </dgm:t>
    </dgm:pt>
    <dgm:pt modelId="{72F28A72-9B4E-465A-8D00-84284158A52B}" type="parTrans" cxnId="{921728C4-06E3-4FEA-AA9B-71F517E0E7A2}">
      <dgm:prSet/>
      <dgm:spPr/>
      <dgm:t>
        <a:bodyPr/>
        <a:lstStyle/>
        <a:p>
          <a:endParaRPr lang="en-SG"/>
        </a:p>
      </dgm:t>
    </dgm:pt>
    <dgm:pt modelId="{DE7579CD-DDA5-4C9B-ABF0-9267CAAE1AEE}" type="sibTrans" cxnId="{921728C4-06E3-4FEA-AA9B-71F517E0E7A2}">
      <dgm:prSet/>
      <dgm:spPr/>
      <dgm:t>
        <a:bodyPr/>
        <a:lstStyle/>
        <a:p>
          <a:endParaRPr lang="en-SG"/>
        </a:p>
      </dgm:t>
    </dgm:pt>
    <dgm:pt modelId="{EBD320BA-E1D8-43E1-9532-F5229FB103E4}">
      <dgm:prSet phldr="0" custT="1"/>
      <dgm:spPr/>
      <dgm:t>
        <a:bodyPr/>
        <a:lstStyle/>
        <a:p>
          <a:pPr rtl="0"/>
          <a:r>
            <a:rPr lang="en-US" sz="1300">
              <a:latin typeface="Trebuchet MS"/>
            </a:rPr>
            <a:t>Saturday </a:t>
          </a:r>
        </a:p>
        <a:p>
          <a:pPr rtl="0"/>
          <a:r>
            <a:rPr lang="en-US" sz="1300">
              <a:latin typeface="Trebuchet MS"/>
            </a:rPr>
            <a:t>Flag</a:t>
          </a:r>
        </a:p>
      </dgm:t>
    </dgm:pt>
    <dgm:pt modelId="{48BE8E7A-8514-4D0D-928D-3797ED1CB626}" type="parTrans" cxnId="{76EDBCAE-B877-4FD0-864D-3581D57DA321}">
      <dgm:prSet/>
      <dgm:spPr/>
      <dgm:t>
        <a:bodyPr/>
        <a:lstStyle/>
        <a:p>
          <a:endParaRPr lang="en-SG"/>
        </a:p>
      </dgm:t>
    </dgm:pt>
    <dgm:pt modelId="{52A3E73C-E63B-4CED-9CA5-53FC1D99F0B7}" type="sibTrans" cxnId="{76EDBCAE-B877-4FD0-864D-3581D57DA321}">
      <dgm:prSet/>
      <dgm:spPr/>
      <dgm:t>
        <a:bodyPr/>
        <a:lstStyle/>
        <a:p>
          <a:endParaRPr lang="en-SG"/>
        </a:p>
      </dgm:t>
    </dgm:pt>
    <dgm:pt modelId="{F7A13298-94F1-4908-B399-232188B45540}">
      <dgm:prSet phldr="0" custT="1"/>
      <dgm:spPr/>
      <dgm:t>
        <a:bodyPr/>
        <a:lstStyle/>
        <a:p>
          <a:r>
            <a:rPr lang="en-US" sz="1300">
              <a:latin typeface="Trebuchet MS"/>
            </a:rPr>
            <a:t>Sunday</a:t>
          </a:r>
        </a:p>
        <a:p>
          <a:r>
            <a:rPr lang="en-US" sz="1300">
              <a:latin typeface="Trebuchet MS"/>
            </a:rPr>
            <a:t> Flag</a:t>
          </a:r>
          <a:endParaRPr lang="en-US" sz="1300"/>
        </a:p>
      </dgm:t>
    </dgm:pt>
    <dgm:pt modelId="{0291537D-0EC9-4B54-8636-A184DF21AD4A}" type="parTrans" cxnId="{9CDE94EE-31F1-49AC-A150-C97A19D9BE36}">
      <dgm:prSet/>
      <dgm:spPr/>
      <dgm:t>
        <a:bodyPr/>
        <a:lstStyle/>
        <a:p>
          <a:endParaRPr lang="en-SG"/>
        </a:p>
      </dgm:t>
    </dgm:pt>
    <dgm:pt modelId="{E43C794D-D8AB-4FD8-B2AB-62DB4C5534BC}" type="sibTrans" cxnId="{9CDE94EE-31F1-49AC-A150-C97A19D9BE36}">
      <dgm:prSet/>
      <dgm:spPr/>
      <dgm:t>
        <a:bodyPr/>
        <a:lstStyle/>
        <a:p>
          <a:endParaRPr lang="en-SG"/>
        </a:p>
      </dgm:t>
    </dgm:pt>
    <dgm:pt modelId="{86248B53-864C-49CE-9553-C8071A9EB2A0}">
      <dgm:prSet phldr="0" custT="1"/>
      <dgm:spPr/>
      <dgm:t>
        <a:bodyPr/>
        <a:lstStyle/>
        <a:p>
          <a:pPr rtl="0"/>
          <a:r>
            <a:rPr lang="en-US" sz="1300">
              <a:latin typeface="Trebuchet MS"/>
            </a:rPr>
            <a:t>Weekday </a:t>
          </a:r>
        </a:p>
        <a:p>
          <a:pPr rtl="0"/>
          <a:r>
            <a:rPr lang="en-US" sz="1300">
              <a:latin typeface="Trebuchet MS"/>
            </a:rPr>
            <a:t>Holiday Flag</a:t>
          </a:r>
        </a:p>
      </dgm:t>
    </dgm:pt>
    <dgm:pt modelId="{48ACB221-425D-4209-AF83-3454838F433E}" type="parTrans" cxnId="{0B35FCB4-448C-4BD4-913C-77B4271CF3E5}">
      <dgm:prSet/>
      <dgm:spPr/>
      <dgm:t>
        <a:bodyPr/>
        <a:lstStyle/>
        <a:p>
          <a:endParaRPr lang="en-SG"/>
        </a:p>
      </dgm:t>
    </dgm:pt>
    <dgm:pt modelId="{91FB92B2-2530-4882-A341-18892C90EF58}" type="sibTrans" cxnId="{0B35FCB4-448C-4BD4-913C-77B4271CF3E5}">
      <dgm:prSet/>
      <dgm:spPr/>
      <dgm:t>
        <a:bodyPr/>
        <a:lstStyle/>
        <a:p>
          <a:endParaRPr lang="en-SG"/>
        </a:p>
      </dgm:t>
    </dgm:pt>
    <dgm:pt modelId="{9824F04F-DC62-42A1-BE42-9F44711318F5}">
      <dgm:prSet phldr="0" custT="1"/>
      <dgm:spPr/>
      <dgm:t>
        <a:bodyPr/>
        <a:lstStyle/>
        <a:p>
          <a:pPr rtl="0"/>
          <a:r>
            <a:rPr lang="en-US" sz="1300">
              <a:latin typeface="Trebuchet MS"/>
            </a:rPr>
            <a:t>Weekend </a:t>
          </a:r>
        </a:p>
        <a:p>
          <a:pPr rtl="0"/>
          <a:r>
            <a:rPr lang="en-US" sz="1300">
              <a:latin typeface="Trebuchet MS"/>
            </a:rPr>
            <a:t>Holiday Flag</a:t>
          </a:r>
        </a:p>
      </dgm:t>
    </dgm:pt>
    <dgm:pt modelId="{F56D1EA8-2E9F-4B5F-87F2-5003B94F967B}" type="parTrans" cxnId="{452920B7-B5C6-4A12-BF2E-038597FE1882}">
      <dgm:prSet/>
      <dgm:spPr/>
      <dgm:t>
        <a:bodyPr/>
        <a:lstStyle/>
        <a:p>
          <a:endParaRPr lang="en-SG"/>
        </a:p>
      </dgm:t>
    </dgm:pt>
    <dgm:pt modelId="{F3B95446-72E1-463D-95D3-D38A4F6D9932}" type="sibTrans" cxnId="{452920B7-B5C6-4A12-BF2E-038597FE1882}">
      <dgm:prSet/>
      <dgm:spPr/>
      <dgm:t>
        <a:bodyPr/>
        <a:lstStyle/>
        <a:p>
          <a:endParaRPr lang="en-SG"/>
        </a:p>
      </dgm:t>
    </dgm:pt>
    <dgm:pt modelId="{3641298C-2933-4B5C-88F1-9C347C27954D}">
      <dgm:prSet phldr="0" custT="1"/>
      <dgm:spPr/>
      <dgm:t>
        <a:bodyPr/>
        <a:lstStyle/>
        <a:p>
          <a:pPr rtl="0"/>
          <a:r>
            <a:rPr lang="en-US" sz="1300">
              <a:latin typeface="Trebuchet MS"/>
            </a:rPr>
            <a:t> Rain Flag</a:t>
          </a:r>
        </a:p>
      </dgm:t>
    </dgm:pt>
    <dgm:pt modelId="{C760F09F-23B5-4B49-9F44-1333D69CF2E0}" type="parTrans" cxnId="{4F237C7C-147C-46D4-B701-8B09DC6C1B60}">
      <dgm:prSet/>
      <dgm:spPr/>
      <dgm:t>
        <a:bodyPr/>
        <a:lstStyle/>
        <a:p>
          <a:endParaRPr lang="en-SG"/>
        </a:p>
      </dgm:t>
    </dgm:pt>
    <dgm:pt modelId="{81A1E2D8-FBFB-4CC4-9459-F17FC38521FB}" type="sibTrans" cxnId="{4F237C7C-147C-46D4-B701-8B09DC6C1B60}">
      <dgm:prSet/>
      <dgm:spPr/>
      <dgm:t>
        <a:bodyPr/>
        <a:lstStyle/>
        <a:p>
          <a:endParaRPr lang="en-SG"/>
        </a:p>
      </dgm:t>
    </dgm:pt>
    <dgm:pt modelId="{E1336CA2-574E-4B0C-8040-5FDC1BB28B07}">
      <dgm:prSet phldr="0" custT="1"/>
      <dgm:spPr>
        <a:solidFill>
          <a:srgbClr val="FF8400"/>
        </a:solidFill>
      </dgm:spPr>
      <dgm:t>
        <a:bodyPr/>
        <a:lstStyle/>
        <a:p>
          <a:pPr rtl="0"/>
          <a:r>
            <a:rPr lang="en-US" sz="1300" b="1">
              <a:latin typeface="Trebuchet MS"/>
            </a:rPr>
            <a:t>Average of Total Ridership </a:t>
          </a:r>
        </a:p>
        <a:p>
          <a:pPr rtl="0"/>
          <a:r>
            <a:rPr lang="en-US" sz="1300">
              <a:latin typeface="Trebuchet MS"/>
            </a:rPr>
            <a:t>(Sum of Total In &amp; Total Out/2) </a:t>
          </a:r>
        </a:p>
        <a:p>
          <a:pPr rtl="0"/>
          <a:r>
            <a:rPr lang="en-US" sz="1300" i="1">
              <a:latin typeface="Trebuchet MS"/>
            </a:rPr>
            <a:t>*Predicted Variable</a:t>
          </a:r>
        </a:p>
      </dgm:t>
    </dgm:pt>
    <dgm:pt modelId="{59E05A3B-BDBD-4BE0-B12F-4F60768F1E4A}" type="parTrans" cxnId="{37DCFC88-CC17-46DA-9C21-BCA5B1C7358E}">
      <dgm:prSet/>
      <dgm:spPr/>
      <dgm:t>
        <a:bodyPr/>
        <a:lstStyle/>
        <a:p>
          <a:endParaRPr lang="en-SG"/>
        </a:p>
      </dgm:t>
    </dgm:pt>
    <dgm:pt modelId="{7948CDA1-02F6-4960-A36D-5154108F5076}" type="sibTrans" cxnId="{37DCFC88-CC17-46DA-9C21-BCA5B1C7358E}">
      <dgm:prSet/>
      <dgm:spPr/>
      <dgm:t>
        <a:bodyPr/>
        <a:lstStyle/>
        <a:p>
          <a:endParaRPr lang="en-SG"/>
        </a:p>
      </dgm:t>
    </dgm:pt>
    <dgm:pt modelId="{37806D5C-81E4-478C-874E-69CECD87B104}">
      <dgm:prSet phldr="0" custT="1"/>
      <dgm:spPr/>
      <dgm:t>
        <a:bodyPr/>
        <a:lstStyle/>
        <a:p>
          <a:pPr rtl="0"/>
          <a:r>
            <a:rPr lang="en-US" sz="1300" b="1">
              <a:latin typeface="Trebuchet MS"/>
            </a:rPr>
            <a:t>Dates: </a:t>
          </a:r>
        </a:p>
        <a:p>
          <a:pPr rtl="0"/>
          <a:r>
            <a:rPr lang="en-US" sz="1300">
              <a:latin typeface="Trebuchet MS"/>
            </a:rPr>
            <a:t>1 Jan – 31 Mar 2021</a:t>
          </a:r>
        </a:p>
      </dgm:t>
    </dgm:pt>
    <dgm:pt modelId="{1DAD67B2-E83A-401C-AC3B-6B768F016238}" type="parTrans" cxnId="{FCFFE554-2E6E-4413-871D-DA7314D0550A}">
      <dgm:prSet/>
      <dgm:spPr/>
      <dgm:t>
        <a:bodyPr/>
        <a:lstStyle/>
        <a:p>
          <a:endParaRPr lang="en-SG"/>
        </a:p>
      </dgm:t>
    </dgm:pt>
    <dgm:pt modelId="{01B2AF76-0FC4-487B-845C-B88383401EE0}" type="sibTrans" cxnId="{FCFFE554-2E6E-4413-871D-DA7314D0550A}">
      <dgm:prSet/>
      <dgm:spPr/>
      <dgm:t>
        <a:bodyPr/>
        <a:lstStyle/>
        <a:p>
          <a:endParaRPr lang="en-SG"/>
        </a:p>
      </dgm:t>
    </dgm:pt>
    <dgm:pt modelId="{F84E7A7A-2F0E-40B3-A8EC-8CE93A41F1A0}">
      <dgm:prSet phldr="0" custT="1"/>
      <dgm:spPr/>
      <dgm:t>
        <a:bodyPr/>
        <a:lstStyle/>
        <a:p>
          <a:pPr rtl="0"/>
          <a:r>
            <a:rPr lang="en-US" sz="1300" b="1">
              <a:latin typeface="Trebuchet MS"/>
            </a:rPr>
            <a:t>Train: </a:t>
          </a:r>
        </a:p>
        <a:p>
          <a:pPr rtl="0"/>
          <a:r>
            <a:rPr lang="en-US" sz="1300">
              <a:latin typeface="Trebuchet MS"/>
            </a:rPr>
            <a:t>1 Jan – 18 Mar 2021</a:t>
          </a:r>
        </a:p>
      </dgm:t>
    </dgm:pt>
    <dgm:pt modelId="{8CD7DFFE-34AB-4FFD-B558-60DA0C928B7F}" type="parTrans" cxnId="{9F12C61C-8712-42B8-8CED-14A1EC1D927E}">
      <dgm:prSet/>
      <dgm:spPr/>
      <dgm:t>
        <a:bodyPr/>
        <a:lstStyle/>
        <a:p>
          <a:endParaRPr lang="en-SG"/>
        </a:p>
      </dgm:t>
    </dgm:pt>
    <dgm:pt modelId="{FAFF71BF-B322-47F9-B396-C5BEE72E2ED7}" type="sibTrans" cxnId="{9F12C61C-8712-42B8-8CED-14A1EC1D927E}">
      <dgm:prSet/>
      <dgm:spPr/>
      <dgm:t>
        <a:bodyPr/>
        <a:lstStyle/>
        <a:p>
          <a:endParaRPr lang="en-SG"/>
        </a:p>
      </dgm:t>
    </dgm:pt>
    <dgm:pt modelId="{B0A8F49C-9092-4F26-B064-B0128F476020}">
      <dgm:prSet phldr="0" custT="1"/>
      <dgm:spPr/>
      <dgm:t>
        <a:bodyPr/>
        <a:lstStyle/>
        <a:p>
          <a:pPr rtl="0"/>
          <a:r>
            <a:rPr lang="en-US" sz="1300" b="1">
              <a:latin typeface="Trebuchet MS"/>
            </a:rPr>
            <a:t>Test: </a:t>
          </a:r>
        </a:p>
        <a:p>
          <a:pPr rtl="0"/>
          <a:r>
            <a:rPr lang="en-US" sz="1300">
              <a:latin typeface="Trebuchet MS"/>
            </a:rPr>
            <a:t>19 – 31 Mar 2021 </a:t>
          </a:r>
        </a:p>
      </dgm:t>
    </dgm:pt>
    <dgm:pt modelId="{A470941D-0398-499C-B485-A566F52128DA}" type="parTrans" cxnId="{9868CB98-70A8-4C0C-903C-32E207B642E6}">
      <dgm:prSet/>
      <dgm:spPr/>
      <dgm:t>
        <a:bodyPr/>
        <a:lstStyle/>
        <a:p>
          <a:endParaRPr lang="en-SG"/>
        </a:p>
      </dgm:t>
    </dgm:pt>
    <dgm:pt modelId="{B3BBFFBC-F8D9-4C0F-8540-FC958F6621AF}" type="sibTrans" cxnId="{9868CB98-70A8-4C0C-903C-32E207B642E6}">
      <dgm:prSet/>
      <dgm:spPr/>
      <dgm:t>
        <a:bodyPr/>
        <a:lstStyle/>
        <a:p>
          <a:endParaRPr lang="en-SG"/>
        </a:p>
      </dgm:t>
    </dgm:pt>
    <dgm:pt modelId="{E277B549-A0E1-4E1A-B04A-887FD5B6B0E7}">
      <dgm:prSet phldr="0" custT="1"/>
      <dgm:spPr/>
      <dgm:t>
        <a:bodyPr/>
        <a:lstStyle/>
        <a:p>
          <a:pPr rtl="0"/>
          <a:r>
            <a:rPr lang="en-US" sz="1300" b="1">
              <a:latin typeface="Trebuchet MS"/>
            </a:rPr>
            <a:t>Prediction: </a:t>
          </a:r>
        </a:p>
        <a:p>
          <a:pPr rtl="0"/>
          <a:r>
            <a:rPr lang="en-US" sz="1300">
              <a:latin typeface="Trebuchet MS"/>
            </a:rPr>
            <a:t>1 – 7 Apr 2021</a:t>
          </a:r>
        </a:p>
      </dgm:t>
    </dgm:pt>
    <dgm:pt modelId="{0CEF1001-4433-4622-8820-A75396B70414}" type="parTrans" cxnId="{82C663C6-4AE3-4944-A9CD-D82C65F0F011}">
      <dgm:prSet/>
      <dgm:spPr/>
      <dgm:t>
        <a:bodyPr/>
        <a:lstStyle/>
        <a:p>
          <a:endParaRPr lang="en-SG"/>
        </a:p>
      </dgm:t>
    </dgm:pt>
    <dgm:pt modelId="{4BEAF0D3-4A9B-4B1A-AFD7-A92887372A77}" type="sibTrans" cxnId="{82C663C6-4AE3-4944-A9CD-D82C65F0F011}">
      <dgm:prSet/>
      <dgm:spPr/>
      <dgm:t>
        <a:bodyPr/>
        <a:lstStyle/>
        <a:p>
          <a:endParaRPr lang="en-SG"/>
        </a:p>
      </dgm:t>
    </dgm:pt>
    <dgm:pt modelId="{F39ACF81-B471-42F2-B9B4-FAEB38F17930}">
      <dgm:prSet phldr="0" custT="1"/>
      <dgm:spPr>
        <a:solidFill>
          <a:srgbClr val="FF8400"/>
        </a:solidFill>
      </dgm:spPr>
      <dgm:t>
        <a:bodyPr/>
        <a:lstStyle/>
        <a:p>
          <a:pPr rtl="0"/>
          <a:r>
            <a:rPr lang="en-US" sz="1300" b="1" i="0">
              <a:latin typeface="Trebuchet MS"/>
            </a:rPr>
            <a:t>Bus Frequency </a:t>
          </a:r>
        </a:p>
        <a:p>
          <a:pPr rtl="0"/>
          <a:r>
            <a:rPr lang="en-US" sz="1300" i="1">
              <a:latin typeface="Trebuchet MS"/>
            </a:rPr>
            <a:t>(Total Ridership/50)</a:t>
          </a:r>
        </a:p>
      </dgm:t>
    </dgm:pt>
    <dgm:pt modelId="{EBB9A858-B325-486C-8173-C7B05A2499DD}" type="parTrans" cxnId="{1ED671FB-13A5-4904-A22D-F16526FDE5A5}">
      <dgm:prSet/>
      <dgm:spPr/>
      <dgm:t>
        <a:bodyPr/>
        <a:lstStyle/>
        <a:p>
          <a:endParaRPr lang="en-SG"/>
        </a:p>
      </dgm:t>
    </dgm:pt>
    <dgm:pt modelId="{F74E3D17-9CEE-4E81-9207-91603CE734CD}" type="sibTrans" cxnId="{1ED671FB-13A5-4904-A22D-F16526FDE5A5}">
      <dgm:prSet/>
      <dgm:spPr/>
      <dgm:t>
        <a:bodyPr/>
        <a:lstStyle/>
        <a:p>
          <a:endParaRPr lang="en-SG"/>
        </a:p>
      </dgm:t>
    </dgm:pt>
    <dgm:pt modelId="{3A7E3F85-2A4D-4F86-BA3A-3A1220D8DAF7}">
      <dgm:prSet phldr="0" custT="1"/>
      <dgm:spPr/>
      <dgm:t>
        <a:bodyPr/>
        <a:lstStyle/>
        <a:p>
          <a:pPr rtl="0"/>
          <a:r>
            <a:rPr lang="en-US" sz="1400">
              <a:latin typeface="Trebuchet MS"/>
            </a:rPr>
            <a:t>Bus to Amenities / </a:t>
          </a:r>
        </a:p>
        <a:p>
          <a:pPr rtl="0"/>
          <a:r>
            <a:rPr lang="en-US" sz="1400">
              <a:latin typeface="Trebuchet MS"/>
            </a:rPr>
            <a:t>Attraction Details</a:t>
          </a:r>
        </a:p>
      </dgm:t>
    </dgm:pt>
    <dgm:pt modelId="{28569BA2-944E-4899-90D2-0A1891E1D06F}" type="parTrans" cxnId="{EE2E435D-F586-47FE-83C3-0F610079790D}">
      <dgm:prSet/>
      <dgm:spPr/>
      <dgm:t>
        <a:bodyPr/>
        <a:lstStyle/>
        <a:p>
          <a:endParaRPr lang="en-SG"/>
        </a:p>
      </dgm:t>
    </dgm:pt>
    <dgm:pt modelId="{53D75E8F-75E8-4298-8D06-EB499902FF0D}" type="sibTrans" cxnId="{EE2E435D-F586-47FE-83C3-0F610079790D}">
      <dgm:prSet/>
      <dgm:spPr/>
      <dgm:t>
        <a:bodyPr/>
        <a:lstStyle/>
        <a:p>
          <a:endParaRPr lang="en-SG"/>
        </a:p>
      </dgm:t>
    </dgm:pt>
    <dgm:pt modelId="{BD417481-34A1-4371-B135-E63EF8950C0B}">
      <dgm:prSet phldr="0" custT="1"/>
      <dgm:spPr/>
      <dgm:t>
        <a:bodyPr/>
        <a:lstStyle/>
        <a:p>
          <a:pPr rtl="0"/>
          <a:r>
            <a:rPr lang="en-US" sz="1400">
              <a:latin typeface="Trebuchet MS"/>
            </a:rPr>
            <a:t>Bus Routes / Bus Stops</a:t>
          </a:r>
        </a:p>
      </dgm:t>
    </dgm:pt>
    <dgm:pt modelId="{A6043590-332E-47B9-B18D-162167B0FADA}" type="parTrans" cxnId="{27391AE2-EEA1-4EEA-B7E9-BEC876D7980E}">
      <dgm:prSet/>
      <dgm:spPr/>
      <dgm:t>
        <a:bodyPr/>
        <a:lstStyle/>
        <a:p>
          <a:endParaRPr lang="en-SG"/>
        </a:p>
      </dgm:t>
    </dgm:pt>
    <dgm:pt modelId="{92DA3A49-F489-45C5-A5DB-62ED6BC1897C}" type="sibTrans" cxnId="{27391AE2-EEA1-4EEA-B7E9-BEC876D7980E}">
      <dgm:prSet/>
      <dgm:spPr/>
      <dgm:t>
        <a:bodyPr/>
        <a:lstStyle/>
        <a:p>
          <a:endParaRPr lang="en-SG"/>
        </a:p>
      </dgm:t>
    </dgm:pt>
    <dgm:pt modelId="{26549DFE-1534-4633-B2B1-49E5605A2548}" type="pres">
      <dgm:prSet presAssocID="{E42C0361-2AF4-403D-9556-EC28E8565404}" presName="hierChild1" presStyleCnt="0">
        <dgm:presLayoutVars>
          <dgm:orgChart val="1"/>
          <dgm:chPref val="1"/>
          <dgm:dir/>
          <dgm:animOne val="branch"/>
          <dgm:animLvl val="lvl"/>
          <dgm:resizeHandles/>
        </dgm:presLayoutVars>
      </dgm:prSet>
      <dgm:spPr/>
    </dgm:pt>
    <dgm:pt modelId="{F38C306E-80B9-4389-A53B-F4BACE4F9B88}" type="pres">
      <dgm:prSet presAssocID="{2B407BBF-E10D-49D4-ADC4-C4C936319F45}" presName="hierRoot1" presStyleCnt="0">
        <dgm:presLayoutVars>
          <dgm:hierBranch val="init"/>
        </dgm:presLayoutVars>
      </dgm:prSet>
      <dgm:spPr/>
    </dgm:pt>
    <dgm:pt modelId="{32342361-4138-47A3-B99E-B47EE0667514}" type="pres">
      <dgm:prSet presAssocID="{2B407BBF-E10D-49D4-ADC4-C4C936319F45}" presName="rootComposite1" presStyleCnt="0"/>
      <dgm:spPr/>
    </dgm:pt>
    <dgm:pt modelId="{7CCC9B79-2A2E-4E9B-8B25-FA4382B79E9C}" type="pres">
      <dgm:prSet presAssocID="{2B407BBF-E10D-49D4-ADC4-C4C936319F45}" presName="rootText1" presStyleLbl="node0" presStyleIdx="0" presStyleCnt="1" custScaleX="144232" custScaleY="148262">
        <dgm:presLayoutVars>
          <dgm:chPref val="3"/>
        </dgm:presLayoutVars>
      </dgm:prSet>
      <dgm:spPr/>
    </dgm:pt>
    <dgm:pt modelId="{2FB19B05-6550-4F86-8D95-E37624305099}" type="pres">
      <dgm:prSet presAssocID="{2B407BBF-E10D-49D4-ADC4-C4C936319F45}" presName="rootConnector1" presStyleLbl="node1" presStyleIdx="0" presStyleCnt="0"/>
      <dgm:spPr/>
    </dgm:pt>
    <dgm:pt modelId="{97FC22E7-04EE-461B-8D57-99113EAC0E23}" type="pres">
      <dgm:prSet presAssocID="{2B407BBF-E10D-49D4-ADC4-C4C936319F45}" presName="hierChild2" presStyleCnt="0"/>
      <dgm:spPr/>
    </dgm:pt>
    <dgm:pt modelId="{7DC4373B-0F8F-4FDB-B285-C238BFAE51E2}" type="pres">
      <dgm:prSet presAssocID="{374B108A-D4A2-4A80-886C-14D2711D64D9}" presName="Name37" presStyleLbl="parChTrans1D2" presStyleIdx="0" presStyleCnt="2"/>
      <dgm:spPr/>
    </dgm:pt>
    <dgm:pt modelId="{D80E65C5-4A65-4A50-A036-DA008FC61B1A}" type="pres">
      <dgm:prSet presAssocID="{921D9F10-6EA4-469D-A3D6-2FA8B9F421D4}" presName="hierRoot2" presStyleCnt="0">
        <dgm:presLayoutVars>
          <dgm:hierBranch val="init"/>
        </dgm:presLayoutVars>
      </dgm:prSet>
      <dgm:spPr/>
    </dgm:pt>
    <dgm:pt modelId="{9007D6C1-5DF8-47E7-9014-3596A338CB58}" type="pres">
      <dgm:prSet presAssocID="{921D9F10-6EA4-469D-A3D6-2FA8B9F421D4}" presName="rootComposite" presStyleCnt="0"/>
      <dgm:spPr/>
    </dgm:pt>
    <dgm:pt modelId="{9C3C9FFC-6CE3-4516-BB48-0B379AF3246F}" type="pres">
      <dgm:prSet presAssocID="{921D9F10-6EA4-469D-A3D6-2FA8B9F421D4}" presName="rootText" presStyleLbl="node2" presStyleIdx="0" presStyleCnt="2" custScaleX="226674" custScaleY="169862">
        <dgm:presLayoutVars>
          <dgm:chPref val="3"/>
        </dgm:presLayoutVars>
      </dgm:prSet>
      <dgm:spPr/>
    </dgm:pt>
    <dgm:pt modelId="{E4DC44BB-52EE-4F95-8B71-78BBDF92F603}" type="pres">
      <dgm:prSet presAssocID="{921D9F10-6EA4-469D-A3D6-2FA8B9F421D4}" presName="rootConnector" presStyleLbl="node2" presStyleIdx="0" presStyleCnt="2"/>
      <dgm:spPr/>
    </dgm:pt>
    <dgm:pt modelId="{3A6F3DC8-075D-4FF7-B421-14773B0AAF78}" type="pres">
      <dgm:prSet presAssocID="{921D9F10-6EA4-469D-A3D6-2FA8B9F421D4}" presName="hierChild4" presStyleCnt="0"/>
      <dgm:spPr/>
    </dgm:pt>
    <dgm:pt modelId="{EFAFBCFC-54F7-4723-8E9C-054BB94E4E0C}" type="pres">
      <dgm:prSet presAssocID="{A6043590-332E-47B9-B18D-162167B0FADA}" presName="Name37" presStyleLbl="parChTrans1D3" presStyleIdx="0" presStyleCnt="5"/>
      <dgm:spPr/>
    </dgm:pt>
    <dgm:pt modelId="{558D10C8-158C-46E7-A378-2CADB2051E33}" type="pres">
      <dgm:prSet presAssocID="{BD417481-34A1-4371-B135-E63EF8950C0B}" presName="hierRoot2" presStyleCnt="0">
        <dgm:presLayoutVars>
          <dgm:hierBranch val="init"/>
        </dgm:presLayoutVars>
      </dgm:prSet>
      <dgm:spPr/>
    </dgm:pt>
    <dgm:pt modelId="{24E1D088-2493-44C7-A467-6827E274B704}" type="pres">
      <dgm:prSet presAssocID="{BD417481-34A1-4371-B135-E63EF8950C0B}" presName="rootComposite" presStyleCnt="0"/>
      <dgm:spPr/>
    </dgm:pt>
    <dgm:pt modelId="{F1C54E49-88DF-41B8-9CE4-1580051055D3}" type="pres">
      <dgm:prSet presAssocID="{BD417481-34A1-4371-B135-E63EF8950C0B}" presName="rootText" presStyleLbl="node3" presStyleIdx="0" presStyleCnt="5" custScaleX="162554" custScaleY="155141">
        <dgm:presLayoutVars>
          <dgm:chPref val="3"/>
        </dgm:presLayoutVars>
      </dgm:prSet>
      <dgm:spPr/>
    </dgm:pt>
    <dgm:pt modelId="{D3540972-B845-4C48-8094-37895EC89941}" type="pres">
      <dgm:prSet presAssocID="{BD417481-34A1-4371-B135-E63EF8950C0B}" presName="rootConnector" presStyleLbl="node3" presStyleIdx="0" presStyleCnt="5"/>
      <dgm:spPr/>
    </dgm:pt>
    <dgm:pt modelId="{BDD70F0D-6DFA-49DE-B502-45FF7B3DF169}" type="pres">
      <dgm:prSet presAssocID="{BD417481-34A1-4371-B135-E63EF8950C0B}" presName="hierChild4" presStyleCnt="0"/>
      <dgm:spPr/>
    </dgm:pt>
    <dgm:pt modelId="{231B4D3A-C7DA-472B-90B5-B69CC3C55288}" type="pres">
      <dgm:prSet presAssocID="{BD417481-34A1-4371-B135-E63EF8950C0B}" presName="hierChild5" presStyleCnt="0"/>
      <dgm:spPr/>
    </dgm:pt>
    <dgm:pt modelId="{6AA7E17C-E2BA-4C93-BF55-38C06DB5B93F}" type="pres">
      <dgm:prSet presAssocID="{28569BA2-944E-4899-90D2-0A1891E1D06F}" presName="Name37" presStyleLbl="parChTrans1D3" presStyleIdx="1" presStyleCnt="5"/>
      <dgm:spPr/>
    </dgm:pt>
    <dgm:pt modelId="{8F0C7D37-4677-4B85-92A8-6466F4BDE9F8}" type="pres">
      <dgm:prSet presAssocID="{3A7E3F85-2A4D-4F86-BA3A-3A1220D8DAF7}" presName="hierRoot2" presStyleCnt="0">
        <dgm:presLayoutVars>
          <dgm:hierBranch val="init"/>
        </dgm:presLayoutVars>
      </dgm:prSet>
      <dgm:spPr/>
    </dgm:pt>
    <dgm:pt modelId="{94EA2C80-FCD7-4D40-8D01-9CE5EBDBD614}" type="pres">
      <dgm:prSet presAssocID="{3A7E3F85-2A4D-4F86-BA3A-3A1220D8DAF7}" presName="rootComposite" presStyleCnt="0"/>
      <dgm:spPr/>
    </dgm:pt>
    <dgm:pt modelId="{84860C82-2A77-4C4C-954F-39077C5D7E4E}" type="pres">
      <dgm:prSet presAssocID="{3A7E3F85-2A4D-4F86-BA3A-3A1220D8DAF7}" presName="rootText" presStyleLbl="node3" presStyleIdx="1" presStyleCnt="5" custScaleX="223283" custScaleY="149035">
        <dgm:presLayoutVars>
          <dgm:chPref val="3"/>
        </dgm:presLayoutVars>
      </dgm:prSet>
      <dgm:spPr/>
    </dgm:pt>
    <dgm:pt modelId="{48F201A7-6F06-4257-9116-F9BE42C6B7E1}" type="pres">
      <dgm:prSet presAssocID="{3A7E3F85-2A4D-4F86-BA3A-3A1220D8DAF7}" presName="rootConnector" presStyleLbl="node3" presStyleIdx="1" presStyleCnt="5"/>
      <dgm:spPr/>
    </dgm:pt>
    <dgm:pt modelId="{21C719F5-EADC-4E13-903A-C22B7ED989C2}" type="pres">
      <dgm:prSet presAssocID="{3A7E3F85-2A4D-4F86-BA3A-3A1220D8DAF7}" presName="hierChild4" presStyleCnt="0"/>
      <dgm:spPr/>
    </dgm:pt>
    <dgm:pt modelId="{B32A1965-FD21-4B79-B07E-793861051A89}" type="pres">
      <dgm:prSet presAssocID="{3A7E3F85-2A4D-4F86-BA3A-3A1220D8DAF7}" presName="hierChild5" presStyleCnt="0"/>
      <dgm:spPr/>
    </dgm:pt>
    <dgm:pt modelId="{AE00DE9D-DF71-45A6-B704-E8788574280F}" type="pres">
      <dgm:prSet presAssocID="{FFFC4EF6-AF4B-4358-B906-D25BA0D07825}" presName="Name37" presStyleLbl="parChTrans1D3" presStyleIdx="2" presStyleCnt="5"/>
      <dgm:spPr/>
    </dgm:pt>
    <dgm:pt modelId="{5611CEAC-5E92-4E90-ADB3-35FDD05E0586}" type="pres">
      <dgm:prSet presAssocID="{8D7BA605-43F7-4B34-B283-49A3E2B9C76D}" presName="hierRoot2" presStyleCnt="0">
        <dgm:presLayoutVars>
          <dgm:hierBranch val="init"/>
        </dgm:presLayoutVars>
      </dgm:prSet>
      <dgm:spPr/>
    </dgm:pt>
    <dgm:pt modelId="{C8112308-BE3A-4D87-ADAE-5BFA593AD577}" type="pres">
      <dgm:prSet presAssocID="{8D7BA605-43F7-4B34-B283-49A3E2B9C76D}" presName="rootComposite" presStyleCnt="0"/>
      <dgm:spPr/>
    </dgm:pt>
    <dgm:pt modelId="{563BBF97-88AD-43EB-A041-55D190C5C942}" type="pres">
      <dgm:prSet presAssocID="{8D7BA605-43F7-4B34-B283-49A3E2B9C76D}" presName="rootText" presStyleLbl="node3" presStyleIdx="2" presStyleCnt="5" custScaleX="195473" custScaleY="146260">
        <dgm:presLayoutVars>
          <dgm:chPref val="3"/>
        </dgm:presLayoutVars>
      </dgm:prSet>
      <dgm:spPr/>
    </dgm:pt>
    <dgm:pt modelId="{D3055B64-53D6-4E65-9E75-1733614931B4}" type="pres">
      <dgm:prSet presAssocID="{8D7BA605-43F7-4B34-B283-49A3E2B9C76D}" presName="rootConnector" presStyleLbl="node3" presStyleIdx="2" presStyleCnt="5"/>
      <dgm:spPr/>
    </dgm:pt>
    <dgm:pt modelId="{0EDD845F-0361-48B8-B3D3-9076DA29B511}" type="pres">
      <dgm:prSet presAssocID="{8D7BA605-43F7-4B34-B283-49A3E2B9C76D}" presName="hierChild4" presStyleCnt="0"/>
      <dgm:spPr/>
    </dgm:pt>
    <dgm:pt modelId="{617EE05D-70D2-4D75-B5AE-523D1E3A8718}" type="pres">
      <dgm:prSet presAssocID="{1DAD67B2-E83A-401C-AC3B-6B768F016238}" presName="Name37" presStyleLbl="parChTrans1D4" presStyleIdx="0" presStyleCnt="15"/>
      <dgm:spPr/>
    </dgm:pt>
    <dgm:pt modelId="{695F88A4-8E3C-454F-B3BE-CE93B98C7BBF}" type="pres">
      <dgm:prSet presAssocID="{37806D5C-81E4-478C-874E-69CECD87B104}" presName="hierRoot2" presStyleCnt="0">
        <dgm:presLayoutVars>
          <dgm:hierBranch val="init"/>
        </dgm:presLayoutVars>
      </dgm:prSet>
      <dgm:spPr/>
    </dgm:pt>
    <dgm:pt modelId="{58A436BE-2FB6-4EDD-AA77-05E738CA80AB}" type="pres">
      <dgm:prSet presAssocID="{37806D5C-81E4-478C-874E-69CECD87B104}" presName="rootComposite" presStyleCnt="0"/>
      <dgm:spPr/>
    </dgm:pt>
    <dgm:pt modelId="{E1491A5E-8513-4438-88B5-5C63769755E6}" type="pres">
      <dgm:prSet presAssocID="{37806D5C-81E4-478C-874E-69CECD87B104}" presName="rootText" presStyleLbl="node4" presStyleIdx="0" presStyleCnt="15" custScaleX="219055" custScaleY="148538">
        <dgm:presLayoutVars>
          <dgm:chPref val="3"/>
        </dgm:presLayoutVars>
      </dgm:prSet>
      <dgm:spPr/>
    </dgm:pt>
    <dgm:pt modelId="{B853B347-A2ED-4361-A30E-47356412DD52}" type="pres">
      <dgm:prSet presAssocID="{37806D5C-81E4-478C-874E-69CECD87B104}" presName="rootConnector" presStyleLbl="node4" presStyleIdx="0" presStyleCnt="15"/>
      <dgm:spPr/>
    </dgm:pt>
    <dgm:pt modelId="{F17DD39F-F92E-4750-A362-D91C876F000D}" type="pres">
      <dgm:prSet presAssocID="{37806D5C-81E4-478C-874E-69CECD87B104}" presName="hierChild4" presStyleCnt="0"/>
      <dgm:spPr/>
    </dgm:pt>
    <dgm:pt modelId="{C0DF174B-4700-47E3-ADCF-416A95A4A6CE}" type="pres">
      <dgm:prSet presAssocID="{8CD7DFFE-34AB-4FFD-B558-60DA0C928B7F}" presName="Name37" presStyleLbl="parChTrans1D4" presStyleIdx="1" presStyleCnt="15"/>
      <dgm:spPr/>
    </dgm:pt>
    <dgm:pt modelId="{55E30AF8-19C4-49FC-A434-A14C2C71D735}" type="pres">
      <dgm:prSet presAssocID="{F84E7A7A-2F0E-40B3-A8EC-8CE93A41F1A0}" presName="hierRoot2" presStyleCnt="0">
        <dgm:presLayoutVars>
          <dgm:hierBranch val="init"/>
        </dgm:presLayoutVars>
      </dgm:prSet>
      <dgm:spPr/>
    </dgm:pt>
    <dgm:pt modelId="{42B961EF-1E3B-4D14-B82D-DEB09CAEC4E9}" type="pres">
      <dgm:prSet presAssocID="{F84E7A7A-2F0E-40B3-A8EC-8CE93A41F1A0}" presName="rootComposite" presStyleCnt="0"/>
      <dgm:spPr/>
    </dgm:pt>
    <dgm:pt modelId="{F1589501-D300-4EC2-AC7C-CCC8CF90A9CB}" type="pres">
      <dgm:prSet presAssocID="{F84E7A7A-2F0E-40B3-A8EC-8CE93A41F1A0}" presName="rootText" presStyleLbl="node4" presStyleIdx="1" presStyleCnt="15" custScaleX="197518" custScaleY="167822">
        <dgm:presLayoutVars>
          <dgm:chPref val="3"/>
        </dgm:presLayoutVars>
      </dgm:prSet>
      <dgm:spPr/>
    </dgm:pt>
    <dgm:pt modelId="{73A2C89E-8577-4B90-A81A-9152CE20A29E}" type="pres">
      <dgm:prSet presAssocID="{F84E7A7A-2F0E-40B3-A8EC-8CE93A41F1A0}" presName="rootConnector" presStyleLbl="node4" presStyleIdx="1" presStyleCnt="15"/>
      <dgm:spPr/>
    </dgm:pt>
    <dgm:pt modelId="{3E7307A8-DA4B-4583-9C57-F0BC8AC2272B}" type="pres">
      <dgm:prSet presAssocID="{F84E7A7A-2F0E-40B3-A8EC-8CE93A41F1A0}" presName="hierChild4" presStyleCnt="0"/>
      <dgm:spPr/>
    </dgm:pt>
    <dgm:pt modelId="{EA186E7C-D29C-4D38-9D43-97E073B46C82}" type="pres">
      <dgm:prSet presAssocID="{F84E7A7A-2F0E-40B3-A8EC-8CE93A41F1A0}" presName="hierChild5" presStyleCnt="0"/>
      <dgm:spPr/>
    </dgm:pt>
    <dgm:pt modelId="{F38A8958-F27C-4304-8008-490181675871}" type="pres">
      <dgm:prSet presAssocID="{A470941D-0398-499C-B485-A566F52128DA}" presName="Name37" presStyleLbl="parChTrans1D4" presStyleIdx="2" presStyleCnt="15"/>
      <dgm:spPr/>
    </dgm:pt>
    <dgm:pt modelId="{5733CB26-F8A9-423E-A4E9-9001FF4EF976}" type="pres">
      <dgm:prSet presAssocID="{B0A8F49C-9092-4F26-B064-B0128F476020}" presName="hierRoot2" presStyleCnt="0">
        <dgm:presLayoutVars>
          <dgm:hierBranch val="init"/>
        </dgm:presLayoutVars>
      </dgm:prSet>
      <dgm:spPr/>
    </dgm:pt>
    <dgm:pt modelId="{7530ADBB-40B3-4F9A-B178-A3E455303E47}" type="pres">
      <dgm:prSet presAssocID="{B0A8F49C-9092-4F26-B064-B0128F476020}" presName="rootComposite" presStyleCnt="0"/>
      <dgm:spPr/>
    </dgm:pt>
    <dgm:pt modelId="{73F29504-32BA-4C64-A3F5-E6C31279FAF4}" type="pres">
      <dgm:prSet presAssocID="{B0A8F49C-9092-4F26-B064-B0128F476020}" presName="rootText" presStyleLbl="node4" presStyleIdx="2" presStyleCnt="15" custScaleX="164283" custScaleY="133100">
        <dgm:presLayoutVars>
          <dgm:chPref val="3"/>
        </dgm:presLayoutVars>
      </dgm:prSet>
      <dgm:spPr/>
    </dgm:pt>
    <dgm:pt modelId="{48EA9636-7A56-4A5A-AE0A-98725AF1E5DA}" type="pres">
      <dgm:prSet presAssocID="{B0A8F49C-9092-4F26-B064-B0128F476020}" presName="rootConnector" presStyleLbl="node4" presStyleIdx="2" presStyleCnt="15"/>
      <dgm:spPr/>
    </dgm:pt>
    <dgm:pt modelId="{06BF3DA6-3827-4721-AC87-650ECF2BA218}" type="pres">
      <dgm:prSet presAssocID="{B0A8F49C-9092-4F26-B064-B0128F476020}" presName="hierChild4" presStyleCnt="0"/>
      <dgm:spPr/>
    </dgm:pt>
    <dgm:pt modelId="{775D1FE6-1CA2-4229-8702-7F1357FE0FF5}" type="pres">
      <dgm:prSet presAssocID="{B0A8F49C-9092-4F26-B064-B0128F476020}" presName="hierChild5" presStyleCnt="0"/>
      <dgm:spPr/>
    </dgm:pt>
    <dgm:pt modelId="{6D0E8CEC-B6CC-4544-B722-B2C2FBCF3CEC}" type="pres">
      <dgm:prSet presAssocID="{0CEF1001-4433-4622-8820-A75396B70414}" presName="Name37" presStyleLbl="parChTrans1D4" presStyleIdx="3" presStyleCnt="15"/>
      <dgm:spPr/>
    </dgm:pt>
    <dgm:pt modelId="{0E7E464F-B216-4F19-A664-6CD0538F3ADE}" type="pres">
      <dgm:prSet presAssocID="{E277B549-A0E1-4E1A-B04A-887FD5B6B0E7}" presName="hierRoot2" presStyleCnt="0">
        <dgm:presLayoutVars>
          <dgm:hierBranch val="init"/>
        </dgm:presLayoutVars>
      </dgm:prSet>
      <dgm:spPr/>
    </dgm:pt>
    <dgm:pt modelId="{0E8C5277-0FB8-4FC3-B8AF-6676A8504646}" type="pres">
      <dgm:prSet presAssocID="{E277B549-A0E1-4E1A-B04A-887FD5B6B0E7}" presName="rootComposite" presStyleCnt="0"/>
      <dgm:spPr/>
    </dgm:pt>
    <dgm:pt modelId="{275CB78E-F24F-4E64-9F0B-6B4DC8C0A8D3}" type="pres">
      <dgm:prSet presAssocID="{E277B549-A0E1-4E1A-B04A-887FD5B6B0E7}" presName="rootText" presStyleLbl="node4" presStyleIdx="3" presStyleCnt="15" custScaleX="162558" custScaleY="149042">
        <dgm:presLayoutVars>
          <dgm:chPref val="3"/>
        </dgm:presLayoutVars>
      </dgm:prSet>
      <dgm:spPr/>
    </dgm:pt>
    <dgm:pt modelId="{30F8FFED-8FBB-4DD5-BF51-0DB4A2984DF6}" type="pres">
      <dgm:prSet presAssocID="{E277B549-A0E1-4E1A-B04A-887FD5B6B0E7}" presName="rootConnector" presStyleLbl="node4" presStyleIdx="3" presStyleCnt="15"/>
      <dgm:spPr/>
    </dgm:pt>
    <dgm:pt modelId="{E59D8B19-8BAA-4FC8-B9E3-DE419B3778B5}" type="pres">
      <dgm:prSet presAssocID="{E277B549-A0E1-4E1A-B04A-887FD5B6B0E7}" presName="hierChild4" presStyleCnt="0"/>
      <dgm:spPr/>
    </dgm:pt>
    <dgm:pt modelId="{A97AB4A1-E303-4F8C-A7DE-FC0D3CA491BB}" type="pres">
      <dgm:prSet presAssocID="{E277B549-A0E1-4E1A-B04A-887FD5B6B0E7}" presName="hierChild5" presStyleCnt="0"/>
      <dgm:spPr/>
    </dgm:pt>
    <dgm:pt modelId="{8124C7B7-CB3A-4F34-8EE7-64F882293DCE}" type="pres">
      <dgm:prSet presAssocID="{37806D5C-81E4-478C-874E-69CECD87B104}" presName="hierChild5" presStyleCnt="0"/>
      <dgm:spPr/>
    </dgm:pt>
    <dgm:pt modelId="{4D637F2B-344F-44C0-9B0A-1D1AD26C24F5}" type="pres">
      <dgm:prSet presAssocID="{59E05A3B-BDBD-4BE0-B12F-4F60768F1E4A}" presName="Name37" presStyleLbl="parChTrans1D4" presStyleIdx="4" presStyleCnt="15"/>
      <dgm:spPr/>
    </dgm:pt>
    <dgm:pt modelId="{A2A45B30-1AC7-4DEE-B560-EB6A4D8FB1AC}" type="pres">
      <dgm:prSet presAssocID="{E1336CA2-574E-4B0C-8040-5FDC1BB28B07}" presName="hierRoot2" presStyleCnt="0">
        <dgm:presLayoutVars>
          <dgm:hierBranch val="init"/>
        </dgm:presLayoutVars>
      </dgm:prSet>
      <dgm:spPr/>
    </dgm:pt>
    <dgm:pt modelId="{6ACC8648-C4B5-4491-8632-799D147C0B39}" type="pres">
      <dgm:prSet presAssocID="{E1336CA2-574E-4B0C-8040-5FDC1BB28B07}" presName="rootComposite" presStyleCnt="0"/>
      <dgm:spPr/>
    </dgm:pt>
    <dgm:pt modelId="{C7A6C7CE-C4F5-4BC6-A0A8-F985343462E5}" type="pres">
      <dgm:prSet presAssocID="{E1336CA2-574E-4B0C-8040-5FDC1BB28B07}" presName="rootText" presStyleLbl="node4" presStyleIdx="4" presStyleCnt="15" custScaleX="312038" custScaleY="215965">
        <dgm:presLayoutVars>
          <dgm:chPref val="3"/>
        </dgm:presLayoutVars>
      </dgm:prSet>
      <dgm:spPr/>
    </dgm:pt>
    <dgm:pt modelId="{75457FEE-0D45-49A0-A782-C870B4AB5CD6}" type="pres">
      <dgm:prSet presAssocID="{E1336CA2-574E-4B0C-8040-5FDC1BB28B07}" presName="rootConnector" presStyleLbl="node4" presStyleIdx="4" presStyleCnt="15"/>
      <dgm:spPr/>
    </dgm:pt>
    <dgm:pt modelId="{FAA2195F-DF91-4CA3-AADB-27174F1AA273}" type="pres">
      <dgm:prSet presAssocID="{E1336CA2-574E-4B0C-8040-5FDC1BB28B07}" presName="hierChild4" presStyleCnt="0"/>
      <dgm:spPr/>
    </dgm:pt>
    <dgm:pt modelId="{71FE4D4A-B131-44F3-AD3E-E42695D80DA2}" type="pres">
      <dgm:prSet presAssocID="{EBB9A858-B325-486C-8173-C7B05A2499DD}" presName="Name37" presStyleLbl="parChTrans1D4" presStyleIdx="5" presStyleCnt="15"/>
      <dgm:spPr/>
    </dgm:pt>
    <dgm:pt modelId="{6CA11D68-94BE-40DC-A318-8D90D5B4390F}" type="pres">
      <dgm:prSet presAssocID="{F39ACF81-B471-42F2-B9B4-FAEB38F17930}" presName="hierRoot2" presStyleCnt="0">
        <dgm:presLayoutVars>
          <dgm:hierBranch val="init"/>
        </dgm:presLayoutVars>
      </dgm:prSet>
      <dgm:spPr/>
    </dgm:pt>
    <dgm:pt modelId="{FE9B323D-1E65-4F7B-9032-040EBE5121BA}" type="pres">
      <dgm:prSet presAssocID="{F39ACF81-B471-42F2-B9B4-FAEB38F17930}" presName="rootComposite" presStyleCnt="0"/>
      <dgm:spPr/>
    </dgm:pt>
    <dgm:pt modelId="{9B15108C-3527-4ADE-9348-70DEF36E738E}" type="pres">
      <dgm:prSet presAssocID="{F39ACF81-B471-42F2-B9B4-FAEB38F17930}" presName="rootText" presStyleLbl="node4" presStyleIdx="5" presStyleCnt="15" custScaleX="206244" custScaleY="163953">
        <dgm:presLayoutVars>
          <dgm:chPref val="3"/>
        </dgm:presLayoutVars>
      </dgm:prSet>
      <dgm:spPr/>
    </dgm:pt>
    <dgm:pt modelId="{A6D386E4-3CDD-4455-AEC2-40A2C13A78E2}" type="pres">
      <dgm:prSet presAssocID="{F39ACF81-B471-42F2-B9B4-FAEB38F17930}" presName="rootConnector" presStyleLbl="node4" presStyleIdx="5" presStyleCnt="15"/>
      <dgm:spPr/>
    </dgm:pt>
    <dgm:pt modelId="{4903F1FC-B05A-473D-9CE6-9D87B13BC2D5}" type="pres">
      <dgm:prSet presAssocID="{F39ACF81-B471-42F2-B9B4-FAEB38F17930}" presName="hierChild4" presStyleCnt="0"/>
      <dgm:spPr/>
    </dgm:pt>
    <dgm:pt modelId="{34CB2547-BD71-46F2-9D74-7723B4F3E28F}" type="pres">
      <dgm:prSet presAssocID="{F39ACF81-B471-42F2-B9B4-FAEB38F17930}" presName="hierChild5" presStyleCnt="0"/>
      <dgm:spPr/>
    </dgm:pt>
    <dgm:pt modelId="{D932BBDD-49A2-4146-ACDA-39499D71F8FA}" type="pres">
      <dgm:prSet presAssocID="{E1336CA2-574E-4B0C-8040-5FDC1BB28B07}" presName="hierChild5" presStyleCnt="0"/>
      <dgm:spPr/>
    </dgm:pt>
    <dgm:pt modelId="{1533D59C-C7D9-441C-A6EB-8AAD259C4A7C}" type="pres">
      <dgm:prSet presAssocID="{735B5C96-B3BC-43A1-926F-8385BF18FD02}" presName="Name37" presStyleLbl="parChTrans1D4" presStyleIdx="6" presStyleCnt="15"/>
      <dgm:spPr/>
    </dgm:pt>
    <dgm:pt modelId="{B083BE6F-9445-4FBA-BB41-93BD32F99CE3}" type="pres">
      <dgm:prSet presAssocID="{5231BFD0-BC09-4EEB-9409-C1D6F460F8A1}" presName="hierRoot2" presStyleCnt="0">
        <dgm:presLayoutVars>
          <dgm:hierBranch val="init"/>
        </dgm:presLayoutVars>
      </dgm:prSet>
      <dgm:spPr/>
    </dgm:pt>
    <dgm:pt modelId="{999F2054-59AB-49CF-8904-CF1A02182ACE}" type="pres">
      <dgm:prSet presAssocID="{5231BFD0-BC09-4EEB-9409-C1D6F460F8A1}" presName="rootComposite" presStyleCnt="0"/>
      <dgm:spPr/>
    </dgm:pt>
    <dgm:pt modelId="{3F6F8835-3E01-4CBA-87F8-17629877A87D}" type="pres">
      <dgm:prSet presAssocID="{5231BFD0-BC09-4EEB-9409-C1D6F460F8A1}" presName="rootText" presStyleLbl="node4" presStyleIdx="6" presStyleCnt="15" custScaleX="145842" custScaleY="123923">
        <dgm:presLayoutVars>
          <dgm:chPref val="3"/>
        </dgm:presLayoutVars>
      </dgm:prSet>
      <dgm:spPr/>
    </dgm:pt>
    <dgm:pt modelId="{E40391C9-4216-4A1E-88DE-AB4DDA27E93D}" type="pres">
      <dgm:prSet presAssocID="{5231BFD0-BC09-4EEB-9409-C1D6F460F8A1}" presName="rootConnector" presStyleLbl="node4" presStyleIdx="6" presStyleCnt="15"/>
      <dgm:spPr/>
    </dgm:pt>
    <dgm:pt modelId="{8A9EDECE-2F0E-417B-AB14-A0A4B60150AA}" type="pres">
      <dgm:prSet presAssocID="{5231BFD0-BC09-4EEB-9409-C1D6F460F8A1}" presName="hierChild4" presStyleCnt="0"/>
      <dgm:spPr/>
    </dgm:pt>
    <dgm:pt modelId="{21B11E23-AB53-4F80-8C29-C4605835CEEB}" type="pres">
      <dgm:prSet presAssocID="{9194D665-D17F-46BF-9873-0877AFFA3813}" presName="Name37" presStyleLbl="parChTrans1D4" presStyleIdx="7" presStyleCnt="15"/>
      <dgm:spPr/>
    </dgm:pt>
    <dgm:pt modelId="{CCC03BA0-4B39-4312-878B-BF823AED693E}" type="pres">
      <dgm:prSet presAssocID="{04511269-CD7F-4C88-B15E-A79D32687DD9}" presName="hierRoot2" presStyleCnt="0">
        <dgm:presLayoutVars>
          <dgm:hierBranch val="init"/>
        </dgm:presLayoutVars>
      </dgm:prSet>
      <dgm:spPr/>
    </dgm:pt>
    <dgm:pt modelId="{360A0688-14E8-4945-85E4-7630AFFC7D8E}" type="pres">
      <dgm:prSet presAssocID="{04511269-CD7F-4C88-B15E-A79D32687DD9}" presName="rootComposite" presStyleCnt="0"/>
      <dgm:spPr/>
    </dgm:pt>
    <dgm:pt modelId="{32FD44D1-15AC-45E4-8D6B-40465314CCA3}" type="pres">
      <dgm:prSet presAssocID="{04511269-CD7F-4C88-B15E-A79D32687DD9}" presName="rootText" presStyleLbl="node4" presStyleIdx="7" presStyleCnt="15" custScaleX="134921" custScaleY="128768">
        <dgm:presLayoutVars>
          <dgm:chPref val="3"/>
        </dgm:presLayoutVars>
      </dgm:prSet>
      <dgm:spPr/>
    </dgm:pt>
    <dgm:pt modelId="{415C4986-5043-4CE0-A7CD-07ADD733CBC6}" type="pres">
      <dgm:prSet presAssocID="{04511269-CD7F-4C88-B15E-A79D32687DD9}" presName="rootConnector" presStyleLbl="node4" presStyleIdx="7" presStyleCnt="15"/>
      <dgm:spPr/>
    </dgm:pt>
    <dgm:pt modelId="{674EE2B6-6A9A-4710-A41B-F4184C99278F}" type="pres">
      <dgm:prSet presAssocID="{04511269-CD7F-4C88-B15E-A79D32687DD9}" presName="hierChild4" presStyleCnt="0"/>
      <dgm:spPr/>
    </dgm:pt>
    <dgm:pt modelId="{E380D099-B26B-473F-8A47-154E9D1E544A}" type="pres">
      <dgm:prSet presAssocID="{72F28A72-9B4E-465A-8D00-84284158A52B}" presName="Name37" presStyleLbl="parChTrans1D4" presStyleIdx="8" presStyleCnt="15"/>
      <dgm:spPr/>
    </dgm:pt>
    <dgm:pt modelId="{B0CCEE0A-E6BF-40C3-B11A-15C576624463}" type="pres">
      <dgm:prSet presAssocID="{A195318E-6875-4E10-9D5D-9DD56D57DE8A}" presName="hierRoot2" presStyleCnt="0">
        <dgm:presLayoutVars>
          <dgm:hierBranch val="init"/>
        </dgm:presLayoutVars>
      </dgm:prSet>
      <dgm:spPr/>
    </dgm:pt>
    <dgm:pt modelId="{15BE3576-4908-4153-8F99-C5522B3F2C6D}" type="pres">
      <dgm:prSet presAssocID="{A195318E-6875-4E10-9D5D-9DD56D57DE8A}" presName="rootComposite" presStyleCnt="0"/>
      <dgm:spPr/>
    </dgm:pt>
    <dgm:pt modelId="{AB0401D6-D40F-476A-94B5-F1A0BD9D8ECD}" type="pres">
      <dgm:prSet presAssocID="{A195318E-6875-4E10-9D5D-9DD56D57DE8A}" presName="rootText" presStyleLbl="node4" presStyleIdx="8" presStyleCnt="15" custScaleX="130530" custScaleY="132187">
        <dgm:presLayoutVars>
          <dgm:chPref val="3"/>
        </dgm:presLayoutVars>
      </dgm:prSet>
      <dgm:spPr/>
    </dgm:pt>
    <dgm:pt modelId="{891C9DC7-0B89-48CE-A9DA-CED4387C7212}" type="pres">
      <dgm:prSet presAssocID="{A195318E-6875-4E10-9D5D-9DD56D57DE8A}" presName="rootConnector" presStyleLbl="node4" presStyleIdx="8" presStyleCnt="15"/>
      <dgm:spPr/>
    </dgm:pt>
    <dgm:pt modelId="{6F81F615-FC37-4717-87A5-0F7C150A6945}" type="pres">
      <dgm:prSet presAssocID="{A195318E-6875-4E10-9D5D-9DD56D57DE8A}" presName="hierChild4" presStyleCnt="0"/>
      <dgm:spPr/>
    </dgm:pt>
    <dgm:pt modelId="{F5F19194-FE96-4C2C-BDA1-67014970F3AA}" type="pres">
      <dgm:prSet presAssocID="{A195318E-6875-4E10-9D5D-9DD56D57DE8A}" presName="hierChild5" presStyleCnt="0"/>
      <dgm:spPr/>
    </dgm:pt>
    <dgm:pt modelId="{9178B038-B870-4607-AB97-F0DA531DEBF3}" type="pres">
      <dgm:prSet presAssocID="{04511269-CD7F-4C88-B15E-A79D32687DD9}" presName="hierChild5" presStyleCnt="0"/>
      <dgm:spPr/>
    </dgm:pt>
    <dgm:pt modelId="{4D0D67AD-19DA-4ECA-A253-A7B25154619A}" type="pres">
      <dgm:prSet presAssocID="{E70623EA-78E3-4494-85B1-76A50DD2D521}" presName="Name37" presStyleLbl="parChTrans1D4" presStyleIdx="9" presStyleCnt="15"/>
      <dgm:spPr/>
    </dgm:pt>
    <dgm:pt modelId="{BCFA5F45-CC54-4685-B520-DBD7D18A775A}" type="pres">
      <dgm:prSet presAssocID="{E2740EFC-221D-41D6-8B2D-2EEBB2CC1DAB}" presName="hierRoot2" presStyleCnt="0">
        <dgm:presLayoutVars>
          <dgm:hierBranch val="init"/>
        </dgm:presLayoutVars>
      </dgm:prSet>
      <dgm:spPr/>
    </dgm:pt>
    <dgm:pt modelId="{4E112E6D-8220-48DF-8426-656BCEC9E686}" type="pres">
      <dgm:prSet presAssocID="{E2740EFC-221D-41D6-8B2D-2EEBB2CC1DAB}" presName="rootComposite" presStyleCnt="0"/>
      <dgm:spPr/>
    </dgm:pt>
    <dgm:pt modelId="{A80037A4-023F-4557-8F10-D3BD4D8F16AF}" type="pres">
      <dgm:prSet presAssocID="{E2740EFC-221D-41D6-8B2D-2EEBB2CC1DAB}" presName="rootText" presStyleLbl="node4" presStyleIdx="9" presStyleCnt="15" custScaleX="114299" custScaleY="150964">
        <dgm:presLayoutVars>
          <dgm:chPref val="3"/>
        </dgm:presLayoutVars>
      </dgm:prSet>
      <dgm:spPr/>
    </dgm:pt>
    <dgm:pt modelId="{EFA2B48D-0875-4D4B-A648-0AF8BFF1025E}" type="pres">
      <dgm:prSet presAssocID="{E2740EFC-221D-41D6-8B2D-2EEBB2CC1DAB}" presName="rootConnector" presStyleLbl="node4" presStyleIdx="9" presStyleCnt="15"/>
      <dgm:spPr/>
    </dgm:pt>
    <dgm:pt modelId="{C6F157B0-0DA4-42AB-940F-A165C7623492}" type="pres">
      <dgm:prSet presAssocID="{E2740EFC-221D-41D6-8B2D-2EEBB2CC1DAB}" presName="hierChild4" presStyleCnt="0"/>
      <dgm:spPr/>
    </dgm:pt>
    <dgm:pt modelId="{97416CC7-9D51-46E8-BBB9-E790E67E6B07}" type="pres">
      <dgm:prSet presAssocID="{48BE8E7A-8514-4D0D-928D-3797ED1CB626}" presName="Name37" presStyleLbl="parChTrans1D4" presStyleIdx="10" presStyleCnt="15"/>
      <dgm:spPr/>
    </dgm:pt>
    <dgm:pt modelId="{0D4CA84F-1773-4842-A1A0-28CE236D5B56}" type="pres">
      <dgm:prSet presAssocID="{EBD320BA-E1D8-43E1-9532-F5229FB103E4}" presName="hierRoot2" presStyleCnt="0">
        <dgm:presLayoutVars>
          <dgm:hierBranch val="init"/>
        </dgm:presLayoutVars>
      </dgm:prSet>
      <dgm:spPr/>
    </dgm:pt>
    <dgm:pt modelId="{D5A449D8-AF5C-4129-AA3F-65081722651B}" type="pres">
      <dgm:prSet presAssocID="{EBD320BA-E1D8-43E1-9532-F5229FB103E4}" presName="rootComposite" presStyleCnt="0"/>
      <dgm:spPr/>
    </dgm:pt>
    <dgm:pt modelId="{E00C2A3A-BF99-41B3-A61A-F31DF31E1D9B}" type="pres">
      <dgm:prSet presAssocID="{EBD320BA-E1D8-43E1-9532-F5229FB103E4}" presName="rootText" presStyleLbl="node4" presStyleIdx="10" presStyleCnt="15" custScaleX="121233" custScaleY="141390">
        <dgm:presLayoutVars>
          <dgm:chPref val="3"/>
        </dgm:presLayoutVars>
      </dgm:prSet>
      <dgm:spPr/>
    </dgm:pt>
    <dgm:pt modelId="{107A001A-3E5F-4DFE-BA02-5615BE999851}" type="pres">
      <dgm:prSet presAssocID="{EBD320BA-E1D8-43E1-9532-F5229FB103E4}" presName="rootConnector" presStyleLbl="node4" presStyleIdx="10" presStyleCnt="15"/>
      <dgm:spPr/>
    </dgm:pt>
    <dgm:pt modelId="{9E479120-F469-4F0D-AB54-765AD00A286F}" type="pres">
      <dgm:prSet presAssocID="{EBD320BA-E1D8-43E1-9532-F5229FB103E4}" presName="hierChild4" presStyleCnt="0"/>
      <dgm:spPr/>
    </dgm:pt>
    <dgm:pt modelId="{14DC5007-8563-4E9A-8057-20AF6755C4FA}" type="pres">
      <dgm:prSet presAssocID="{EBD320BA-E1D8-43E1-9532-F5229FB103E4}" presName="hierChild5" presStyleCnt="0"/>
      <dgm:spPr/>
    </dgm:pt>
    <dgm:pt modelId="{80D8E449-04C7-46A5-B564-7BBC4AA6A838}" type="pres">
      <dgm:prSet presAssocID="{0291537D-0EC9-4B54-8636-A184DF21AD4A}" presName="Name37" presStyleLbl="parChTrans1D4" presStyleIdx="11" presStyleCnt="15"/>
      <dgm:spPr/>
    </dgm:pt>
    <dgm:pt modelId="{3008CE70-D4A0-4673-9FEB-B18695CD7285}" type="pres">
      <dgm:prSet presAssocID="{F7A13298-94F1-4908-B399-232188B45540}" presName="hierRoot2" presStyleCnt="0">
        <dgm:presLayoutVars>
          <dgm:hierBranch val="init"/>
        </dgm:presLayoutVars>
      </dgm:prSet>
      <dgm:spPr/>
    </dgm:pt>
    <dgm:pt modelId="{28313C2F-A88B-4BFA-A5B3-D07BB2F60F1B}" type="pres">
      <dgm:prSet presAssocID="{F7A13298-94F1-4908-B399-232188B45540}" presName="rootComposite" presStyleCnt="0"/>
      <dgm:spPr/>
    </dgm:pt>
    <dgm:pt modelId="{CEC98FEA-A9C8-46BF-9ECC-D8B2A1E09D1B}" type="pres">
      <dgm:prSet presAssocID="{F7A13298-94F1-4908-B399-232188B45540}" presName="rootText" presStyleLbl="node4" presStyleIdx="11" presStyleCnt="15" custScaleY="160298">
        <dgm:presLayoutVars>
          <dgm:chPref val="3"/>
        </dgm:presLayoutVars>
      </dgm:prSet>
      <dgm:spPr/>
    </dgm:pt>
    <dgm:pt modelId="{DA37A591-5192-46A3-8B18-0EE62A210F25}" type="pres">
      <dgm:prSet presAssocID="{F7A13298-94F1-4908-B399-232188B45540}" presName="rootConnector" presStyleLbl="node4" presStyleIdx="11" presStyleCnt="15"/>
      <dgm:spPr/>
    </dgm:pt>
    <dgm:pt modelId="{AFBC67CA-8B9C-42B8-AC4D-4B56D1AEAA5A}" type="pres">
      <dgm:prSet presAssocID="{F7A13298-94F1-4908-B399-232188B45540}" presName="hierChild4" presStyleCnt="0"/>
      <dgm:spPr/>
    </dgm:pt>
    <dgm:pt modelId="{65684F97-FA09-44C3-B213-37D0A77E1BE3}" type="pres">
      <dgm:prSet presAssocID="{F7A13298-94F1-4908-B399-232188B45540}" presName="hierChild5" presStyleCnt="0"/>
      <dgm:spPr/>
    </dgm:pt>
    <dgm:pt modelId="{90C6DCB9-E905-46E7-B022-F8779B1F80BC}" type="pres">
      <dgm:prSet presAssocID="{E2740EFC-221D-41D6-8B2D-2EEBB2CC1DAB}" presName="hierChild5" presStyleCnt="0"/>
      <dgm:spPr/>
    </dgm:pt>
    <dgm:pt modelId="{B00EC84C-BDA8-42F4-819E-37DD9D6CED4B}" type="pres">
      <dgm:prSet presAssocID="{5231BFD0-BC09-4EEB-9409-C1D6F460F8A1}" presName="hierChild5" presStyleCnt="0"/>
      <dgm:spPr/>
    </dgm:pt>
    <dgm:pt modelId="{3ECB7C24-E518-485C-A203-816D25B87E59}" type="pres">
      <dgm:prSet presAssocID="{8D7BA605-43F7-4B34-B283-49A3E2B9C76D}" presName="hierChild5" presStyleCnt="0"/>
      <dgm:spPr/>
    </dgm:pt>
    <dgm:pt modelId="{C5254BF7-106D-435B-8786-962FFD9ADB33}" type="pres">
      <dgm:prSet presAssocID="{921D9F10-6EA4-469D-A3D6-2FA8B9F421D4}" presName="hierChild5" presStyleCnt="0"/>
      <dgm:spPr/>
    </dgm:pt>
    <dgm:pt modelId="{3AC20B5E-6098-4A47-9EF1-D51B0BA7F14A}" type="pres">
      <dgm:prSet presAssocID="{125F3890-B46C-4E18-B024-9FAFB884C3B6}" presName="Name37" presStyleLbl="parChTrans1D2" presStyleIdx="1" presStyleCnt="2"/>
      <dgm:spPr/>
    </dgm:pt>
    <dgm:pt modelId="{C33C7935-7273-4F7B-BE0C-3AF9BA94BE25}" type="pres">
      <dgm:prSet presAssocID="{7D66D1BA-3244-4E9B-8415-402F3E3D256D}" presName="hierRoot2" presStyleCnt="0">
        <dgm:presLayoutVars>
          <dgm:hierBranch val="init"/>
        </dgm:presLayoutVars>
      </dgm:prSet>
      <dgm:spPr/>
    </dgm:pt>
    <dgm:pt modelId="{CDE1020B-9BE0-463D-B36C-8F44FA1C50C0}" type="pres">
      <dgm:prSet presAssocID="{7D66D1BA-3244-4E9B-8415-402F3E3D256D}" presName="rootComposite" presStyleCnt="0"/>
      <dgm:spPr/>
    </dgm:pt>
    <dgm:pt modelId="{D7CE84D8-5A9B-4243-BFAD-A10EC40DF307}" type="pres">
      <dgm:prSet presAssocID="{7D66D1BA-3244-4E9B-8415-402F3E3D256D}" presName="rootText" presStyleLbl="node2" presStyleIdx="1" presStyleCnt="2" custScaleX="205386" custScaleY="153724">
        <dgm:presLayoutVars>
          <dgm:chPref val="3"/>
        </dgm:presLayoutVars>
      </dgm:prSet>
      <dgm:spPr/>
    </dgm:pt>
    <dgm:pt modelId="{CD7C79BE-B9FB-49F6-BABE-D511A638DBF7}" type="pres">
      <dgm:prSet presAssocID="{7D66D1BA-3244-4E9B-8415-402F3E3D256D}" presName="rootConnector" presStyleLbl="node2" presStyleIdx="1" presStyleCnt="2"/>
      <dgm:spPr/>
    </dgm:pt>
    <dgm:pt modelId="{D2208961-EE10-474B-9741-D45FF2212D3F}" type="pres">
      <dgm:prSet presAssocID="{7D66D1BA-3244-4E9B-8415-402F3E3D256D}" presName="hierChild4" presStyleCnt="0"/>
      <dgm:spPr/>
    </dgm:pt>
    <dgm:pt modelId="{F09046E2-F351-4C0E-9903-BB63930E82C8}" type="pres">
      <dgm:prSet presAssocID="{7C589D82-36DA-40B0-8344-FCAC680EA735}" presName="Name37" presStyleLbl="parChTrans1D3" presStyleIdx="3" presStyleCnt="5"/>
      <dgm:spPr/>
    </dgm:pt>
    <dgm:pt modelId="{08CD7F7B-216B-4586-B91D-0874BBDE3D00}" type="pres">
      <dgm:prSet presAssocID="{CBE2C7AB-6617-4EE5-B073-496CF250BAAD}" presName="hierRoot2" presStyleCnt="0">
        <dgm:presLayoutVars>
          <dgm:hierBranch val="init"/>
        </dgm:presLayoutVars>
      </dgm:prSet>
      <dgm:spPr/>
    </dgm:pt>
    <dgm:pt modelId="{D1447F47-51ED-4AC6-AFC5-957AB908B56A}" type="pres">
      <dgm:prSet presAssocID="{CBE2C7AB-6617-4EE5-B073-496CF250BAAD}" presName="rootComposite" presStyleCnt="0"/>
      <dgm:spPr/>
    </dgm:pt>
    <dgm:pt modelId="{90B3EEEC-4BEA-4F2C-9390-7382EBF2E384}" type="pres">
      <dgm:prSet presAssocID="{CBE2C7AB-6617-4EE5-B073-496CF250BAAD}" presName="rootText" presStyleLbl="node3" presStyleIdx="3" presStyleCnt="5" custScaleX="267886" custScaleY="185072">
        <dgm:presLayoutVars>
          <dgm:chPref val="3"/>
        </dgm:presLayoutVars>
      </dgm:prSet>
      <dgm:spPr/>
    </dgm:pt>
    <dgm:pt modelId="{9B6AE352-E2BB-4763-9C80-9275AADE2B4F}" type="pres">
      <dgm:prSet presAssocID="{CBE2C7AB-6617-4EE5-B073-496CF250BAAD}" presName="rootConnector" presStyleLbl="node3" presStyleIdx="3" presStyleCnt="5"/>
      <dgm:spPr/>
    </dgm:pt>
    <dgm:pt modelId="{28B79522-40EA-48DB-92E1-33DE2D734146}" type="pres">
      <dgm:prSet presAssocID="{CBE2C7AB-6617-4EE5-B073-496CF250BAAD}" presName="hierChild4" presStyleCnt="0"/>
      <dgm:spPr/>
    </dgm:pt>
    <dgm:pt modelId="{78382E3D-F7B7-41A6-AE23-F8106B8EA9B5}" type="pres">
      <dgm:prSet presAssocID="{48ACB221-425D-4209-AF83-3454838F433E}" presName="Name37" presStyleLbl="parChTrans1D4" presStyleIdx="12" presStyleCnt="15"/>
      <dgm:spPr/>
    </dgm:pt>
    <dgm:pt modelId="{2DA4D414-AEEA-49BA-9652-CDB5986A94D4}" type="pres">
      <dgm:prSet presAssocID="{86248B53-864C-49CE-9553-C8071A9EB2A0}" presName="hierRoot2" presStyleCnt="0">
        <dgm:presLayoutVars>
          <dgm:hierBranch val="init"/>
        </dgm:presLayoutVars>
      </dgm:prSet>
      <dgm:spPr/>
    </dgm:pt>
    <dgm:pt modelId="{C4C210AA-5A34-4BA3-88F9-AB0B0D4B6CC3}" type="pres">
      <dgm:prSet presAssocID="{86248B53-864C-49CE-9553-C8071A9EB2A0}" presName="rootComposite" presStyleCnt="0"/>
      <dgm:spPr/>
    </dgm:pt>
    <dgm:pt modelId="{8E9A9B7E-907F-4D29-AB54-4D70C869635F}" type="pres">
      <dgm:prSet presAssocID="{86248B53-864C-49CE-9553-C8071A9EB2A0}" presName="rootText" presStyleLbl="node4" presStyleIdx="12" presStyleCnt="15" custScaleX="128163" custScaleY="151942">
        <dgm:presLayoutVars>
          <dgm:chPref val="3"/>
        </dgm:presLayoutVars>
      </dgm:prSet>
      <dgm:spPr/>
    </dgm:pt>
    <dgm:pt modelId="{D3B5CCC0-61AD-4BDA-B0E1-A1D58BFA0768}" type="pres">
      <dgm:prSet presAssocID="{86248B53-864C-49CE-9553-C8071A9EB2A0}" presName="rootConnector" presStyleLbl="node4" presStyleIdx="12" presStyleCnt="15"/>
      <dgm:spPr/>
    </dgm:pt>
    <dgm:pt modelId="{E0765B0E-DE63-4B4D-99BD-3DC42B5DF482}" type="pres">
      <dgm:prSet presAssocID="{86248B53-864C-49CE-9553-C8071A9EB2A0}" presName="hierChild4" presStyleCnt="0"/>
      <dgm:spPr/>
    </dgm:pt>
    <dgm:pt modelId="{CAEAD495-8156-4CEE-9168-3BDD3043483E}" type="pres">
      <dgm:prSet presAssocID="{86248B53-864C-49CE-9553-C8071A9EB2A0}" presName="hierChild5" presStyleCnt="0"/>
      <dgm:spPr/>
    </dgm:pt>
    <dgm:pt modelId="{88DBE16A-0ACA-4FF8-9463-FDF240942B51}" type="pres">
      <dgm:prSet presAssocID="{F56D1EA8-2E9F-4B5F-87F2-5003B94F967B}" presName="Name37" presStyleLbl="parChTrans1D4" presStyleIdx="13" presStyleCnt="15"/>
      <dgm:spPr/>
    </dgm:pt>
    <dgm:pt modelId="{0C7C02DC-40A4-4E72-B1B1-A4278FD32FE2}" type="pres">
      <dgm:prSet presAssocID="{9824F04F-DC62-42A1-BE42-9F44711318F5}" presName="hierRoot2" presStyleCnt="0">
        <dgm:presLayoutVars>
          <dgm:hierBranch val="init"/>
        </dgm:presLayoutVars>
      </dgm:prSet>
      <dgm:spPr/>
    </dgm:pt>
    <dgm:pt modelId="{E8B803DA-55D5-4A5E-B99F-509B4C007DA1}" type="pres">
      <dgm:prSet presAssocID="{9824F04F-DC62-42A1-BE42-9F44711318F5}" presName="rootComposite" presStyleCnt="0"/>
      <dgm:spPr/>
    </dgm:pt>
    <dgm:pt modelId="{5AFBF90A-1D5A-47DC-ACB5-D45662A8B8FB}" type="pres">
      <dgm:prSet presAssocID="{9824F04F-DC62-42A1-BE42-9F44711318F5}" presName="rootText" presStyleLbl="node4" presStyleIdx="13" presStyleCnt="15" custScaleX="140094" custScaleY="164638">
        <dgm:presLayoutVars>
          <dgm:chPref val="3"/>
        </dgm:presLayoutVars>
      </dgm:prSet>
      <dgm:spPr/>
    </dgm:pt>
    <dgm:pt modelId="{68A42D7E-F3AA-416F-BC95-B2762E0EEBD0}" type="pres">
      <dgm:prSet presAssocID="{9824F04F-DC62-42A1-BE42-9F44711318F5}" presName="rootConnector" presStyleLbl="node4" presStyleIdx="13" presStyleCnt="15"/>
      <dgm:spPr/>
    </dgm:pt>
    <dgm:pt modelId="{1C4D1B2F-F45C-43A1-92B6-78C4E155986F}" type="pres">
      <dgm:prSet presAssocID="{9824F04F-DC62-42A1-BE42-9F44711318F5}" presName="hierChild4" presStyleCnt="0"/>
      <dgm:spPr/>
    </dgm:pt>
    <dgm:pt modelId="{73A8A17D-7001-4EED-878E-2840DA034276}" type="pres">
      <dgm:prSet presAssocID="{9824F04F-DC62-42A1-BE42-9F44711318F5}" presName="hierChild5" presStyleCnt="0"/>
      <dgm:spPr/>
    </dgm:pt>
    <dgm:pt modelId="{2794F0D2-5018-4442-80B1-53876772A39B}" type="pres">
      <dgm:prSet presAssocID="{CBE2C7AB-6617-4EE5-B073-496CF250BAAD}" presName="hierChild5" presStyleCnt="0"/>
      <dgm:spPr/>
    </dgm:pt>
    <dgm:pt modelId="{BDD18F89-A724-4748-8AE6-AAFD1C5AE2A5}" type="pres">
      <dgm:prSet presAssocID="{B6ABD7A9-BB03-4785-8DA3-1BBC4BBEBE4E}" presName="Name37" presStyleLbl="parChTrans1D3" presStyleIdx="4" presStyleCnt="5"/>
      <dgm:spPr/>
    </dgm:pt>
    <dgm:pt modelId="{9D70C5FD-35F0-463A-A07A-BE42D1C6AC49}" type="pres">
      <dgm:prSet presAssocID="{9D6F5524-641C-4880-A3D1-B66718A28B97}" presName="hierRoot2" presStyleCnt="0">
        <dgm:presLayoutVars>
          <dgm:hierBranch val="init"/>
        </dgm:presLayoutVars>
      </dgm:prSet>
      <dgm:spPr/>
    </dgm:pt>
    <dgm:pt modelId="{09743E14-78AC-4BF6-9E33-0AE477E85904}" type="pres">
      <dgm:prSet presAssocID="{9D6F5524-641C-4880-A3D1-B66718A28B97}" presName="rootComposite" presStyleCnt="0"/>
      <dgm:spPr/>
    </dgm:pt>
    <dgm:pt modelId="{78B41A26-2EB1-4E2B-884F-73A15160A423}" type="pres">
      <dgm:prSet presAssocID="{9D6F5524-641C-4880-A3D1-B66718A28B97}" presName="rootText" presStyleLbl="node3" presStyleIdx="4" presStyleCnt="5" custScaleX="168276" custScaleY="185275">
        <dgm:presLayoutVars>
          <dgm:chPref val="3"/>
        </dgm:presLayoutVars>
      </dgm:prSet>
      <dgm:spPr/>
    </dgm:pt>
    <dgm:pt modelId="{5EA00EE2-897F-43C1-909F-854EB98F8088}" type="pres">
      <dgm:prSet presAssocID="{9D6F5524-641C-4880-A3D1-B66718A28B97}" presName="rootConnector" presStyleLbl="node3" presStyleIdx="4" presStyleCnt="5"/>
      <dgm:spPr/>
    </dgm:pt>
    <dgm:pt modelId="{BD60064C-0B0E-4164-BA57-32932A09ACCD}" type="pres">
      <dgm:prSet presAssocID="{9D6F5524-641C-4880-A3D1-B66718A28B97}" presName="hierChild4" presStyleCnt="0"/>
      <dgm:spPr/>
    </dgm:pt>
    <dgm:pt modelId="{A1A9F043-3973-4633-ABFF-180F34CD04B5}" type="pres">
      <dgm:prSet presAssocID="{C760F09F-23B5-4B49-9F44-1333D69CF2E0}" presName="Name37" presStyleLbl="parChTrans1D4" presStyleIdx="14" presStyleCnt="15"/>
      <dgm:spPr/>
    </dgm:pt>
    <dgm:pt modelId="{8D76A2DE-AE2B-44FB-8BDD-57C638E96755}" type="pres">
      <dgm:prSet presAssocID="{3641298C-2933-4B5C-88F1-9C347C27954D}" presName="hierRoot2" presStyleCnt="0">
        <dgm:presLayoutVars>
          <dgm:hierBranch val="init"/>
        </dgm:presLayoutVars>
      </dgm:prSet>
      <dgm:spPr/>
    </dgm:pt>
    <dgm:pt modelId="{25B2F510-D8F0-444A-B96B-321570D81149}" type="pres">
      <dgm:prSet presAssocID="{3641298C-2933-4B5C-88F1-9C347C27954D}" presName="rootComposite" presStyleCnt="0"/>
      <dgm:spPr/>
    </dgm:pt>
    <dgm:pt modelId="{7CEFD693-E055-4C50-BFA7-0C3137723433}" type="pres">
      <dgm:prSet presAssocID="{3641298C-2933-4B5C-88F1-9C347C27954D}" presName="rootText" presStyleLbl="node4" presStyleIdx="14" presStyleCnt="15" custScaleX="108072" custScaleY="107321">
        <dgm:presLayoutVars>
          <dgm:chPref val="3"/>
        </dgm:presLayoutVars>
      </dgm:prSet>
      <dgm:spPr/>
    </dgm:pt>
    <dgm:pt modelId="{DBBBF837-32ED-41C9-AC67-6B352105A257}" type="pres">
      <dgm:prSet presAssocID="{3641298C-2933-4B5C-88F1-9C347C27954D}" presName="rootConnector" presStyleLbl="node4" presStyleIdx="14" presStyleCnt="15"/>
      <dgm:spPr/>
    </dgm:pt>
    <dgm:pt modelId="{B62922F5-2767-44AA-B09E-2C44B72BDF96}" type="pres">
      <dgm:prSet presAssocID="{3641298C-2933-4B5C-88F1-9C347C27954D}" presName="hierChild4" presStyleCnt="0"/>
      <dgm:spPr/>
    </dgm:pt>
    <dgm:pt modelId="{D68788C8-D779-496F-A0D2-46EC98CEAB43}" type="pres">
      <dgm:prSet presAssocID="{3641298C-2933-4B5C-88F1-9C347C27954D}" presName="hierChild5" presStyleCnt="0"/>
      <dgm:spPr/>
    </dgm:pt>
    <dgm:pt modelId="{A0CB5F8B-AA95-417A-B1F1-703059BA631B}" type="pres">
      <dgm:prSet presAssocID="{9D6F5524-641C-4880-A3D1-B66718A28B97}" presName="hierChild5" presStyleCnt="0"/>
      <dgm:spPr/>
    </dgm:pt>
    <dgm:pt modelId="{DE08AF67-5004-4798-BAED-A4ABA979442B}" type="pres">
      <dgm:prSet presAssocID="{7D66D1BA-3244-4E9B-8415-402F3E3D256D}" presName="hierChild5" presStyleCnt="0"/>
      <dgm:spPr/>
    </dgm:pt>
    <dgm:pt modelId="{ABF11072-C779-4BA1-857D-852D30B701F9}" type="pres">
      <dgm:prSet presAssocID="{2B407BBF-E10D-49D4-ADC4-C4C936319F45}" presName="hierChild3" presStyleCnt="0"/>
      <dgm:spPr/>
    </dgm:pt>
  </dgm:ptLst>
  <dgm:cxnLst>
    <dgm:cxn modelId="{A80FB402-1809-48B0-A62A-6227F2EE76E9}" type="presOf" srcId="{04511269-CD7F-4C88-B15E-A79D32687DD9}" destId="{32FD44D1-15AC-45E4-8D6B-40465314CCA3}" srcOrd="0" destOrd="0" presId="urn:microsoft.com/office/officeart/2005/8/layout/orgChart1"/>
    <dgm:cxn modelId="{62F6D404-F7F7-4722-AA45-146412714179}" type="presOf" srcId="{F84E7A7A-2F0E-40B3-A8EC-8CE93A41F1A0}" destId="{73A2C89E-8577-4B90-A81A-9152CE20A29E}" srcOrd="1" destOrd="0" presId="urn:microsoft.com/office/officeart/2005/8/layout/orgChart1"/>
    <dgm:cxn modelId="{D048E30D-BD53-474F-A5AC-918E46A16EAC}" type="presOf" srcId="{A195318E-6875-4E10-9D5D-9DD56D57DE8A}" destId="{AB0401D6-D40F-476A-94B5-F1A0BD9D8ECD}" srcOrd="0" destOrd="0" presId="urn:microsoft.com/office/officeart/2005/8/layout/orgChart1"/>
    <dgm:cxn modelId="{0E40AE12-E123-4FDE-A5B3-95F91F9ED569}" type="presOf" srcId="{735B5C96-B3BC-43A1-926F-8385BF18FD02}" destId="{1533D59C-C7D9-441C-A6EB-8AAD259C4A7C}" srcOrd="0" destOrd="0" presId="urn:microsoft.com/office/officeart/2005/8/layout/orgChart1"/>
    <dgm:cxn modelId="{E246F612-4C54-457E-8755-6EF721CF0B9E}" type="presOf" srcId="{E2740EFC-221D-41D6-8B2D-2EEBB2CC1DAB}" destId="{A80037A4-023F-4557-8F10-D3BD4D8F16AF}" srcOrd="0" destOrd="0" presId="urn:microsoft.com/office/officeart/2005/8/layout/orgChart1"/>
    <dgm:cxn modelId="{82BB5113-DE51-4BB3-98D4-A5CAF4002A4C}" type="presOf" srcId="{37806D5C-81E4-478C-874E-69CECD87B104}" destId="{E1491A5E-8513-4438-88B5-5C63769755E6}" srcOrd="0" destOrd="0" presId="urn:microsoft.com/office/officeart/2005/8/layout/orgChart1"/>
    <dgm:cxn modelId="{623CA115-86C3-43A9-994F-25D03077B7C9}" type="presOf" srcId="{9824F04F-DC62-42A1-BE42-9F44711318F5}" destId="{68A42D7E-F3AA-416F-BC95-B2762E0EEBD0}" srcOrd="1" destOrd="0" presId="urn:microsoft.com/office/officeart/2005/8/layout/orgChart1"/>
    <dgm:cxn modelId="{5D4FCF19-23B4-4097-9C3D-BB5991E2EE00}" type="presOf" srcId="{CBE2C7AB-6617-4EE5-B073-496CF250BAAD}" destId="{9B6AE352-E2BB-4763-9C80-9275AADE2B4F}" srcOrd="1" destOrd="0" presId="urn:microsoft.com/office/officeart/2005/8/layout/orgChart1"/>
    <dgm:cxn modelId="{5006A51A-DAD4-4966-8992-27EEFD06AFB4}" type="presOf" srcId="{72F28A72-9B4E-465A-8D00-84284158A52B}" destId="{E380D099-B26B-473F-8A47-154E9D1E544A}" srcOrd="0" destOrd="0" presId="urn:microsoft.com/office/officeart/2005/8/layout/orgChart1"/>
    <dgm:cxn modelId="{9F12C61C-8712-42B8-8CED-14A1EC1D927E}" srcId="{37806D5C-81E4-478C-874E-69CECD87B104}" destId="{F84E7A7A-2F0E-40B3-A8EC-8CE93A41F1A0}" srcOrd="0" destOrd="0" parTransId="{8CD7DFFE-34AB-4FFD-B558-60DA0C928B7F}" sibTransId="{FAFF71BF-B322-47F9-B396-C5BEE72E2ED7}"/>
    <dgm:cxn modelId="{38F3EA1E-DE85-441E-99D2-1C4F787BF468}" type="presOf" srcId="{EBB9A858-B325-486C-8173-C7B05A2499DD}" destId="{71FE4D4A-B131-44F3-AD3E-E42695D80DA2}" srcOrd="0" destOrd="0" presId="urn:microsoft.com/office/officeart/2005/8/layout/orgChart1"/>
    <dgm:cxn modelId="{9D546020-1D4C-47ED-A383-40FA352FFA5D}" type="presOf" srcId="{3641298C-2933-4B5C-88F1-9C347C27954D}" destId="{7CEFD693-E055-4C50-BFA7-0C3137723433}" srcOrd="0" destOrd="0" presId="urn:microsoft.com/office/officeart/2005/8/layout/orgChart1"/>
    <dgm:cxn modelId="{B6DA862A-CC0E-42E8-ABF3-49166008C584}" type="presOf" srcId="{A6043590-332E-47B9-B18D-162167B0FADA}" destId="{EFAFBCFC-54F7-4723-8E9C-054BB94E4E0C}" srcOrd="0" destOrd="0" presId="urn:microsoft.com/office/officeart/2005/8/layout/orgChart1"/>
    <dgm:cxn modelId="{6B5AA12B-8C9D-47A0-A80F-45F2901CAEA5}" type="presOf" srcId="{5231BFD0-BC09-4EEB-9409-C1D6F460F8A1}" destId="{3F6F8835-3E01-4CBA-87F8-17629877A87D}" srcOrd="0" destOrd="0" presId="urn:microsoft.com/office/officeart/2005/8/layout/orgChart1"/>
    <dgm:cxn modelId="{43C3842F-6AAA-4EA4-B0DE-C31717EEB109}" type="presOf" srcId="{3A7E3F85-2A4D-4F86-BA3A-3A1220D8DAF7}" destId="{48F201A7-6F06-4257-9116-F9BE42C6B7E1}" srcOrd="1" destOrd="0" presId="urn:microsoft.com/office/officeart/2005/8/layout/orgChart1"/>
    <dgm:cxn modelId="{79D4B434-3A88-442A-9BE7-1018CB8E90F6}" type="presOf" srcId="{F39ACF81-B471-42F2-B9B4-FAEB38F17930}" destId="{9B15108C-3527-4ADE-9348-70DEF36E738E}" srcOrd="0" destOrd="0" presId="urn:microsoft.com/office/officeart/2005/8/layout/orgChart1"/>
    <dgm:cxn modelId="{DCE5993B-2142-4114-AF4C-F1BA6EAA761A}" type="presOf" srcId="{921D9F10-6EA4-469D-A3D6-2FA8B9F421D4}" destId="{9C3C9FFC-6CE3-4516-BB48-0B379AF3246F}" srcOrd="0" destOrd="0" presId="urn:microsoft.com/office/officeart/2005/8/layout/orgChart1"/>
    <dgm:cxn modelId="{97F6763E-6A19-4649-B6A4-8CC44E5DE2B6}" type="presOf" srcId="{8D7BA605-43F7-4B34-B283-49A3E2B9C76D}" destId="{D3055B64-53D6-4E65-9E75-1733614931B4}" srcOrd="1" destOrd="0" presId="urn:microsoft.com/office/officeart/2005/8/layout/orgChart1"/>
    <dgm:cxn modelId="{456C0F3F-8F54-45EB-842E-4F288B6F5992}" type="presOf" srcId="{B6ABD7A9-BB03-4785-8DA3-1BBC4BBEBE4E}" destId="{BDD18F89-A724-4748-8AE6-AAFD1C5AE2A5}" srcOrd="0" destOrd="0" presId="urn:microsoft.com/office/officeart/2005/8/layout/orgChart1"/>
    <dgm:cxn modelId="{8FA3D13F-C739-46CC-BFCD-04686826926F}" srcId="{2B407BBF-E10D-49D4-ADC4-C4C936319F45}" destId="{7D66D1BA-3244-4E9B-8415-402F3E3D256D}" srcOrd="1" destOrd="0" parTransId="{125F3890-B46C-4E18-B024-9FAFB884C3B6}" sibTransId="{C1644C6B-4EB3-4693-ADC1-F06434C915B2}"/>
    <dgm:cxn modelId="{EE2E435D-F586-47FE-83C3-0F610079790D}" srcId="{921D9F10-6EA4-469D-A3D6-2FA8B9F421D4}" destId="{3A7E3F85-2A4D-4F86-BA3A-3A1220D8DAF7}" srcOrd="1" destOrd="0" parTransId="{28569BA2-944E-4899-90D2-0A1891E1D06F}" sibTransId="{53D75E8F-75E8-4298-8D06-EB499902FF0D}"/>
    <dgm:cxn modelId="{892CBF44-B4E6-460C-BBEE-4F36C5E15612}" type="presOf" srcId="{86248B53-864C-49CE-9553-C8071A9EB2A0}" destId="{D3B5CCC0-61AD-4BDA-B0E1-A1D58BFA0768}" srcOrd="1" destOrd="0" presId="urn:microsoft.com/office/officeart/2005/8/layout/orgChart1"/>
    <dgm:cxn modelId="{F240AC45-F17E-4E55-B48C-DCC761F8AF27}" type="presOf" srcId="{F7A13298-94F1-4908-B399-232188B45540}" destId="{DA37A591-5192-46A3-8B18-0EE62A210F25}" srcOrd="1" destOrd="0" presId="urn:microsoft.com/office/officeart/2005/8/layout/orgChart1"/>
    <dgm:cxn modelId="{0AAEC645-88E7-4BB2-A799-851854AE8E65}" type="presOf" srcId="{86248B53-864C-49CE-9553-C8071A9EB2A0}" destId="{8E9A9B7E-907F-4D29-AB54-4D70C869635F}" srcOrd="0" destOrd="0" presId="urn:microsoft.com/office/officeart/2005/8/layout/orgChart1"/>
    <dgm:cxn modelId="{5AC4BA48-0653-4420-B274-D129FD2DBB27}" type="presOf" srcId="{A195318E-6875-4E10-9D5D-9DD56D57DE8A}" destId="{891C9DC7-0B89-48CE-A9DA-CED4387C7212}" srcOrd="1" destOrd="0" presId="urn:microsoft.com/office/officeart/2005/8/layout/orgChart1"/>
    <dgm:cxn modelId="{13664449-EDE6-4FAD-B4B0-159FD78A33E1}" type="presOf" srcId="{921D9F10-6EA4-469D-A3D6-2FA8B9F421D4}" destId="{E4DC44BB-52EE-4F95-8B71-78BBDF92F603}" srcOrd="1" destOrd="0" presId="urn:microsoft.com/office/officeart/2005/8/layout/orgChart1"/>
    <dgm:cxn modelId="{E243E449-2210-4078-8358-18CA3B6C8108}" srcId="{921D9F10-6EA4-469D-A3D6-2FA8B9F421D4}" destId="{8D7BA605-43F7-4B34-B283-49A3E2B9C76D}" srcOrd="2" destOrd="0" parTransId="{FFFC4EF6-AF4B-4358-B906-D25BA0D07825}" sibTransId="{60240213-0DF5-4AA8-94C6-8476DE2FCB95}"/>
    <dgm:cxn modelId="{63D6666A-DECC-4FE5-83CA-5D8EFDD076E8}" type="presOf" srcId="{3A7E3F85-2A4D-4F86-BA3A-3A1220D8DAF7}" destId="{84860C82-2A77-4C4C-954F-39077C5D7E4E}" srcOrd="0" destOrd="0" presId="urn:microsoft.com/office/officeart/2005/8/layout/orgChart1"/>
    <dgm:cxn modelId="{A2ABEE4A-C59A-4A5F-A738-435174D4BD5A}" type="presOf" srcId="{374B108A-D4A2-4A80-886C-14D2711D64D9}" destId="{7DC4373B-0F8F-4FDB-B285-C238BFAE51E2}" srcOrd="0" destOrd="0" presId="urn:microsoft.com/office/officeart/2005/8/layout/orgChart1"/>
    <dgm:cxn modelId="{1221FF6A-22DE-43EC-AFFF-0A262C0BA214}" type="presOf" srcId="{F7A13298-94F1-4908-B399-232188B45540}" destId="{CEC98FEA-A9C8-46BF-9ECC-D8B2A1E09D1B}" srcOrd="0" destOrd="0" presId="urn:microsoft.com/office/officeart/2005/8/layout/orgChart1"/>
    <dgm:cxn modelId="{59EE764D-A6BE-47DE-9E8D-A7FBC772F2A2}" type="presOf" srcId="{7D66D1BA-3244-4E9B-8415-402F3E3D256D}" destId="{D7CE84D8-5A9B-4243-BFAD-A10EC40DF307}" srcOrd="0" destOrd="0" presId="urn:microsoft.com/office/officeart/2005/8/layout/orgChart1"/>
    <dgm:cxn modelId="{CF268551-F335-4A78-B6B9-8C34915B8783}" type="presOf" srcId="{E70623EA-78E3-4494-85B1-76A50DD2D521}" destId="{4D0D67AD-19DA-4ECA-A253-A7B25154619A}" srcOrd="0" destOrd="0" presId="urn:microsoft.com/office/officeart/2005/8/layout/orgChart1"/>
    <dgm:cxn modelId="{CA66FE52-D150-4BA1-B97A-752CB9146D34}" type="presOf" srcId="{E1336CA2-574E-4B0C-8040-5FDC1BB28B07}" destId="{C7A6C7CE-C4F5-4BC6-A0A8-F985343462E5}" srcOrd="0" destOrd="0" presId="urn:microsoft.com/office/officeart/2005/8/layout/orgChart1"/>
    <dgm:cxn modelId="{143CCB53-51B9-4D50-8B33-56F6DE67316C}" type="presOf" srcId="{F56D1EA8-2E9F-4B5F-87F2-5003B94F967B}" destId="{88DBE16A-0ACA-4FF8-9463-FDF240942B51}" srcOrd="0" destOrd="0" presId="urn:microsoft.com/office/officeart/2005/8/layout/orgChart1"/>
    <dgm:cxn modelId="{FCFFE554-2E6E-4413-871D-DA7314D0550A}" srcId="{8D7BA605-43F7-4B34-B283-49A3E2B9C76D}" destId="{37806D5C-81E4-478C-874E-69CECD87B104}" srcOrd="0" destOrd="0" parTransId="{1DAD67B2-E83A-401C-AC3B-6B768F016238}" sibTransId="{01B2AF76-0FC4-487B-845C-B88383401EE0}"/>
    <dgm:cxn modelId="{C6CE0057-E9B9-4FB3-ABDC-22A16633B18B}" type="presOf" srcId="{28569BA2-944E-4899-90D2-0A1891E1D06F}" destId="{6AA7E17C-E2BA-4C93-BF55-38C06DB5B93F}" srcOrd="0" destOrd="0" presId="urn:microsoft.com/office/officeart/2005/8/layout/orgChart1"/>
    <dgm:cxn modelId="{89601C57-E7C3-47C7-B533-7FD2766B5A58}" type="presOf" srcId="{37806D5C-81E4-478C-874E-69CECD87B104}" destId="{B853B347-A2ED-4361-A30E-47356412DD52}" srcOrd="1" destOrd="0" presId="urn:microsoft.com/office/officeart/2005/8/layout/orgChart1"/>
    <dgm:cxn modelId="{9C688177-12BB-469D-AE44-B080FD4EE552}" type="presOf" srcId="{E277B549-A0E1-4E1A-B04A-887FD5B6B0E7}" destId="{30F8FFED-8FBB-4DD5-BF51-0DB4A2984DF6}" srcOrd="1" destOrd="0" presId="urn:microsoft.com/office/officeart/2005/8/layout/orgChart1"/>
    <dgm:cxn modelId="{ABBB7A78-121C-4832-A757-AE8634123D21}" type="presOf" srcId="{9824F04F-DC62-42A1-BE42-9F44711318F5}" destId="{5AFBF90A-1D5A-47DC-ACB5-D45662A8B8FB}" srcOrd="0" destOrd="0" presId="urn:microsoft.com/office/officeart/2005/8/layout/orgChart1"/>
    <dgm:cxn modelId="{49CC8258-2907-43A9-B942-129EBC52D324}" type="presOf" srcId="{CBE2C7AB-6617-4EE5-B073-496CF250BAAD}" destId="{90B3EEEC-4BEA-4F2C-9390-7382EBF2E384}" srcOrd="0" destOrd="0" presId="urn:microsoft.com/office/officeart/2005/8/layout/orgChart1"/>
    <dgm:cxn modelId="{06ACAC79-A8B1-40B7-B87B-12927845AC3E}" type="presOf" srcId="{2B407BBF-E10D-49D4-ADC4-C4C936319F45}" destId="{7CCC9B79-2A2E-4E9B-8B25-FA4382B79E9C}" srcOrd="0" destOrd="0" presId="urn:microsoft.com/office/officeart/2005/8/layout/orgChart1"/>
    <dgm:cxn modelId="{60FC387A-872B-4EDB-95BC-D0B1DFA724AD}" type="presOf" srcId="{8D7BA605-43F7-4B34-B283-49A3E2B9C76D}" destId="{563BBF97-88AD-43EB-A041-55D190C5C942}" srcOrd="0" destOrd="0" presId="urn:microsoft.com/office/officeart/2005/8/layout/orgChart1"/>
    <dgm:cxn modelId="{7CFE537B-657C-4015-B157-CC6FE39B7FAC}" type="presOf" srcId="{48BE8E7A-8514-4D0D-928D-3797ED1CB626}" destId="{97416CC7-9D51-46E8-BBB9-E790E67E6B07}" srcOrd="0" destOrd="0" presId="urn:microsoft.com/office/officeart/2005/8/layout/orgChart1"/>
    <dgm:cxn modelId="{02A7A67B-BC23-4B23-8FDD-364EE8724FF2}" type="presOf" srcId="{8CD7DFFE-34AB-4FFD-B558-60DA0C928B7F}" destId="{C0DF174B-4700-47E3-ADCF-416A95A4A6CE}" srcOrd="0" destOrd="0" presId="urn:microsoft.com/office/officeart/2005/8/layout/orgChart1"/>
    <dgm:cxn modelId="{4F237C7C-147C-46D4-B701-8B09DC6C1B60}" srcId="{9D6F5524-641C-4880-A3D1-B66718A28B97}" destId="{3641298C-2933-4B5C-88F1-9C347C27954D}" srcOrd="0" destOrd="0" parTransId="{C760F09F-23B5-4B49-9F44-1333D69CF2E0}" sibTransId="{81A1E2D8-FBFB-4CC4-9459-F17FC38521FB}"/>
    <dgm:cxn modelId="{265AF77F-1B1B-41AE-8E4B-4CB0A6E2688E}" srcId="{7D66D1BA-3244-4E9B-8415-402F3E3D256D}" destId="{9D6F5524-641C-4880-A3D1-B66718A28B97}" srcOrd="1" destOrd="0" parTransId="{B6ABD7A9-BB03-4785-8DA3-1BBC4BBEBE4E}" sibTransId="{02CFAF66-9DAD-4150-A6FF-CE1138CB7F4B}"/>
    <dgm:cxn modelId="{72012280-A35D-4345-BDCA-C97609FBD93F}" type="presOf" srcId="{E42C0361-2AF4-403D-9556-EC28E8565404}" destId="{26549DFE-1534-4633-B2B1-49E5605A2548}" srcOrd="0" destOrd="0" presId="urn:microsoft.com/office/officeart/2005/8/layout/orgChart1"/>
    <dgm:cxn modelId="{D4ABB083-F822-4892-8D95-9E672D88532F}" type="presOf" srcId="{0291537D-0EC9-4B54-8636-A184DF21AD4A}" destId="{80D8E449-04C7-46A5-B564-7BBC4AA6A838}" srcOrd="0" destOrd="0" presId="urn:microsoft.com/office/officeart/2005/8/layout/orgChart1"/>
    <dgm:cxn modelId="{C582BA84-4612-4CE7-B4EF-45235A09E4A8}" type="presOf" srcId="{59E05A3B-BDBD-4BE0-B12F-4F60768F1E4A}" destId="{4D637F2B-344F-44C0-9B0A-1D1AD26C24F5}" srcOrd="0" destOrd="0" presId="urn:microsoft.com/office/officeart/2005/8/layout/orgChart1"/>
    <dgm:cxn modelId="{37DCFC88-CC17-46DA-9C21-BCA5B1C7358E}" srcId="{8D7BA605-43F7-4B34-B283-49A3E2B9C76D}" destId="{E1336CA2-574E-4B0C-8040-5FDC1BB28B07}" srcOrd="1" destOrd="0" parTransId="{59E05A3B-BDBD-4BE0-B12F-4F60768F1E4A}" sibTransId="{7948CDA1-02F6-4960-A36D-5154108F5076}"/>
    <dgm:cxn modelId="{0EE3C989-3716-4E88-B036-1A7A526EFB65}" srcId="{2B407BBF-E10D-49D4-ADC4-C4C936319F45}" destId="{921D9F10-6EA4-469D-A3D6-2FA8B9F421D4}" srcOrd="0" destOrd="0" parTransId="{374B108A-D4A2-4A80-886C-14D2711D64D9}" sibTransId="{9B57671D-B35E-4E5E-B75E-946B588954D4}"/>
    <dgm:cxn modelId="{0C987993-A9CA-4DA0-8CEF-73C0AD2C2BAA}" type="presOf" srcId="{BD417481-34A1-4371-B135-E63EF8950C0B}" destId="{F1C54E49-88DF-41B8-9CE4-1580051055D3}" srcOrd="0" destOrd="0" presId="urn:microsoft.com/office/officeart/2005/8/layout/orgChart1"/>
    <dgm:cxn modelId="{294E5E98-B64A-45DC-9E4C-195BC1FA7B1E}" type="presOf" srcId="{EBD320BA-E1D8-43E1-9532-F5229FB103E4}" destId="{E00C2A3A-BF99-41B3-A61A-F31DF31E1D9B}" srcOrd="0" destOrd="0" presId="urn:microsoft.com/office/officeart/2005/8/layout/orgChart1"/>
    <dgm:cxn modelId="{9868CB98-70A8-4C0C-903C-32E207B642E6}" srcId="{37806D5C-81E4-478C-874E-69CECD87B104}" destId="{B0A8F49C-9092-4F26-B064-B0128F476020}" srcOrd="1" destOrd="0" parTransId="{A470941D-0398-499C-B485-A566F52128DA}" sibTransId="{B3BBFFBC-F8D9-4C0F-8540-FC958F6621AF}"/>
    <dgm:cxn modelId="{B4DFB899-56B1-414C-9836-7244F4571803}" type="presOf" srcId="{E277B549-A0E1-4E1A-B04A-887FD5B6B0E7}" destId="{275CB78E-F24F-4E64-9F0B-6B4DC8C0A8D3}" srcOrd="0" destOrd="0" presId="urn:microsoft.com/office/officeart/2005/8/layout/orgChart1"/>
    <dgm:cxn modelId="{DEFD209B-88C7-43D2-AB83-1CFA69ACC523}" type="presOf" srcId="{F39ACF81-B471-42F2-B9B4-FAEB38F17930}" destId="{A6D386E4-3CDD-4455-AEC2-40A2C13A78E2}" srcOrd="1" destOrd="0" presId="urn:microsoft.com/office/officeart/2005/8/layout/orgChart1"/>
    <dgm:cxn modelId="{43EB3BA3-8E7E-47E6-886E-B9B7B676597E}" srcId="{E42C0361-2AF4-403D-9556-EC28E8565404}" destId="{2B407BBF-E10D-49D4-ADC4-C4C936319F45}" srcOrd="0" destOrd="0" parTransId="{74DDAC21-A09D-4644-BA90-93C87D93DCFD}" sibTransId="{87BD3336-8813-4C80-9F0B-2E8D3D01CD6A}"/>
    <dgm:cxn modelId="{4E0B74AD-361B-4CAA-B029-88881EF987EB}" srcId="{7D66D1BA-3244-4E9B-8415-402F3E3D256D}" destId="{CBE2C7AB-6617-4EE5-B073-496CF250BAAD}" srcOrd="0" destOrd="0" parTransId="{7C589D82-36DA-40B0-8344-FCAC680EA735}" sibTransId="{E106E858-32B4-4C36-BC3E-35C3DD85BA47}"/>
    <dgm:cxn modelId="{76EDBCAE-B877-4FD0-864D-3581D57DA321}" srcId="{E2740EFC-221D-41D6-8B2D-2EEBB2CC1DAB}" destId="{EBD320BA-E1D8-43E1-9532-F5229FB103E4}" srcOrd="0" destOrd="0" parTransId="{48BE8E7A-8514-4D0D-928D-3797ED1CB626}" sibTransId="{52A3E73C-E63B-4CED-9CA5-53FC1D99F0B7}"/>
    <dgm:cxn modelId="{BA0640B0-645A-4385-846E-1E8F04554410}" srcId="{8D7BA605-43F7-4B34-B283-49A3E2B9C76D}" destId="{5231BFD0-BC09-4EEB-9409-C1D6F460F8A1}" srcOrd="2" destOrd="0" parTransId="{735B5C96-B3BC-43A1-926F-8385BF18FD02}" sibTransId="{34D59059-1C0A-487B-9C3D-318BC70693E3}"/>
    <dgm:cxn modelId="{CFB25CB0-CAF7-4EB6-A1F9-9905574D23CE}" type="presOf" srcId="{B0A8F49C-9092-4F26-B064-B0128F476020}" destId="{48EA9636-7A56-4A5A-AE0A-98725AF1E5DA}" srcOrd="1" destOrd="0" presId="urn:microsoft.com/office/officeart/2005/8/layout/orgChart1"/>
    <dgm:cxn modelId="{50B83AB4-7150-441F-ADBE-398C06CDE874}" type="presOf" srcId="{EBD320BA-E1D8-43E1-9532-F5229FB103E4}" destId="{107A001A-3E5F-4DFE-BA02-5615BE999851}" srcOrd="1" destOrd="0" presId="urn:microsoft.com/office/officeart/2005/8/layout/orgChart1"/>
    <dgm:cxn modelId="{0B35FCB4-448C-4BD4-913C-77B4271CF3E5}" srcId="{CBE2C7AB-6617-4EE5-B073-496CF250BAAD}" destId="{86248B53-864C-49CE-9553-C8071A9EB2A0}" srcOrd="0" destOrd="0" parTransId="{48ACB221-425D-4209-AF83-3454838F433E}" sibTransId="{91FB92B2-2530-4882-A341-18892C90EF58}"/>
    <dgm:cxn modelId="{452920B7-B5C6-4A12-BF2E-038597FE1882}" srcId="{CBE2C7AB-6617-4EE5-B073-496CF250BAAD}" destId="{9824F04F-DC62-42A1-BE42-9F44711318F5}" srcOrd="1" destOrd="0" parTransId="{F56D1EA8-2E9F-4B5F-87F2-5003B94F967B}" sibTransId="{F3B95446-72E1-463D-95D3-D38A4F6D9932}"/>
    <dgm:cxn modelId="{F58B6FB9-8C90-4EC2-A54D-6595D9FB9DD0}" type="presOf" srcId="{2B407BBF-E10D-49D4-ADC4-C4C936319F45}" destId="{2FB19B05-6550-4F86-8D95-E37624305099}" srcOrd="1" destOrd="0" presId="urn:microsoft.com/office/officeart/2005/8/layout/orgChart1"/>
    <dgm:cxn modelId="{39E85CBB-C155-4460-B418-ACB6054E9C42}" srcId="{5231BFD0-BC09-4EEB-9409-C1D6F460F8A1}" destId="{E2740EFC-221D-41D6-8B2D-2EEBB2CC1DAB}" srcOrd="1" destOrd="0" parTransId="{E70623EA-78E3-4494-85B1-76A50DD2D521}" sibTransId="{A7998C02-45BE-4354-B0F3-B7BED92D3151}"/>
    <dgm:cxn modelId="{195E0CBD-B428-417F-8E5B-32140DD0667B}" type="presOf" srcId="{FFFC4EF6-AF4B-4358-B906-D25BA0D07825}" destId="{AE00DE9D-DF71-45A6-B704-E8788574280F}" srcOrd="0" destOrd="0" presId="urn:microsoft.com/office/officeart/2005/8/layout/orgChart1"/>
    <dgm:cxn modelId="{921728C4-06E3-4FEA-AA9B-71F517E0E7A2}" srcId="{04511269-CD7F-4C88-B15E-A79D32687DD9}" destId="{A195318E-6875-4E10-9D5D-9DD56D57DE8A}" srcOrd="0" destOrd="0" parTransId="{72F28A72-9B4E-465A-8D00-84284158A52B}" sibTransId="{DE7579CD-DDA5-4C9B-ABF0-9267CAAE1AEE}"/>
    <dgm:cxn modelId="{A1B340C4-6B0F-4BDF-A229-6B63D5784E3A}" type="presOf" srcId="{F84E7A7A-2F0E-40B3-A8EC-8CE93A41F1A0}" destId="{F1589501-D300-4EC2-AC7C-CCC8CF90A9CB}" srcOrd="0" destOrd="0" presId="urn:microsoft.com/office/officeart/2005/8/layout/orgChart1"/>
    <dgm:cxn modelId="{82C663C6-4AE3-4944-A9CD-D82C65F0F011}" srcId="{37806D5C-81E4-478C-874E-69CECD87B104}" destId="{E277B549-A0E1-4E1A-B04A-887FD5B6B0E7}" srcOrd="2" destOrd="0" parTransId="{0CEF1001-4433-4622-8820-A75396B70414}" sibTransId="{4BEAF0D3-4A9B-4B1A-AFD7-A92887372A77}"/>
    <dgm:cxn modelId="{B1B1A5CB-1E81-4D2D-823F-823BAB9B36DE}" type="presOf" srcId="{C760F09F-23B5-4B49-9F44-1333D69CF2E0}" destId="{A1A9F043-3973-4633-ABFF-180F34CD04B5}" srcOrd="0" destOrd="0" presId="urn:microsoft.com/office/officeart/2005/8/layout/orgChart1"/>
    <dgm:cxn modelId="{4715A0CD-CC99-414A-8017-329696337FB2}" type="presOf" srcId="{5231BFD0-BC09-4EEB-9409-C1D6F460F8A1}" destId="{E40391C9-4216-4A1E-88DE-AB4DDA27E93D}" srcOrd="1" destOrd="0" presId="urn:microsoft.com/office/officeart/2005/8/layout/orgChart1"/>
    <dgm:cxn modelId="{44E641CE-D26B-40B2-B185-8FD848735801}" type="presOf" srcId="{04511269-CD7F-4C88-B15E-A79D32687DD9}" destId="{415C4986-5043-4CE0-A7CD-07ADD733CBC6}" srcOrd="1" destOrd="0" presId="urn:microsoft.com/office/officeart/2005/8/layout/orgChart1"/>
    <dgm:cxn modelId="{8082C8D1-1BEC-4358-8AF0-1F005A24DBEC}" type="presOf" srcId="{7C589D82-36DA-40B0-8344-FCAC680EA735}" destId="{F09046E2-F351-4C0E-9903-BB63930E82C8}" srcOrd="0" destOrd="0" presId="urn:microsoft.com/office/officeart/2005/8/layout/orgChart1"/>
    <dgm:cxn modelId="{28AE54D6-CB82-45FA-A3E1-BD572E6E3D73}" type="presOf" srcId="{7D66D1BA-3244-4E9B-8415-402F3E3D256D}" destId="{CD7C79BE-B9FB-49F6-BABE-D511A638DBF7}" srcOrd="1" destOrd="0" presId="urn:microsoft.com/office/officeart/2005/8/layout/orgChart1"/>
    <dgm:cxn modelId="{BCFF95D6-D604-4B2E-904B-2ADE9721FC6D}" type="presOf" srcId="{E1336CA2-574E-4B0C-8040-5FDC1BB28B07}" destId="{75457FEE-0D45-49A0-A782-C870B4AB5CD6}" srcOrd="1" destOrd="0" presId="urn:microsoft.com/office/officeart/2005/8/layout/orgChart1"/>
    <dgm:cxn modelId="{00DE12DB-C67D-4985-BC74-B17A52073D36}" type="presOf" srcId="{BD417481-34A1-4371-B135-E63EF8950C0B}" destId="{D3540972-B845-4C48-8094-37895EC89941}" srcOrd="1" destOrd="0" presId="urn:microsoft.com/office/officeart/2005/8/layout/orgChart1"/>
    <dgm:cxn modelId="{27391AE2-EEA1-4EEA-B7E9-BEC876D7980E}" srcId="{921D9F10-6EA4-469D-A3D6-2FA8B9F421D4}" destId="{BD417481-34A1-4371-B135-E63EF8950C0B}" srcOrd="0" destOrd="0" parTransId="{A6043590-332E-47B9-B18D-162167B0FADA}" sibTransId="{92DA3A49-F489-45C5-A5DB-62ED6BC1897C}"/>
    <dgm:cxn modelId="{6A25E3E5-EAC3-49FB-B470-CDE86CE5EAA0}" type="presOf" srcId="{1DAD67B2-E83A-401C-AC3B-6B768F016238}" destId="{617EE05D-70D2-4D75-B5AE-523D1E3A8718}" srcOrd="0" destOrd="0" presId="urn:microsoft.com/office/officeart/2005/8/layout/orgChart1"/>
    <dgm:cxn modelId="{1C9228EA-10DA-42AF-958D-CF1A9491ED52}" type="presOf" srcId="{9194D665-D17F-46BF-9873-0877AFFA3813}" destId="{21B11E23-AB53-4F80-8C29-C4605835CEEB}" srcOrd="0" destOrd="0" presId="urn:microsoft.com/office/officeart/2005/8/layout/orgChart1"/>
    <dgm:cxn modelId="{2E9C83EB-57D2-4DAF-8D85-2110C1F191BC}" type="presOf" srcId="{9D6F5524-641C-4880-A3D1-B66718A28B97}" destId="{78B41A26-2EB1-4E2B-884F-73A15160A423}" srcOrd="0" destOrd="0" presId="urn:microsoft.com/office/officeart/2005/8/layout/orgChart1"/>
    <dgm:cxn modelId="{5C5CBEEC-93FE-4D40-AEFC-F100F1D64905}" type="presOf" srcId="{9D6F5524-641C-4880-A3D1-B66718A28B97}" destId="{5EA00EE2-897F-43C1-909F-854EB98F8088}" srcOrd="1" destOrd="0" presId="urn:microsoft.com/office/officeart/2005/8/layout/orgChart1"/>
    <dgm:cxn modelId="{B7B9FDEC-C0CD-4825-8786-987B1FEFD2BC}" type="presOf" srcId="{0CEF1001-4433-4622-8820-A75396B70414}" destId="{6D0E8CEC-B6CC-4544-B722-B2C2FBCF3CEC}" srcOrd="0" destOrd="0" presId="urn:microsoft.com/office/officeart/2005/8/layout/orgChart1"/>
    <dgm:cxn modelId="{9CDE94EE-31F1-49AC-A150-C97A19D9BE36}" srcId="{E2740EFC-221D-41D6-8B2D-2EEBB2CC1DAB}" destId="{F7A13298-94F1-4908-B399-232188B45540}" srcOrd="1" destOrd="0" parTransId="{0291537D-0EC9-4B54-8636-A184DF21AD4A}" sibTransId="{E43C794D-D8AB-4FD8-B2AB-62DB4C5534BC}"/>
    <dgm:cxn modelId="{1AFA23F0-D761-4551-B218-9B2D8259BE7E}" srcId="{5231BFD0-BC09-4EEB-9409-C1D6F460F8A1}" destId="{04511269-CD7F-4C88-B15E-A79D32687DD9}" srcOrd="0" destOrd="0" parTransId="{9194D665-D17F-46BF-9873-0877AFFA3813}" sibTransId="{2F972072-4AAA-47CA-AD8C-EE5F34370E48}"/>
    <dgm:cxn modelId="{13297EF3-5905-41D8-B8C6-DB40B59530A6}" type="presOf" srcId="{B0A8F49C-9092-4F26-B064-B0128F476020}" destId="{73F29504-32BA-4C64-A3F5-E6C31279FAF4}" srcOrd="0" destOrd="0" presId="urn:microsoft.com/office/officeart/2005/8/layout/orgChart1"/>
    <dgm:cxn modelId="{719F3FF6-FC92-4418-9DA7-314415ED9AB7}" type="presOf" srcId="{125F3890-B46C-4E18-B024-9FAFB884C3B6}" destId="{3AC20B5E-6098-4A47-9EF1-D51B0BA7F14A}" srcOrd="0" destOrd="0" presId="urn:microsoft.com/office/officeart/2005/8/layout/orgChart1"/>
    <dgm:cxn modelId="{3273F5F7-5E3F-49DF-9991-2B43790372E2}" type="presOf" srcId="{48ACB221-425D-4209-AF83-3454838F433E}" destId="{78382E3D-F7B7-41A6-AE23-F8106B8EA9B5}" srcOrd="0" destOrd="0" presId="urn:microsoft.com/office/officeart/2005/8/layout/orgChart1"/>
    <dgm:cxn modelId="{1ED671FB-13A5-4904-A22D-F16526FDE5A5}" srcId="{E1336CA2-574E-4B0C-8040-5FDC1BB28B07}" destId="{F39ACF81-B471-42F2-B9B4-FAEB38F17930}" srcOrd="0" destOrd="0" parTransId="{EBB9A858-B325-486C-8173-C7B05A2499DD}" sibTransId="{F74E3D17-9CEE-4E81-9207-91603CE734CD}"/>
    <dgm:cxn modelId="{C47277FB-A8E6-4DC2-BBB1-617C6C80E31B}" type="presOf" srcId="{3641298C-2933-4B5C-88F1-9C347C27954D}" destId="{DBBBF837-32ED-41C9-AC67-6B352105A257}" srcOrd="1" destOrd="0" presId="urn:microsoft.com/office/officeart/2005/8/layout/orgChart1"/>
    <dgm:cxn modelId="{B02DDEFD-DBD8-4080-87E1-65CD62928EAC}" type="presOf" srcId="{A470941D-0398-499C-B485-A566F52128DA}" destId="{F38A8958-F27C-4304-8008-490181675871}" srcOrd="0" destOrd="0" presId="urn:microsoft.com/office/officeart/2005/8/layout/orgChart1"/>
    <dgm:cxn modelId="{2A4EE8FD-4980-480B-BC60-67A9876CF413}" type="presOf" srcId="{E2740EFC-221D-41D6-8B2D-2EEBB2CC1DAB}" destId="{EFA2B48D-0875-4D4B-A648-0AF8BFF1025E}" srcOrd="1" destOrd="0" presId="urn:microsoft.com/office/officeart/2005/8/layout/orgChart1"/>
    <dgm:cxn modelId="{FC24323E-8B17-490D-AE8B-D10577C4C1D2}" type="presParOf" srcId="{26549DFE-1534-4633-B2B1-49E5605A2548}" destId="{F38C306E-80B9-4389-A53B-F4BACE4F9B88}" srcOrd="0" destOrd="0" presId="urn:microsoft.com/office/officeart/2005/8/layout/orgChart1"/>
    <dgm:cxn modelId="{248ED9AA-6719-4876-9367-1AFB656FE323}" type="presParOf" srcId="{F38C306E-80B9-4389-A53B-F4BACE4F9B88}" destId="{32342361-4138-47A3-B99E-B47EE0667514}" srcOrd="0" destOrd="0" presId="urn:microsoft.com/office/officeart/2005/8/layout/orgChart1"/>
    <dgm:cxn modelId="{6E51E323-82B3-44AC-B553-5CA515A2E762}" type="presParOf" srcId="{32342361-4138-47A3-B99E-B47EE0667514}" destId="{7CCC9B79-2A2E-4E9B-8B25-FA4382B79E9C}" srcOrd="0" destOrd="0" presId="urn:microsoft.com/office/officeart/2005/8/layout/orgChart1"/>
    <dgm:cxn modelId="{DFF929E3-AE63-49DF-BBFE-FC36F88E33E5}" type="presParOf" srcId="{32342361-4138-47A3-B99E-B47EE0667514}" destId="{2FB19B05-6550-4F86-8D95-E37624305099}" srcOrd="1" destOrd="0" presId="urn:microsoft.com/office/officeart/2005/8/layout/orgChart1"/>
    <dgm:cxn modelId="{EA68564B-FE1B-48D0-9FF5-351F3863F76F}" type="presParOf" srcId="{F38C306E-80B9-4389-A53B-F4BACE4F9B88}" destId="{97FC22E7-04EE-461B-8D57-99113EAC0E23}" srcOrd="1" destOrd="0" presId="urn:microsoft.com/office/officeart/2005/8/layout/orgChart1"/>
    <dgm:cxn modelId="{D05F8842-19ED-48F7-A493-3795C1520315}" type="presParOf" srcId="{97FC22E7-04EE-461B-8D57-99113EAC0E23}" destId="{7DC4373B-0F8F-4FDB-B285-C238BFAE51E2}" srcOrd="0" destOrd="0" presId="urn:microsoft.com/office/officeart/2005/8/layout/orgChart1"/>
    <dgm:cxn modelId="{A60B16C9-336E-4614-9C9C-6E6B403A2081}" type="presParOf" srcId="{97FC22E7-04EE-461B-8D57-99113EAC0E23}" destId="{D80E65C5-4A65-4A50-A036-DA008FC61B1A}" srcOrd="1" destOrd="0" presId="urn:microsoft.com/office/officeart/2005/8/layout/orgChart1"/>
    <dgm:cxn modelId="{1C9E0861-8D7E-4F28-BFC1-CDF715E0F93C}" type="presParOf" srcId="{D80E65C5-4A65-4A50-A036-DA008FC61B1A}" destId="{9007D6C1-5DF8-47E7-9014-3596A338CB58}" srcOrd="0" destOrd="0" presId="urn:microsoft.com/office/officeart/2005/8/layout/orgChart1"/>
    <dgm:cxn modelId="{CDA6D129-1DE2-47B9-ACA6-33EC10EB3660}" type="presParOf" srcId="{9007D6C1-5DF8-47E7-9014-3596A338CB58}" destId="{9C3C9FFC-6CE3-4516-BB48-0B379AF3246F}" srcOrd="0" destOrd="0" presId="urn:microsoft.com/office/officeart/2005/8/layout/orgChart1"/>
    <dgm:cxn modelId="{4CE3F15E-0A16-4A9A-A77E-3E7E4B08C246}" type="presParOf" srcId="{9007D6C1-5DF8-47E7-9014-3596A338CB58}" destId="{E4DC44BB-52EE-4F95-8B71-78BBDF92F603}" srcOrd="1" destOrd="0" presId="urn:microsoft.com/office/officeart/2005/8/layout/orgChart1"/>
    <dgm:cxn modelId="{F3D3651D-E42A-46E4-8F8B-ADADC8F2A11D}" type="presParOf" srcId="{D80E65C5-4A65-4A50-A036-DA008FC61B1A}" destId="{3A6F3DC8-075D-4FF7-B421-14773B0AAF78}" srcOrd="1" destOrd="0" presId="urn:microsoft.com/office/officeart/2005/8/layout/orgChart1"/>
    <dgm:cxn modelId="{5B3BFD59-70F3-4C6D-A3CE-97C58C21DDC1}" type="presParOf" srcId="{3A6F3DC8-075D-4FF7-B421-14773B0AAF78}" destId="{EFAFBCFC-54F7-4723-8E9C-054BB94E4E0C}" srcOrd="0" destOrd="0" presId="urn:microsoft.com/office/officeart/2005/8/layout/orgChart1"/>
    <dgm:cxn modelId="{A3A17FFA-2762-4AEF-835F-3EB0C044E087}" type="presParOf" srcId="{3A6F3DC8-075D-4FF7-B421-14773B0AAF78}" destId="{558D10C8-158C-46E7-A378-2CADB2051E33}" srcOrd="1" destOrd="0" presId="urn:microsoft.com/office/officeart/2005/8/layout/orgChart1"/>
    <dgm:cxn modelId="{CB965653-E8A8-4220-8489-561EF316FDC6}" type="presParOf" srcId="{558D10C8-158C-46E7-A378-2CADB2051E33}" destId="{24E1D088-2493-44C7-A467-6827E274B704}" srcOrd="0" destOrd="0" presId="urn:microsoft.com/office/officeart/2005/8/layout/orgChart1"/>
    <dgm:cxn modelId="{B1C7E3C4-547D-468C-AB50-A37D1A2A6281}" type="presParOf" srcId="{24E1D088-2493-44C7-A467-6827E274B704}" destId="{F1C54E49-88DF-41B8-9CE4-1580051055D3}" srcOrd="0" destOrd="0" presId="urn:microsoft.com/office/officeart/2005/8/layout/orgChart1"/>
    <dgm:cxn modelId="{2BDFF210-9FCB-4DE9-A2A3-BD97CF669C08}" type="presParOf" srcId="{24E1D088-2493-44C7-A467-6827E274B704}" destId="{D3540972-B845-4C48-8094-37895EC89941}" srcOrd="1" destOrd="0" presId="urn:microsoft.com/office/officeart/2005/8/layout/orgChart1"/>
    <dgm:cxn modelId="{D681B642-74A6-47C9-9370-09F4EAA16687}" type="presParOf" srcId="{558D10C8-158C-46E7-A378-2CADB2051E33}" destId="{BDD70F0D-6DFA-49DE-B502-45FF7B3DF169}" srcOrd="1" destOrd="0" presId="urn:microsoft.com/office/officeart/2005/8/layout/orgChart1"/>
    <dgm:cxn modelId="{70801E2D-BA96-41EF-8143-936D798AC622}" type="presParOf" srcId="{558D10C8-158C-46E7-A378-2CADB2051E33}" destId="{231B4D3A-C7DA-472B-90B5-B69CC3C55288}" srcOrd="2" destOrd="0" presId="urn:microsoft.com/office/officeart/2005/8/layout/orgChart1"/>
    <dgm:cxn modelId="{064C5C0C-71BF-4359-B877-20486243B184}" type="presParOf" srcId="{3A6F3DC8-075D-4FF7-B421-14773B0AAF78}" destId="{6AA7E17C-E2BA-4C93-BF55-38C06DB5B93F}" srcOrd="2" destOrd="0" presId="urn:microsoft.com/office/officeart/2005/8/layout/orgChart1"/>
    <dgm:cxn modelId="{5EA03122-C5D8-407A-ABB5-BA3A63381E6D}" type="presParOf" srcId="{3A6F3DC8-075D-4FF7-B421-14773B0AAF78}" destId="{8F0C7D37-4677-4B85-92A8-6466F4BDE9F8}" srcOrd="3" destOrd="0" presId="urn:microsoft.com/office/officeart/2005/8/layout/orgChart1"/>
    <dgm:cxn modelId="{60582763-710B-4FB8-9186-7B5268EA3D87}" type="presParOf" srcId="{8F0C7D37-4677-4B85-92A8-6466F4BDE9F8}" destId="{94EA2C80-FCD7-4D40-8D01-9CE5EBDBD614}" srcOrd="0" destOrd="0" presId="urn:microsoft.com/office/officeart/2005/8/layout/orgChart1"/>
    <dgm:cxn modelId="{30FFFF14-5E63-411F-B07B-9776D3BB8638}" type="presParOf" srcId="{94EA2C80-FCD7-4D40-8D01-9CE5EBDBD614}" destId="{84860C82-2A77-4C4C-954F-39077C5D7E4E}" srcOrd="0" destOrd="0" presId="urn:microsoft.com/office/officeart/2005/8/layout/orgChart1"/>
    <dgm:cxn modelId="{66BD317D-8E02-4416-97A6-880A2976119C}" type="presParOf" srcId="{94EA2C80-FCD7-4D40-8D01-9CE5EBDBD614}" destId="{48F201A7-6F06-4257-9116-F9BE42C6B7E1}" srcOrd="1" destOrd="0" presId="urn:microsoft.com/office/officeart/2005/8/layout/orgChart1"/>
    <dgm:cxn modelId="{E31A12A0-54EB-4E6B-9AFE-D6AEF3D99A73}" type="presParOf" srcId="{8F0C7D37-4677-4B85-92A8-6466F4BDE9F8}" destId="{21C719F5-EADC-4E13-903A-C22B7ED989C2}" srcOrd="1" destOrd="0" presId="urn:microsoft.com/office/officeart/2005/8/layout/orgChart1"/>
    <dgm:cxn modelId="{8F7D5714-C64D-4D08-B1B9-90EE768492B8}" type="presParOf" srcId="{8F0C7D37-4677-4B85-92A8-6466F4BDE9F8}" destId="{B32A1965-FD21-4B79-B07E-793861051A89}" srcOrd="2" destOrd="0" presId="urn:microsoft.com/office/officeart/2005/8/layout/orgChart1"/>
    <dgm:cxn modelId="{CF61DC4D-B8FB-4BE0-9BE9-6DA168B3AC69}" type="presParOf" srcId="{3A6F3DC8-075D-4FF7-B421-14773B0AAF78}" destId="{AE00DE9D-DF71-45A6-B704-E8788574280F}" srcOrd="4" destOrd="0" presId="urn:microsoft.com/office/officeart/2005/8/layout/orgChart1"/>
    <dgm:cxn modelId="{92558DCE-236B-4B71-B794-BAC28DF27451}" type="presParOf" srcId="{3A6F3DC8-075D-4FF7-B421-14773B0AAF78}" destId="{5611CEAC-5E92-4E90-ADB3-35FDD05E0586}" srcOrd="5" destOrd="0" presId="urn:microsoft.com/office/officeart/2005/8/layout/orgChart1"/>
    <dgm:cxn modelId="{47C46894-B272-4F91-AD4F-D5196CC7094C}" type="presParOf" srcId="{5611CEAC-5E92-4E90-ADB3-35FDD05E0586}" destId="{C8112308-BE3A-4D87-ADAE-5BFA593AD577}" srcOrd="0" destOrd="0" presId="urn:microsoft.com/office/officeart/2005/8/layout/orgChart1"/>
    <dgm:cxn modelId="{C37FB202-515C-4FE6-AB2D-F46DFDBB3208}" type="presParOf" srcId="{C8112308-BE3A-4D87-ADAE-5BFA593AD577}" destId="{563BBF97-88AD-43EB-A041-55D190C5C942}" srcOrd="0" destOrd="0" presId="urn:microsoft.com/office/officeart/2005/8/layout/orgChart1"/>
    <dgm:cxn modelId="{01A21A0C-99AD-46E1-ACF5-CCF7608CD40D}" type="presParOf" srcId="{C8112308-BE3A-4D87-ADAE-5BFA593AD577}" destId="{D3055B64-53D6-4E65-9E75-1733614931B4}" srcOrd="1" destOrd="0" presId="urn:microsoft.com/office/officeart/2005/8/layout/orgChart1"/>
    <dgm:cxn modelId="{CC60FEF7-0DFB-44B8-BDFF-930E6BE5CA0B}" type="presParOf" srcId="{5611CEAC-5E92-4E90-ADB3-35FDD05E0586}" destId="{0EDD845F-0361-48B8-B3D3-9076DA29B511}" srcOrd="1" destOrd="0" presId="urn:microsoft.com/office/officeart/2005/8/layout/orgChart1"/>
    <dgm:cxn modelId="{E47C804A-E051-415C-9835-133F745EDF40}" type="presParOf" srcId="{0EDD845F-0361-48B8-B3D3-9076DA29B511}" destId="{617EE05D-70D2-4D75-B5AE-523D1E3A8718}" srcOrd="0" destOrd="0" presId="urn:microsoft.com/office/officeart/2005/8/layout/orgChart1"/>
    <dgm:cxn modelId="{75620986-7FFC-46D2-9665-238AF7A18259}" type="presParOf" srcId="{0EDD845F-0361-48B8-B3D3-9076DA29B511}" destId="{695F88A4-8E3C-454F-B3BE-CE93B98C7BBF}" srcOrd="1" destOrd="0" presId="urn:microsoft.com/office/officeart/2005/8/layout/orgChart1"/>
    <dgm:cxn modelId="{A1F6DC62-8023-4EBF-862B-C897BAC263EF}" type="presParOf" srcId="{695F88A4-8E3C-454F-B3BE-CE93B98C7BBF}" destId="{58A436BE-2FB6-4EDD-AA77-05E738CA80AB}" srcOrd="0" destOrd="0" presId="urn:microsoft.com/office/officeart/2005/8/layout/orgChart1"/>
    <dgm:cxn modelId="{39E45BB1-0E40-432B-9C4B-3B2C8A9E0FE5}" type="presParOf" srcId="{58A436BE-2FB6-4EDD-AA77-05E738CA80AB}" destId="{E1491A5E-8513-4438-88B5-5C63769755E6}" srcOrd="0" destOrd="0" presId="urn:microsoft.com/office/officeart/2005/8/layout/orgChart1"/>
    <dgm:cxn modelId="{8F79770B-F481-4482-9B57-96B87615D48F}" type="presParOf" srcId="{58A436BE-2FB6-4EDD-AA77-05E738CA80AB}" destId="{B853B347-A2ED-4361-A30E-47356412DD52}" srcOrd="1" destOrd="0" presId="urn:microsoft.com/office/officeart/2005/8/layout/orgChart1"/>
    <dgm:cxn modelId="{F717AF24-4528-418B-A30C-A7477F5098FD}" type="presParOf" srcId="{695F88A4-8E3C-454F-B3BE-CE93B98C7BBF}" destId="{F17DD39F-F92E-4750-A362-D91C876F000D}" srcOrd="1" destOrd="0" presId="urn:microsoft.com/office/officeart/2005/8/layout/orgChart1"/>
    <dgm:cxn modelId="{D8FE6ADE-77A5-470A-9F08-47576C30D053}" type="presParOf" srcId="{F17DD39F-F92E-4750-A362-D91C876F000D}" destId="{C0DF174B-4700-47E3-ADCF-416A95A4A6CE}" srcOrd="0" destOrd="0" presId="urn:microsoft.com/office/officeart/2005/8/layout/orgChart1"/>
    <dgm:cxn modelId="{41080944-C027-4A04-9FF5-5D2ABDED0399}" type="presParOf" srcId="{F17DD39F-F92E-4750-A362-D91C876F000D}" destId="{55E30AF8-19C4-49FC-A434-A14C2C71D735}" srcOrd="1" destOrd="0" presId="urn:microsoft.com/office/officeart/2005/8/layout/orgChart1"/>
    <dgm:cxn modelId="{CD8EEC26-EEEB-475B-8335-EBD48771E172}" type="presParOf" srcId="{55E30AF8-19C4-49FC-A434-A14C2C71D735}" destId="{42B961EF-1E3B-4D14-B82D-DEB09CAEC4E9}" srcOrd="0" destOrd="0" presId="urn:microsoft.com/office/officeart/2005/8/layout/orgChart1"/>
    <dgm:cxn modelId="{1107EBC1-CFE4-401C-9C02-262694B6A1EB}" type="presParOf" srcId="{42B961EF-1E3B-4D14-B82D-DEB09CAEC4E9}" destId="{F1589501-D300-4EC2-AC7C-CCC8CF90A9CB}" srcOrd="0" destOrd="0" presId="urn:microsoft.com/office/officeart/2005/8/layout/orgChart1"/>
    <dgm:cxn modelId="{DCF2FF86-D9BC-42E3-97E2-2506868A6C1B}" type="presParOf" srcId="{42B961EF-1E3B-4D14-B82D-DEB09CAEC4E9}" destId="{73A2C89E-8577-4B90-A81A-9152CE20A29E}" srcOrd="1" destOrd="0" presId="urn:microsoft.com/office/officeart/2005/8/layout/orgChart1"/>
    <dgm:cxn modelId="{0FF7E755-E3C6-4E6A-8113-6E2C9F705A0D}" type="presParOf" srcId="{55E30AF8-19C4-49FC-A434-A14C2C71D735}" destId="{3E7307A8-DA4B-4583-9C57-F0BC8AC2272B}" srcOrd="1" destOrd="0" presId="urn:microsoft.com/office/officeart/2005/8/layout/orgChart1"/>
    <dgm:cxn modelId="{04D60937-A424-4BEB-8127-81CFC46A0809}" type="presParOf" srcId="{55E30AF8-19C4-49FC-A434-A14C2C71D735}" destId="{EA186E7C-D29C-4D38-9D43-97E073B46C82}" srcOrd="2" destOrd="0" presId="urn:microsoft.com/office/officeart/2005/8/layout/orgChart1"/>
    <dgm:cxn modelId="{7B5D5A2D-8F11-41BB-A8D7-F7B138EBA2B3}" type="presParOf" srcId="{F17DD39F-F92E-4750-A362-D91C876F000D}" destId="{F38A8958-F27C-4304-8008-490181675871}" srcOrd="2" destOrd="0" presId="urn:microsoft.com/office/officeart/2005/8/layout/orgChart1"/>
    <dgm:cxn modelId="{27E2CB3C-A883-41C3-8BC5-75B125BE4DA7}" type="presParOf" srcId="{F17DD39F-F92E-4750-A362-D91C876F000D}" destId="{5733CB26-F8A9-423E-A4E9-9001FF4EF976}" srcOrd="3" destOrd="0" presId="urn:microsoft.com/office/officeart/2005/8/layout/orgChart1"/>
    <dgm:cxn modelId="{58A169FD-D7FB-498F-BBDF-F9B0B3E47311}" type="presParOf" srcId="{5733CB26-F8A9-423E-A4E9-9001FF4EF976}" destId="{7530ADBB-40B3-4F9A-B178-A3E455303E47}" srcOrd="0" destOrd="0" presId="urn:microsoft.com/office/officeart/2005/8/layout/orgChart1"/>
    <dgm:cxn modelId="{466A414A-C681-4157-A0B1-DB5AF4E8C34B}" type="presParOf" srcId="{7530ADBB-40B3-4F9A-B178-A3E455303E47}" destId="{73F29504-32BA-4C64-A3F5-E6C31279FAF4}" srcOrd="0" destOrd="0" presId="urn:microsoft.com/office/officeart/2005/8/layout/orgChart1"/>
    <dgm:cxn modelId="{21063D65-1319-4911-9371-81D2A115DA51}" type="presParOf" srcId="{7530ADBB-40B3-4F9A-B178-A3E455303E47}" destId="{48EA9636-7A56-4A5A-AE0A-98725AF1E5DA}" srcOrd="1" destOrd="0" presId="urn:microsoft.com/office/officeart/2005/8/layout/orgChart1"/>
    <dgm:cxn modelId="{CDB0D9D7-8B28-4A1A-8C2A-3B14061FB850}" type="presParOf" srcId="{5733CB26-F8A9-423E-A4E9-9001FF4EF976}" destId="{06BF3DA6-3827-4721-AC87-650ECF2BA218}" srcOrd="1" destOrd="0" presId="urn:microsoft.com/office/officeart/2005/8/layout/orgChart1"/>
    <dgm:cxn modelId="{544B2763-263F-4633-838E-A13EEB81B170}" type="presParOf" srcId="{5733CB26-F8A9-423E-A4E9-9001FF4EF976}" destId="{775D1FE6-1CA2-4229-8702-7F1357FE0FF5}" srcOrd="2" destOrd="0" presId="urn:microsoft.com/office/officeart/2005/8/layout/orgChart1"/>
    <dgm:cxn modelId="{882FC3F9-032C-4AE9-A675-506D8ECC3289}" type="presParOf" srcId="{F17DD39F-F92E-4750-A362-D91C876F000D}" destId="{6D0E8CEC-B6CC-4544-B722-B2C2FBCF3CEC}" srcOrd="4" destOrd="0" presId="urn:microsoft.com/office/officeart/2005/8/layout/orgChart1"/>
    <dgm:cxn modelId="{491372F6-7266-4F8C-8D45-A39EFA1D98E4}" type="presParOf" srcId="{F17DD39F-F92E-4750-A362-D91C876F000D}" destId="{0E7E464F-B216-4F19-A664-6CD0538F3ADE}" srcOrd="5" destOrd="0" presId="urn:microsoft.com/office/officeart/2005/8/layout/orgChart1"/>
    <dgm:cxn modelId="{0D600D96-69D9-48D1-B2CA-FE6C33715257}" type="presParOf" srcId="{0E7E464F-B216-4F19-A664-6CD0538F3ADE}" destId="{0E8C5277-0FB8-4FC3-B8AF-6676A8504646}" srcOrd="0" destOrd="0" presId="urn:microsoft.com/office/officeart/2005/8/layout/orgChart1"/>
    <dgm:cxn modelId="{9CCB51A0-8287-4364-91A3-6ACC0A1380EF}" type="presParOf" srcId="{0E8C5277-0FB8-4FC3-B8AF-6676A8504646}" destId="{275CB78E-F24F-4E64-9F0B-6B4DC8C0A8D3}" srcOrd="0" destOrd="0" presId="urn:microsoft.com/office/officeart/2005/8/layout/orgChart1"/>
    <dgm:cxn modelId="{E9A342CF-785D-4D8D-86AA-81CA45418E47}" type="presParOf" srcId="{0E8C5277-0FB8-4FC3-B8AF-6676A8504646}" destId="{30F8FFED-8FBB-4DD5-BF51-0DB4A2984DF6}" srcOrd="1" destOrd="0" presId="urn:microsoft.com/office/officeart/2005/8/layout/orgChart1"/>
    <dgm:cxn modelId="{DCF3B0D8-4289-4EB2-AF1B-129B080DB7F9}" type="presParOf" srcId="{0E7E464F-B216-4F19-A664-6CD0538F3ADE}" destId="{E59D8B19-8BAA-4FC8-B9E3-DE419B3778B5}" srcOrd="1" destOrd="0" presId="urn:microsoft.com/office/officeart/2005/8/layout/orgChart1"/>
    <dgm:cxn modelId="{AD4682DC-46EE-49A1-91E4-9A1DF314903B}" type="presParOf" srcId="{0E7E464F-B216-4F19-A664-6CD0538F3ADE}" destId="{A97AB4A1-E303-4F8C-A7DE-FC0D3CA491BB}" srcOrd="2" destOrd="0" presId="urn:microsoft.com/office/officeart/2005/8/layout/orgChart1"/>
    <dgm:cxn modelId="{54318026-7461-4E5C-8F6C-C68B287C200A}" type="presParOf" srcId="{695F88A4-8E3C-454F-B3BE-CE93B98C7BBF}" destId="{8124C7B7-CB3A-4F34-8EE7-64F882293DCE}" srcOrd="2" destOrd="0" presId="urn:microsoft.com/office/officeart/2005/8/layout/orgChart1"/>
    <dgm:cxn modelId="{791103E1-6A6D-4153-9B32-092A2F101AF7}" type="presParOf" srcId="{0EDD845F-0361-48B8-B3D3-9076DA29B511}" destId="{4D637F2B-344F-44C0-9B0A-1D1AD26C24F5}" srcOrd="2" destOrd="0" presId="urn:microsoft.com/office/officeart/2005/8/layout/orgChart1"/>
    <dgm:cxn modelId="{82A55B8B-52BE-4A52-A6F5-1FD48E2F25CE}" type="presParOf" srcId="{0EDD845F-0361-48B8-B3D3-9076DA29B511}" destId="{A2A45B30-1AC7-4DEE-B560-EB6A4D8FB1AC}" srcOrd="3" destOrd="0" presId="urn:microsoft.com/office/officeart/2005/8/layout/orgChart1"/>
    <dgm:cxn modelId="{A6A489A2-4A24-4000-AAB6-F91BB259ABE9}" type="presParOf" srcId="{A2A45B30-1AC7-4DEE-B560-EB6A4D8FB1AC}" destId="{6ACC8648-C4B5-4491-8632-799D147C0B39}" srcOrd="0" destOrd="0" presId="urn:microsoft.com/office/officeart/2005/8/layout/orgChart1"/>
    <dgm:cxn modelId="{C71741CE-0D5E-4CE5-BFAC-C228475476F7}" type="presParOf" srcId="{6ACC8648-C4B5-4491-8632-799D147C0B39}" destId="{C7A6C7CE-C4F5-4BC6-A0A8-F985343462E5}" srcOrd="0" destOrd="0" presId="urn:microsoft.com/office/officeart/2005/8/layout/orgChart1"/>
    <dgm:cxn modelId="{AF9589ED-4013-4652-BA8A-8370A409B142}" type="presParOf" srcId="{6ACC8648-C4B5-4491-8632-799D147C0B39}" destId="{75457FEE-0D45-49A0-A782-C870B4AB5CD6}" srcOrd="1" destOrd="0" presId="urn:microsoft.com/office/officeart/2005/8/layout/orgChart1"/>
    <dgm:cxn modelId="{3AB48858-8F32-4289-8653-562AF0AD37C3}" type="presParOf" srcId="{A2A45B30-1AC7-4DEE-B560-EB6A4D8FB1AC}" destId="{FAA2195F-DF91-4CA3-AADB-27174F1AA273}" srcOrd="1" destOrd="0" presId="urn:microsoft.com/office/officeart/2005/8/layout/orgChart1"/>
    <dgm:cxn modelId="{BA9C2FEE-0689-4462-A48B-24336BA4DC53}" type="presParOf" srcId="{FAA2195F-DF91-4CA3-AADB-27174F1AA273}" destId="{71FE4D4A-B131-44F3-AD3E-E42695D80DA2}" srcOrd="0" destOrd="0" presId="urn:microsoft.com/office/officeart/2005/8/layout/orgChart1"/>
    <dgm:cxn modelId="{03B65429-0B6B-4272-954F-457A18CA4A21}" type="presParOf" srcId="{FAA2195F-DF91-4CA3-AADB-27174F1AA273}" destId="{6CA11D68-94BE-40DC-A318-8D90D5B4390F}" srcOrd="1" destOrd="0" presId="urn:microsoft.com/office/officeart/2005/8/layout/orgChart1"/>
    <dgm:cxn modelId="{CCA07626-3DF0-4C51-A300-BB1083EC60EF}" type="presParOf" srcId="{6CA11D68-94BE-40DC-A318-8D90D5B4390F}" destId="{FE9B323D-1E65-4F7B-9032-040EBE5121BA}" srcOrd="0" destOrd="0" presId="urn:microsoft.com/office/officeart/2005/8/layout/orgChart1"/>
    <dgm:cxn modelId="{CC1F17C2-575F-4C94-A11B-761517051E84}" type="presParOf" srcId="{FE9B323D-1E65-4F7B-9032-040EBE5121BA}" destId="{9B15108C-3527-4ADE-9348-70DEF36E738E}" srcOrd="0" destOrd="0" presId="urn:microsoft.com/office/officeart/2005/8/layout/orgChart1"/>
    <dgm:cxn modelId="{192B9203-3933-408E-B25F-F0BA7FA788B6}" type="presParOf" srcId="{FE9B323D-1E65-4F7B-9032-040EBE5121BA}" destId="{A6D386E4-3CDD-4455-AEC2-40A2C13A78E2}" srcOrd="1" destOrd="0" presId="urn:microsoft.com/office/officeart/2005/8/layout/orgChart1"/>
    <dgm:cxn modelId="{87425294-BDEB-4F9D-94F8-A0BD32818DC0}" type="presParOf" srcId="{6CA11D68-94BE-40DC-A318-8D90D5B4390F}" destId="{4903F1FC-B05A-473D-9CE6-9D87B13BC2D5}" srcOrd="1" destOrd="0" presId="urn:microsoft.com/office/officeart/2005/8/layout/orgChart1"/>
    <dgm:cxn modelId="{FD42F492-1ECB-4F7D-9CE1-9AE003301703}" type="presParOf" srcId="{6CA11D68-94BE-40DC-A318-8D90D5B4390F}" destId="{34CB2547-BD71-46F2-9D74-7723B4F3E28F}" srcOrd="2" destOrd="0" presId="urn:microsoft.com/office/officeart/2005/8/layout/orgChart1"/>
    <dgm:cxn modelId="{C2B8F7AE-D244-4CD4-A398-A68314263ADB}" type="presParOf" srcId="{A2A45B30-1AC7-4DEE-B560-EB6A4D8FB1AC}" destId="{D932BBDD-49A2-4146-ACDA-39499D71F8FA}" srcOrd="2" destOrd="0" presId="urn:microsoft.com/office/officeart/2005/8/layout/orgChart1"/>
    <dgm:cxn modelId="{81539545-C3B6-4A8F-8738-9E59F249B474}" type="presParOf" srcId="{0EDD845F-0361-48B8-B3D3-9076DA29B511}" destId="{1533D59C-C7D9-441C-A6EB-8AAD259C4A7C}" srcOrd="4" destOrd="0" presId="urn:microsoft.com/office/officeart/2005/8/layout/orgChart1"/>
    <dgm:cxn modelId="{B319E0DE-A3C6-432B-875B-2A726448A30E}" type="presParOf" srcId="{0EDD845F-0361-48B8-B3D3-9076DA29B511}" destId="{B083BE6F-9445-4FBA-BB41-93BD32F99CE3}" srcOrd="5" destOrd="0" presId="urn:microsoft.com/office/officeart/2005/8/layout/orgChart1"/>
    <dgm:cxn modelId="{43886300-5547-49B1-B73F-A820EA7BA37C}" type="presParOf" srcId="{B083BE6F-9445-4FBA-BB41-93BD32F99CE3}" destId="{999F2054-59AB-49CF-8904-CF1A02182ACE}" srcOrd="0" destOrd="0" presId="urn:microsoft.com/office/officeart/2005/8/layout/orgChart1"/>
    <dgm:cxn modelId="{850CDB80-A7C6-4173-B3E2-D8C75CC9093C}" type="presParOf" srcId="{999F2054-59AB-49CF-8904-CF1A02182ACE}" destId="{3F6F8835-3E01-4CBA-87F8-17629877A87D}" srcOrd="0" destOrd="0" presId="urn:microsoft.com/office/officeart/2005/8/layout/orgChart1"/>
    <dgm:cxn modelId="{A49CE116-1B96-4EB9-8114-F99B6E6735DC}" type="presParOf" srcId="{999F2054-59AB-49CF-8904-CF1A02182ACE}" destId="{E40391C9-4216-4A1E-88DE-AB4DDA27E93D}" srcOrd="1" destOrd="0" presId="urn:microsoft.com/office/officeart/2005/8/layout/orgChart1"/>
    <dgm:cxn modelId="{6D1034F9-74E1-4999-96A5-ED961F311CE9}" type="presParOf" srcId="{B083BE6F-9445-4FBA-BB41-93BD32F99CE3}" destId="{8A9EDECE-2F0E-417B-AB14-A0A4B60150AA}" srcOrd="1" destOrd="0" presId="urn:microsoft.com/office/officeart/2005/8/layout/orgChart1"/>
    <dgm:cxn modelId="{3263CCE9-0720-4E2C-959A-D1D3A2CE599D}" type="presParOf" srcId="{8A9EDECE-2F0E-417B-AB14-A0A4B60150AA}" destId="{21B11E23-AB53-4F80-8C29-C4605835CEEB}" srcOrd="0" destOrd="0" presId="urn:microsoft.com/office/officeart/2005/8/layout/orgChart1"/>
    <dgm:cxn modelId="{60DB1923-4EDC-4B54-A292-BF1DE4503972}" type="presParOf" srcId="{8A9EDECE-2F0E-417B-AB14-A0A4B60150AA}" destId="{CCC03BA0-4B39-4312-878B-BF823AED693E}" srcOrd="1" destOrd="0" presId="urn:microsoft.com/office/officeart/2005/8/layout/orgChart1"/>
    <dgm:cxn modelId="{F8EB6042-4017-4761-ABB4-4112E250655E}" type="presParOf" srcId="{CCC03BA0-4B39-4312-878B-BF823AED693E}" destId="{360A0688-14E8-4945-85E4-7630AFFC7D8E}" srcOrd="0" destOrd="0" presId="urn:microsoft.com/office/officeart/2005/8/layout/orgChart1"/>
    <dgm:cxn modelId="{92C96F02-F456-4AE6-94AD-17D981DE1360}" type="presParOf" srcId="{360A0688-14E8-4945-85E4-7630AFFC7D8E}" destId="{32FD44D1-15AC-45E4-8D6B-40465314CCA3}" srcOrd="0" destOrd="0" presId="urn:microsoft.com/office/officeart/2005/8/layout/orgChart1"/>
    <dgm:cxn modelId="{D41109B6-0BCE-434D-99AC-9C5498E805BB}" type="presParOf" srcId="{360A0688-14E8-4945-85E4-7630AFFC7D8E}" destId="{415C4986-5043-4CE0-A7CD-07ADD733CBC6}" srcOrd="1" destOrd="0" presId="urn:microsoft.com/office/officeart/2005/8/layout/orgChart1"/>
    <dgm:cxn modelId="{E652830C-8E96-42CF-8DCF-25A46547DF94}" type="presParOf" srcId="{CCC03BA0-4B39-4312-878B-BF823AED693E}" destId="{674EE2B6-6A9A-4710-A41B-F4184C99278F}" srcOrd="1" destOrd="0" presId="urn:microsoft.com/office/officeart/2005/8/layout/orgChart1"/>
    <dgm:cxn modelId="{89E7931B-F2C1-4871-B4E9-FD7D8B8F487D}" type="presParOf" srcId="{674EE2B6-6A9A-4710-A41B-F4184C99278F}" destId="{E380D099-B26B-473F-8A47-154E9D1E544A}" srcOrd="0" destOrd="0" presId="urn:microsoft.com/office/officeart/2005/8/layout/orgChart1"/>
    <dgm:cxn modelId="{3BFE9FA5-4793-4BCA-888D-99FB9F658FD3}" type="presParOf" srcId="{674EE2B6-6A9A-4710-A41B-F4184C99278F}" destId="{B0CCEE0A-E6BF-40C3-B11A-15C576624463}" srcOrd="1" destOrd="0" presId="urn:microsoft.com/office/officeart/2005/8/layout/orgChart1"/>
    <dgm:cxn modelId="{5D8D2127-D392-45A5-9D41-50B56B8D5269}" type="presParOf" srcId="{B0CCEE0A-E6BF-40C3-B11A-15C576624463}" destId="{15BE3576-4908-4153-8F99-C5522B3F2C6D}" srcOrd="0" destOrd="0" presId="urn:microsoft.com/office/officeart/2005/8/layout/orgChart1"/>
    <dgm:cxn modelId="{3232F305-19A0-4E73-AF34-0DC198ED806F}" type="presParOf" srcId="{15BE3576-4908-4153-8F99-C5522B3F2C6D}" destId="{AB0401D6-D40F-476A-94B5-F1A0BD9D8ECD}" srcOrd="0" destOrd="0" presId="urn:microsoft.com/office/officeart/2005/8/layout/orgChart1"/>
    <dgm:cxn modelId="{5D78D1B2-0406-4BC4-AB3B-E5F1213FEA0F}" type="presParOf" srcId="{15BE3576-4908-4153-8F99-C5522B3F2C6D}" destId="{891C9DC7-0B89-48CE-A9DA-CED4387C7212}" srcOrd="1" destOrd="0" presId="urn:microsoft.com/office/officeart/2005/8/layout/orgChart1"/>
    <dgm:cxn modelId="{0EA428E0-2190-4C24-9890-CA562688B853}" type="presParOf" srcId="{B0CCEE0A-E6BF-40C3-B11A-15C576624463}" destId="{6F81F615-FC37-4717-87A5-0F7C150A6945}" srcOrd="1" destOrd="0" presId="urn:microsoft.com/office/officeart/2005/8/layout/orgChart1"/>
    <dgm:cxn modelId="{3F61E368-B52A-47F9-A442-14A595050FC7}" type="presParOf" srcId="{B0CCEE0A-E6BF-40C3-B11A-15C576624463}" destId="{F5F19194-FE96-4C2C-BDA1-67014970F3AA}" srcOrd="2" destOrd="0" presId="urn:microsoft.com/office/officeart/2005/8/layout/orgChart1"/>
    <dgm:cxn modelId="{D5AB1421-6D0D-480C-8EEB-69682084A48E}" type="presParOf" srcId="{CCC03BA0-4B39-4312-878B-BF823AED693E}" destId="{9178B038-B870-4607-AB97-F0DA531DEBF3}" srcOrd="2" destOrd="0" presId="urn:microsoft.com/office/officeart/2005/8/layout/orgChart1"/>
    <dgm:cxn modelId="{6A4F82EA-BA37-41FF-B1AF-66F653F5A43A}" type="presParOf" srcId="{8A9EDECE-2F0E-417B-AB14-A0A4B60150AA}" destId="{4D0D67AD-19DA-4ECA-A253-A7B25154619A}" srcOrd="2" destOrd="0" presId="urn:microsoft.com/office/officeart/2005/8/layout/orgChart1"/>
    <dgm:cxn modelId="{A1464A36-F983-44ED-96DF-60E024FD9DCB}" type="presParOf" srcId="{8A9EDECE-2F0E-417B-AB14-A0A4B60150AA}" destId="{BCFA5F45-CC54-4685-B520-DBD7D18A775A}" srcOrd="3" destOrd="0" presId="urn:microsoft.com/office/officeart/2005/8/layout/orgChart1"/>
    <dgm:cxn modelId="{085868A7-5CB5-4A60-A8B1-3563710D53FC}" type="presParOf" srcId="{BCFA5F45-CC54-4685-B520-DBD7D18A775A}" destId="{4E112E6D-8220-48DF-8426-656BCEC9E686}" srcOrd="0" destOrd="0" presId="urn:microsoft.com/office/officeart/2005/8/layout/orgChart1"/>
    <dgm:cxn modelId="{C7F2947C-15C5-41AF-A543-378DC5B59E06}" type="presParOf" srcId="{4E112E6D-8220-48DF-8426-656BCEC9E686}" destId="{A80037A4-023F-4557-8F10-D3BD4D8F16AF}" srcOrd="0" destOrd="0" presId="urn:microsoft.com/office/officeart/2005/8/layout/orgChart1"/>
    <dgm:cxn modelId="{5476A60E-C55C-41FF-9AD7-51737BED188A}" type="presParOf" srcId="{4E112E6D-8220-48DF-8426-656BCEC9E686}" destId="{EFA2B48D-0875-4D4B-A648-0AF8BFF1025E}" srcOrd="1" destOrd="0" presId="urn:microsoft.com/office/officeart/2005/8/layout/orgChart1"/>
    <dgm:cxn modelId="{AD0BB3A8-84CF-411E-B95C-AE7AA30DAEF8}" type="presParOf" srcId="{BCFA5F45-CC54-4685-B520-DBD7D18A775A}" destId="{C6F157B0-0DA4-42AB-940F-A165C7623492}" srcOrd="1" destOrd="0" presId="urn:microsoft.com/office/officeart/2005/8/layout/orgChart1"/>
    <dgm:cxn modelId="{6CE54AB4-787D-43F9-A0A8-44DB06C4D95C}" type="presParOf" srcId="{C6F157B0-0DA4-42AB-940F-A165C7623492}" destId="{97416CC7-9D51-46E8-BBB9-E790E67E6B07}" srcOrd="0" destOrd="0" presId="urn:microsoft.com/office/officeart/2005/8/layout/orgChart1"/>
    <dgm:cxn modelId="{7137F1A2-24EB-43FB-802D-1960E8CA5EC4}" type="presParOf" srcId="{C6F157B0-0DA4-42AB-940F-A165C7623492}" destId="{0D4CA84F-1773-4842-A1A0-28CE236D5B56}" srcOrd="1" destOrd="0" presId="urn:microsoft.com/office/officeart/2005/8/layout/orgChart1"/>
    <dgm:cxn modelId="{1E07D0B8-A322-441A-9DEC-E9D72D2A95D8}" type="presParOf" srcId="{0D4CA84F-1773-4842-A1A0-28CE236D5B56}" destId="{D5A449D8-AF5C-4129-AA3F-65081722651B}" srcOrd="0" destOrd="0" presId="urn:microsoft.com/office/officeart/2005/8/layout/orgChart1"/>
    <dgm:cxn modelId="{0433D12C-8B69-433A-B552-B73AC2D62E86}" type="presParOf" srcId="{D5A449D8-AF5C-4129-AA3F-65081722651B}" destId="{E00C2A3A-BF99-41B3-A61A-F31DF31E1D9B}" srcOrd="0" destOrd="0" presId="urn:microsoft.com/office/officeart/2005/8/layout/orgChart1"/>
    <dgm:cxn modelId="{B8EAEF31-5040-4E97-BFBA-6057BF9064B0}" type="presParOf" srcId="{D5A449D8-AF5C-4129-AA3F-65081722651B}" destId="{107A001A-3E5F-4DFE-BA02-5615BE999851}" srcOrd="1" destOrd="0" presId="urn:microsoft.com/office/officeart/2005/8/layout/orgChart1"/>
    <dgm:cxn modelId="{1503F661-915B-4D09-BF3C-E36CCC1575F7}" type="presParOf" srcId="{0D4CA84F-1773-4842-A1A0-28CE236D5B56}" destId="{9E479120-F469-4F0D-AB54-765AD00A286F}" srcOrd="1" destOrd="0" presId="urn:microsoft.com/office/officeart/2005/8/layout/orgChart1"/>
    <dgm:cxn modelId="{A0FEC513-9DB1-4827-B42D-5BE6504A3851}" type="presParOf" srcId="{0D4CA84F-1773-4842-A1A0-28CE236D5B56}" destId="{14DC5007-8563-4E9A-8057-20AF6755C4FA}" srcOrd="2" destOrd="0" presId="urn:microsoft.com/office/officeart/2005/8/layout/orgChart1"/>
    <dgm:cxn modelId="{02C725B0-2615-4099-8179-514DEB4EEAB2}" type="presParOf" srcId="{C6F157B0-0DA4-42AB-940F-A165C7623492}" destId="{80D8E449-04C7-46A5-B564-7BBC4AA6A838}" srcOrd="2" destOrd="0" presId="urn:microsoft.com/office/officeart/2005/8/layout/orgChart1"/>
    <dgm:cxn modelId="{9346CAAE-5DAA-4AA1-A497-47214C0AAA94}" type="presParOf" srcId="{C6F157B0-0DA4-42AB-940F-A165C7623492}" destId="{3008CE70-D4A0-4673-9FEB-B18695CD7285}" srcOrd="3" destOrd="0" presId="urn:microsoft.com/office/officeart/2005/8/layout/orgChart1"/>
    <dgm:cxn modelId="{77F01F85-FEA3-4FE7-9CB2-DF13005A68E4}" type="presParOf" srcId="{3008CE70-D4A0-4673-9FEB-B18695CD7285}" destId="{28313C2F-A88B-4BFA-A5B3-D07BB2F60F1B}" srcOrd="0" destOrd="0" presId="urn:microsoft.com/office/officeart/2005/8/layout/orgChart1"/>
    <dgm:cxn modelId="{3877E4F5-C946-4BB0-9C37-E7CE4E692E8B}" type="presParOf" srcId="{28313C2F-A88B-4BFA-A5B3-D07BB2F60F1B}" destId="{CEC98FEA-A9C8-46BF-9ECC-D8B2A1E09D1B}" srcOrd="0" destOrd="0" presId="urn:microsoft.com/office/officeart/2005/8/layout/orgChart1"/>
    <dgm:cxn modelId="{FFA1172F-C9D8-489C-94FA-68A2855FE117}" type="presParOf" srcId="{28313C2F-A88B-4BFA-A5B3-D07BB2F60F1B}" destId="{DA37A591-5192-46A3-8B18-0EE62A210F25}" srcOrd="1" destOrd="0" presId="urn:microsoft.com/office/officeart/2005/8/layout/orgChart1"/>
    <dgm:cxn modelId="{C7A9D5BC-999B-4AEB-9C8A-EE8A8CDBE21B}" type="presParOf" srcId="{3008CE70-D4A0-4673-9FEB-B18695CD7285}" destId="{AFBC67CA-8B9C-42B8-AC4D-4B56D1AEAA5A}" srcOrd="1" destOrd="0" presId="urn:microsoft.com/office/officeart/2005/8/layout/orgChart1"/>
    <dgm:cxn modelId="{9077E6CA-14D8-4BB3-8E98-A2C1BBE30DED}" type="presParOf" srcId="{3008CE70-D4A0-4673-9FEB-B18695CD7285}" destId="{65684F97-FA09-44C3-B213-37D0A77E1BE3}" srcOrd="2" destOrd="0" presId="urn:microsoft.com/office/officeart/2005/8/layout/orgChart1"/>
    <dgm:cxn modelId="{F75C7DDB-27A4-40D5-AC70-214C37E56FF3}" type="presParOf" srcId="{BCFA5F45-CC54-4685-B520-DBD7D18A775A}" destId="{90C6DCB9-E905-46E7-B022-F8779B1F80BC}" srcOrd="2" destOrd="0" presId="urn:microsoft.com/office/officeart/2005/8/layout/orgChart1"/>
    <dgm:cxn modelId="{8091F089-2EE1-4164-996D-AC16F71E15AD}" type="presParOf" srcId="{B083BE6F-9445-4FBA-BB41-93BD32F99CE3}" destId="{B00EC84C-BDA8-42F4-819E-37DD9D6CED4B}" srcOrd="2" destOrd="0" presId="urn:microsoft.com/office/officeart/2005/8/layout/orgChart1"/>
    <dgm:cxn modelId="{E8EFA9A1-34D9-4ABF-8218-14425A106F09}" type="presParOf" srcId="{5611CEAC-5E92-4E90-ADB3-35FDD05E0586}" destId="{3ECB7C24-E518-485C-A203-816D25B87E59}" srcOrd="2" destOrd="0" presId="urn:microsoft.com/office/officeart/2005/8/layout/orgChart1"/>
    <dgm:cxn modelId="{F10EB1F8-5579-41F5-B028-CE3538C82A74}" type="presParOf" srcId="{D80E65C5-4A65-4A50-A036-DA008FC61B1A}" destId="{C5254BF7-106D-435B-8786-962FFD9ADB33}" srcOrd="2" destOrd="0" presId="urn:microsoft.com/office/officeart/2005/8/layout/orgChart1"/>
    <dgm:cxn modelId="{6DCD3F9E-B5BC-4993-9260-391479F39086}" type="presParOf" srcId="{97FC22E7-04EE-461B-8D57-99113EAC0E23}" destId="{3AC20B5E-6098-4A47-9EF1-D51B0BA7F14A}" srcOrd="2" destOrd="0" presId="urn:microsoft.com/office/officeart/2005/8/layout/orgChart1"/>
    <dgm:cxn modelId="{B290F5DA-85CF-4ED3-84D4-75033AA272E7}" type="presParOf" srcId="{97FC22E7-04EE-461B-8D57-99113EAC0E23}" destId="{C33C7935-7273-4F7B-BE0C-3AF9BA94BE25}" srcOrd="3" destOrd="0" presId="urn:microsoft.com/office/officeart/2005/8/layout/orgChart1"/>
    <dgm:cxn modelId="{954B8B07-65C4-408E-A8C8-9F1F0015A19F}" type="presParOf" srcId="{C33C7935-7273-4F7B-BE0C-3AF9BA94BE25}" destId="{CDE1020B-9BE0-463D-B36C-8F44FA1C50C0}" srcOrd="0" destOrd="0" presId="urn:microsoft.com/office/officeart/2005/8/layout/orgChart1"/>
    <dgm:cxn modelId="{52CBC1CC-8458-4657-8DFC-46843CF996A6}" type="presParOf" srcId="{CDE1020B-9BE0-463D-B36C-8F44FA1C50C0}" destId="{D7CE84D8-5A9B-4243-BFAD-A10EC40DF307}" srcOrd="0" destOrd="0" presId="urn:microsoft.com/office/officeart/2005/8/layout/orgChart1"/>
    <dgm:cxn modelId="{B707E5FC-0DEC-4912-B28E-1243DAC50C36}" type="presParOf" srcId="{CDE1020B-9BE0-463D-B36C-8F44FA1C50C0}" destId="{CD7C79BE-B9FB-49F6-BABE-D511A638DBF7}" srcOrd="1" destOrd="0" presId="urn:microsoft.com/office/officeart/2005/8/layout/orgChart1"/>
    <dgm:cxn modelId="{78EBDD10-BF20-4C79-A94B-D518D73C476E}" type="presParOf" srcId="{C33C7935-7273-4F7B-BE0C-3AF9BA94BE25}" destId="{D2208961-EE10-474B-9741-D45FF2212D3F}" srcOrd="1" destOrd="0" presId="urn:microsoft.com/office/officeart/2005/8/layout/orgChart1"/>
    <dgm:cxn modelId="{E1908C33-B6D1-490D-B471-7D62E0C57CEF}" type="presParOf" srcId="{D2208961-EE10-474B-9741-D45FF2212D3F}" destId="{F09046E2-F351-4C0E-9903-BB63930E82C8}" srcOrd="0" destOrd="0" presId="urn:microsoft.com/office/officeart/2005/8/layout/orgChart1"/>
    <dgm:cxn modelId="{7325E678-0766-4B7A-BC0C-28860D08AFE3}" type="presParOf" srcId="{D2208961-EE10-474B-9741-D45FF2212D3F}" destId="{08CD7F7B-216B-4586-B91D-0874BBDE3D00}" srcOrd="1" destOrd="0" presId="urn:microsoft.com/office/officeart/2005/8/layout/orgChart1"/>
    <dgm:cxn modelId="{244A0D35-375F-479D-9653-02EB1469C730}" type="presParOf" srcId="{08CD7F7B-216B-4586-B91D-0874BBDE3D00}" destId="{D1447F47-51ED-4AC6-AFC5-957AB908B56A}" srcOrd="0" destOrd="0" presId="urn:microsoft.com/office/officeart/2005/8/layout/orgChart1"/>
    <dgm:cxn modelId="{F0EC9A82-A0C9-437D-A924-3F6B03E5E7CE}" type="presParOf" srcId="{D1447F47-51ED-4AC6-AFC5-957AB908B56A}" destId="{90B3EEEC-4BEA-4F2C-9390-7382EBF2E384}" srcOrd="0" destOrd="0" presId="urn:microsoft.com/office/officeart/2005/8/layout/orgChart1"/>
    <dgm:cxn modelId="{477A50C5-0E0A-4EEB-BA83-387194A9398F}" type="presParOf" srcId="{D1447F47-51ED-4AC6-AFC5-957AB908B56A}" destId="{9B6AE352-E2BB-4763-9C80-9275AADE2B4F}" srcOrd="1" destOrd="0" presId="urn:microsoft.com/office/officeart/2005/8/layout/orgChart1"/>
    <dgm:cxn modelId="{F7F31E0F-0C57-49A5-8D55-679ACEF814C2}" type="presParOf" srcId="{08CD7F7B-216B-4586-B91D-0874BBDE3D00}" destId="{28B79522-40EA-48DB-92E1-33DE2D734146}" srcOrd="1" destOrd="0" presId="urn:microsoft.com/office/officeart/2005/8/layout/orgChart1"/>
    <dgm:cxn modelId="{B2A412A8-52A0-4E93-9535-BFBCAEE52C0F}" type="presParOf" srcId="{28B79522-40EA-48DB-92E1-33DE2D734146}" destId="{78382E3D-F7B7-41A6-AE23-F8106B8EA9B5}" srcOrd="0" destOrd="0" presId="urn:microsoft.com/office/officeart/2005/8/layout/orgChart1"/>
    <dgm:cxn modelId="{38CEF12A-8745-43C4-9200-DD2D14D4C4FB}" type="presParOf" srcId="{28B79522-40EA-48DB-92E1-33DE2D734146}" destId="{2DA4D414-AEEA-49BA-9652-CDB5986A94D4}" srcOrd="1" destOrd="0" presId="urn:microsoft.com/office/officeart/2005/8/layout/orgChart1"/>
    <dgm:cxn modelId="{4D891B85-BCE8-4505-AB9F-B7A964E6C434}" type="presParOf" srcId="{2DA4D414-AEEA-49BA-9652-CDB5986A94D4}" destId="{C4C210AA-5A34-4BA3-88F9-AB0B0D4B6CC3}" srcOrd="0" destOrd="0" presId="urn:microsoft.com/office/officeart/2005/8/layout/orgChart1"/>
    <dgm:cxn modelId="{96BF6265-6294-4343-9BE3-019584ED7A0A}" type="presParOf" srcId="{C4C210AA-5A34-4BA3-88F9-AB0B0D4B6CC3}" destId="{8E9A9B7E-907F-4D29-AB54-4D70C869635F}" srcOrd="0" destOrd="0" presId="urn:microsoft.com/office/officeart/2005/8/layout/orgChart1"/>
    <dgm:cxn modelId="{984F6652-2FB1-4201-AFE3-018BBCE280CE}" type="presParOf" srcId="{C4C210AA-5A34-4BA3-88F9-AB0B0D4B6CC3}" destId="{D3B5CCC0-61AD-4BDA-B0E1-A1D58BFA0768}" srcOrd="1" destOrd="0" presId="urn:microsoft.com/office/officeart/2005/8/layout/orgChart1"/>
    <dgm:cxn modelId="{38A47F70-0A99-4454-969F-DBA8FA4E660A}" type="presParOf" srcId="{2DA4D414-AEEA-49BA-9652-CDB5986A94D4}" destId="{E0765B0E-DE63-4B4D-99BD-3DC42B5DF482}" srcOrd="1" destOrd="0" presId="urn:microsoft.com/office/officeart/2005/8/layout/orgChart1"/>
    <dgm:cxn modelId="{DD7B1C2D-A933-4F0C-AC2B-A502E7FD2670}" type="presParOf" srcId="{2DA4D414-AEEA-49BA-9652-CDB5986A94D4}" destId="{CAEAD495-8156-4CEE-9168-3BDD3043483E}" srcOrd="2" destOrd="0" presId="urn:microsoft.com/office/officeart/2005/8/layout/orgChart1"/>
    <dgm:cxn modelId="{E9CF7DAA-7FF8-4BB4-952F-267F315D35CD}" type="presParOf" srcId="{28B79522-40EA-48DB-92E1-33DE2D734146}" destId="{88DBE16A-0ACA-4FF8-9463-FDF240942B51}" srcOrd="2" destOrd="0" presId="urn:microsoft.com/office/officeart/2005/8/layout/orgChart1"/>
    <dgm:cxn modelId="{4DBC482B-5CD8-4DB9-98C6-68B619005BD5}" type="presParOf" srcId="{28B79522-40EA-48DB-92E1-33DE2D734146}" destId="{0C7C02DC-40A4-4E72-B1B1-A4278FD32FE2}" srcOrd="3" destOrd="0" presId="urn:microsoft.com/office/officeart/2005/8/layout/orgChart1"/>
    <dgm:cxn modelId="{E99FAAD1-CA26-446B-AC77-C322F6272E4D}" type="presParOf" srcId="{0C7C02DC-40A4-4E72-B1B1-A4278FD32FE2}" destId="{E8B803DA-55D5-4A5E-B99F-509B4C007DA1}" srcOrd="0" destOrd="0" presId="urn:microsoft.com/office/officeart/2005/8/layout/orgChart1"/>
    <dgm:cxn modelId="{5DDC982C-BAB9-49F5-BE07-3ADA4EBC1654}" type="presParOf" srcId="{E8B803DA-55D5-4A5E-B99F-509B4C007DA1}" destId="{5AFBF90A-1D5A-47DC-ACB5-D45662A8B8FB}" srcOrd="0" destOrd="0" presId="urn:microsoft.com/office/officeart/2005/8/layout/orgChart1"/>
    <dgm:cxn modelId="{55EBA7F1-9C0D-4E1C-AB56-89855B0CD92F}" type="presParOf" srcId="{E8B803DA-55D5-4A5E-B99F-509B4C007DA1}" destId="{68A42D7E-F3AA-416F-BC95-B2762E0EEBD0}" srcOrd="1" destOrd="0" presId="urn:microsoft.com/office/officeart/2005/8/layout/orgChart1"/>
    <dgm:cxn modelId="{AECF880A-59B7-4562-8769-16794065B31F}" type="presParOf" srcId="{0C7C02DC-40A4-4E72-B1B1-A4278FD32FE2}" destId="{1C4D1B2F-F45C-43A1-92B6-78C4E155986F}" srcOrd="1" destOrd="0" presId="urn:microsoft.com/office/officeart/2005/8/layout/orgChart1"/>
    <dgm:cxn modelId="{177AFC03-3421-4F9D-9DA5-59337F64FB55}" type="presParOf" srcId="{0C7C02DC-40A4-4E72-B1B1-A4278FD32FE2}" destId="{73A8A17D-7001-4EED-878E-2840DA034276}" srcOrd="2" destOrd="0" presId="urn:microsoft.com/office/officeart/2005/8/layout/orgChart1"/>
    <dgm:cxn modelId="{E314F006-2A8B-478B-B514-15218995A8CE}" type="presParOf" srcId="{08CD7F7B-216B-4586-B91D-0874BBDE3D00}" destId="{2794F0D2-5018-4442-80B1-53876772A39B}" srcOrd="2" destOrd="0" presId="urn:microsoft.com/office/officeart/2005/8/layout/orgChart1"/>
    <dgm:cxn modelId="{4E47FD8A-1641-404D-8670-FACA2341257C}" type="presParOf" srcId="{D2208961-EE10-474B-9741-D45FF2212D3F}" destId="{BDD18F89-A724-4748-8AE6-AAFD1C5AE2A5}" srcOrd="2" destOrd="0" presId="urn:microsoft.com/office/officeart/2005/8/layout/orgChart1"/>
    <dgm:cxn modelId="{12FE4511-007B-41B1-AE5A-B6A1F1FE8368}" type="presParOf" srcId="{D2208961-EE10-474B-9741-D45FF2212D3F}" destId="{9D70C5FD-35F0-463A-A07A-BE42D1C6AC49}" srcOrd="3" destOrd="0" presId="urn:microsoft.com/office/officeart/2005/8/layout/orgChart1"/>
    <dgm:cxn modelId="{3BC0F6D1-51D4-4DA1-9AF1-870EB92075CC}" type="presParOf" srcId="{9D70C5FD-35F0-463A-A07A-BE42D1C6AC49}" destId="{09743E14-78AC-4BF6-9E33-0AE477E85904}" srcOrd="0" destOrd="0" presId="urn:microsoft.com/office/officeart/2005/8/layout/orgChart1"/>
    <dgm:cxn modelId="{C93E9507-9961-4357-B905-02D88C8711B0}" type="presParOf" srcId="{09743E14-78AC-4BF6-9E33-0AE477E85904}" destId="{78B41A26-2EB1-4E2B-884F-73A15160A423}" srcOrd="0" destOrd="0" presId="urn:microsoft.com/office/officeart/2005/8/layout/orgChart1"/>
    <dgm:cxn modelId="{311B2079-50A4-41DA-A1F5-861FCF09944F}" type="presParOf" srcId="{09743E14-78AC-4BF6-9E33-0AE477E85904}" destId="{5EA00EE2-897F-43C1-909F-854EB98F8088}" srcOrd="1" destOrd="0" presId="urn:microsoft.com/office/officeart/2005/8/layout/orgChart1"/>
    <dgm:cxn modelId="{B07A8F7B-33F7-4906-AA25-566FD4F9F91C}" type="presParOf" srcId="{9D70C5FD-35F0-463A-A07A-BE42D1C6AC49}" destId="{BD60064C-0B0E-4164-BA57-32932A09ACCD}" srcOrd="1" destOrd="0" presId="urn:microsoft.com/office/officeart/2005/8/layout/orgChart1"/>
    <dgm:cxn modelId="{057E3226-5D9D-4F3E-B01B-50C590C28CCC}" type="presParOf" srcId="{BD60064C-0B0E-4164-BA57-32932A09ACCD}" destId="{A1A9F043-3973-4633-ABFF-180F34CD04B5}" srcOrd="0" destOrd="0" presId="urn:microsoft.com/office/officeart/2005/8/layout/orgChart1"/>
    <dgm:cxn modelId="{230C66FF-38DE-4C4F-9DAD-BA64F0F23A74}" type="presParOf" srcId="{BD60064C-0B0E-4164-BA57-32932A09ACCD}" destId="{8D76A2DE-AE2B-44FB-8BDD-57C638E96755}" srcOrd="1" destOrd="0" presId="urn:microsoft.com/office/officeart/2005/8/layout/orgChart1"/>
    <dgm:cxn modelId="{C81B8923-D90B-4FDC-843C-BA3BC5B48CA6}" type="presParOf" srcId="{8D76A2DE-AE2B-44FB-8BDD-57C638E96755}" destId="{25B2F510-D8F0-444A-B96B-321570D81149}" srcOrd="0" destOrd="0" presId="urn:microsoft.com/office/officeart/2005/8/layout/orgChart1"/>
    <dgm:cxn modelId="{C4FCE57F-45BD-45B4-82EA-5A0097781F7D}" type="presParOf" srcId="{25B2F510-D8F0-444A-B96B-321570D81149}" destId="{7CEFD693-E055-4C50-BFA7-0C3137723433}" srcOrd="0" destOrd="0" presId="urn:microsoft.com/office/officeart/2005/8/layout/orgChart1"/>
    <dgm:cxn modelId="{371C6E75-2015-4256-9BA5-5100CB3F1A62}" type="presParOf" srcId="{25B2F510-D8F0-444A-B96B-321570D81149}" destId="{DBBBF837-32ED-41C9-AC67-6B352105A257}" srcOrd="1" destOrd="0" presId="urn:microsoft.com/office/officeart/2005/8/layout/orgChart1"/>
    <dgm:cxn modelId="{B1BEAF70-A803-4A82-93F2-671E29F1D0DB}" type="presParOf" srcId="{8D76A2DE-AE2B-44FB-8BDD-57C638E96755}" destId="{B62922F5-2767-44AA-B09E-2C44B72BDF96}" srcOrd="1" destOrd="0" presId="urn:microsoft.com/office/officeart/2005/8/layout/orgChart1"/>
    <dgm:cxn modelId="{2A646C68-AEFF-4941-9424-0789D8E393F7}" type="presParOf" srcId="{8D76A2DE-AE2B-44FB-8BDD-57C638E96755}" destId="{D68788C8-D779-496F-A0D2-46EC98CEAB43}" srcOrd="2" destOrd="0" presId="urn:microsoft.com/office/officeart/2005/8/layout/orgChart1"/>
    <dgm:cxn modelId="{4FE2540D-49D5-4A33-B4C2-3D785F72168D}" type="presParOf" srcId="{9D70C5FD-35F0-463A-A07A-BE42D1C6AC49}" destId="{A0CB5F8B-AA95-417A-B1F1-703059BA631B}" srcOrd="2" destOrd="0" presId="urn:microsoft.com/office/officeart/2005/8/layout/orgChart1"/>
    <dgm:cxn modelId="{2355F02C-D1A3-416F-9774-EC60F040CB89}" type="presParOf" srcId="{C33C7935-7273-4F7B-BE0C-3AF9BA94BE25}" destId="{DE08AF67-5004-4798-BAED-A4ABA979442B}" srcOrd="2" destOrd="0" presId="urn:microsoft.com/office/officeart/2005/8/layout/orgChart1"/>
    <dgm:cxn modelId="{6F068F55-9258-4BBC-975A-56B365924C1B}" type="presParOf" srcId="{F38C306E-80B9-4389-A53B-F4BACE4F9B88}" destId="{ABF11072-C779-4BA1-857D-852D30B701F9}" srcOrd="2" destOrd="0" presId="urn:microsoft.com/office/officeart/2005/8/layout/orgChar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5382090-D389-4E46-AA83-EE7C9A0AF2FB}" type="doc">
      <dgm:prSet loTypeId="urn:microsoft.com/office/officeart/2016/7/layout/RoundedRectangleTimeline" loCatId="timeline" qsTypeId="urn:microsoft.com/office/officeart/2005/8/quickstyle/simple1" qsCatId="simple" csTypeId="urn:microsoft.com/office/officeart/2005/8/colors/accent2_2" csCatId="accent2" phldr="1"/>
      <dgm:spPr/>
      <dgm:t>
        <a:bodyPr/>
        <a:lstStyle/>
        <a:p>
          <a:endParaRPr lang="en-US"/>
        </a:p>
      </dgm:t>
    </dgm:pt>
    <dgm:pt modelId="{6CAF2D26-65A5-4A39-A5AA-F1A1B24729A5}">
      <dgm:prSet phldrT="[Text]" phldr="0"/>
      <dgm:spPr/>
      <dgm:t>
        <a:bodyPr/>
        <a:lstStyle/>
        <a:p>
          <a:r>
            <a:rPr lang="en-US" b="1">
              <a:latin typeface="Trebuchet MS"/>
            </a:rPr>
            <a:t> Phase 1</a:t>
          </a:r>
          <a:endParaRPr lang="en-US"/>
        </a:p>
      </dgm:t>
    </dgm:pt>
    <dgm:pt modelId="{77EF17C5-C60C-47F0-A1F6-862A3422C0E6}" type="parTrans" cxnId="{72CCA59E-E059-40B8-9711-8167E4D1DAD1}">
      <dgm:prSet/>
      <dgm:spPr/>
      <dgm:t>
        <a:bodyPr/>
        <a:lstStyle/>
        <a:p>
          <a:endParaRPr lang="en-US"/>
        </a:p>
      </dgm:t>
    </dgm:pt>
    <dgm:pt modelId="{2F6BE94D-31C4-4553-8818-924A39FD9A82}" type="sibTrans" cxnId="{72CCA59E-E059-40B8-9711-8167E4D1DAD1}">
      <dgm:prSet/>
      <dgm:spPr/>
      <dgm:t>
        <a:bodyPr/>
        <a:lstStyle/>
        <a:p>
          <a:endParaRPr lang="en-US"/>
        </a:p>
      </dgm:t>
    </dgm:pt>
    <dgm:pt modelId="{681A2FAC-A0BC-448C-B2D6-82E51BA3EC78}">
      <dgm:prSet phldrT="[Text]" phldr="0"/>
      <dgm:spPr/>
      <dgm:t>
        <a:bodyPr/>
        <a:lstStyle/>
        <a:p>
          <a:pPr rtl="0"/>
          <a:r>
            <a:rPr lang="en-US" b="1">
              <a:solidFill>
                <a:srgbClr val="002060"/>
              </a:solidFill>
              <a:latin typeface="Trebuchet MS"/>
            </a:rPr>
            <a:t> </a:t>
          </a:r>
          <a:r>
            <a:rPr lang="en-US" b="1" err="1">
              <a:solidFill>
                <a:srgbClr val="002060"/>
              </a:solidFill>
              <a:latin typeface="Trebuchet MS"/>
            </a:rPr>
            <a:t>Optimise</a:t>
          </a:r>
          <a:r>
            <a:rPr lang="en-US" b="1">
              <a:solidFill>
                <a:srgbClr val="002060"/>
              </a:solidFill>
              <a:latin typeface="Trebuchet MS"/>
            </a:rPr>
            <a:t> Model</a:t>
          </a:r>
        </a:p>
      </dgm:t>
    </dgm:pt>
    <dgm:pt modelId="{A628D00B-98BC-4BC9-8FB5-12529E1DF6EF}" type="parTrans" cxnId="{326C6E83-979E-47CC-9F30-DDA4C229AF09}">
      <dgm:prSet/>
      <dgm:spPr/>
      <dgm:t>
        <a:bodyPr/>
        <a:lstStyle/>
        <a:p>
          <a:endParaRPr lang="en-US"/>
        </a:p>
      </dgm:t>
    </dgm:pt>
    <dgm:pt modelId="{9772FE4E-6691-41DF-BFEB-C7C7B9C6EFFC}" type="sibTrans" cxnId="{326C6E83-979E-47CC-9F30-DDA4C229AF09}">
      <dgm:prSet/>
      <dgm:spPr/>
      <dgm:t>
        <a:bodyPr/>
        <a:lstStyle/>
        <a:p>
          <a:endParaRPr lang="en-US"/>
        </a:p>
      </dgm:t>
    </dgm:pt>
    <dgm:pt modelId="{060F5E40-7D03-4817-B71C-FFE833FB866F}">
      <dgm:prSet phldrT="[Text]" phldr="0"/>
      <dgm:spPr/>
      <dgm:t>
        <a:bodyPr/>
        <a:lstStyle/>
        <a:p>
          <a:pPr rtl="0"/>
          <a:r>
            <a:rPr lang="en-US" b="1">
              <a:latin typeface="Trebuchet MS"/>
            </a:rPr>
            <a:t> Phase 4</a:t>
          </a:r>
        </a:p>
      </dgm:t>
    </dgm:pt>
    <dgm:pt modelId="{4288AC75-7D76-4534-B942-6110B555D53B}" type="parTrans" cxnId="{8BEC2400-1C48-4FC5-8472-5D1F81CF4E64}">
      <dgm:prSet/>
      <dgm:spPr/>
      <dgm:t>
        <a:bodyPr/>
        <a:lstStyle/>
        <a:p>
          <a:endParaRPr lang="en-US"/>
        </a:p>
      </dgm:t>
    </dgm:pt>
    <dgm:pt modelId="{27127E36-E8BB-4FA3-B0BD-F9121DBC19D3}" type="sibTrans" cxnId="{8BEC2400-1C48-4FC5-8472-5D1F81CF4E64}">
      <dgm:prSet/>
      <dgm:spPr/>
      <dgm:t>
        <a:bodyPr/>
        <a:lstStyle/>
        <a:p>
          <a:endParaRPr lang="en-US"/>
        </a:p>
      </dgm:t>
    </dgm:pt>
    <dgm:pt modelId="{93EB4D4D-7041-46AF-BE9D-AA98A090F910}">
      <dgm:prSet phldr="0"/>
      <dgm:spPr/>
      <dgm:t>
        <a:bodyPr/>
        <a:lstStyle/>
        <a:p>
          <a:pPr rtl="0"/>
          <a:r>
            <a:rPr lang="en-US" b="1">
              <a:latin typeface="Trebuchet MS"/>
            </a:rPr>
            <a:t> Phase 3</a:t>
          </a:r>
        </a:p>
      </dgm:t>
    </dgm:pt>
    <dgm:pt modelId="{22CDD264-543C-4828-8E37-934D1D485100}" type="parTrans" cxnId="{8014FE13-2CB8-4675-9919-CA57F2FB51FA}">
      <dgm:prSet/>
      <dgm:spPr/>
    </dgm:pt>
    <dgm:pt modelId="{84643A88-91BA-48FF-9867-56210E59F180}" type="sibTrans" cxnId="{8014FE13-2CB8-4675-9919-CA57F2FB51FA}">
      <dgm:prSet/>
      <dgm:spPr/>
    </dgm:pt>
    <dgm:pt modelId="{B6DA5852-C50B-4453-BAA4-DB044A1E2C70}">
      <dgm:prSet phldr="0"/>
      <dgm:spPr/>
      <dgm:t>
        <a:bodyPr/>
        <a:lstStyle/>
        <a:p>
          <a:pPr rtl="0"/>
          <a:r>
            <a:rPr lang="en-US" b="1">
              <a:solidFill>
                <a:srgbClr val="002060"/>
              </a:solidFill>
              <a:latin typeface="Trebuchet MS"/>
            </a:rPr>
            <a:t> User Testing </a:t>
          </a:r>
        </a:p>
      </dgm:t>
    </dgm:pt>
    <dgm:pt modelId="{556FBDBA-79DA-49FF-9C12-3F64EBC8858F}" type="parTrans" cxnId="{90873505-74A8-4F4F-B5B2-C4E3EB6F3772}">
      <dgm:prSet/>
      <dgm:spPr/>
    </dgm:pt>
    <dgm:pt modelId="{85E3D758-5D2D-4C2A-9286-10E65AC691DA}" type="sibTrans" cxnId="{90873505-74A8-4F4F-B5B2-C4E3EB6F3772}">
      <dgm:prSet/>
      <dgm:spPr/>
    </dgm:pt>
    <dgm:pt modelId="{3CCC7BA8-F830-4282-8995-60282ED2AF84}">
      <dgm:prSet phldr="0"/>
      <dgm:spPr/>
      <dgm:t>
        <a:bodyPr/>
        <a:lstStyle/>
        <a:p>
          <a:r>
            <a:rPr lang="en-US" b="1">
              <a:latin typeface="Trebuchet MS"/>
            </a:rPr>
            <a:t> Phase 2</a:t>
          </a:r>
          <a:endParaRPr lang="en-US" b="1"/>
        </a:p>
      </dgm:t>
    </dgm:pt>
    <dgm:pt modelId="{D0F60D02-3B3F-483D-8BFE-F6B4FB9DD9B7}" type="parTrans" cxnId="{27E79371-0793-4C45-9D5A-004375496921}">
      <dgm:prSet/>
      <dgm:spPr/>
    </dgm:pt>
    <dgm:pt modelId="{B70366BE-52AC-4478-9006-5DAED037748E}" type="sibTrans" cxnId="{27E79371-0793-4C45-9D5A-004375496921}">
      <dgm:prSet/>
      <dgm:spPr/>
    </dgm:pt>
    <dgm:pt modelId="{E1437169-0413-4A39-A1BD-A2F8EBCF2471}">
      <dgm:prSet phldr="0"/>
      <dgm:spPr/>
      <dgm:t>
        <a:bodyPr/>
        <a:lstStyle/>
        <a:p>
          <a:r>
            <a:rPr lang="en-US" b="1">
              <a:solidFill>
                <a:srgbClr val="002060"/>
              </a:solidFill>
              <a:latin typeface="Trebuchet MS"/>
            </a:rPr>
            <a:t>Soft Launch</a:t>
          </a:r>
          <a:endParaRPr lang="en-US"/>
        </a:p>
      </dgm:t>
    </dgm:pt>
    <dgm:pt modelId="{FAF04500-CD33-4162-909B-567AF6C20552}" type="parTrans" cxnId="{83D5F926-237D-4FC4-97FB-D207A0D876E1}">
      <dgm:prSet/>
      <dgm:spPr/>
    </dgm:pt>
    <dgm:pt modelId="{5913FF5D-5F91-42FC-B6E7-389B5EC41193}" type="sibTrans" cxnId="{83D5F926-237D-4FC4-97FB-D207A0D876E1}">
      <dgm:prSet/>
      <dgm:spPr/>
    </dgm:pt>
    <dgm:pt modelId="{9484F170-A5CF-4170-AC86-D2454059C3F9}">
      <dgm:prSet phldr="0"/>
      <dgm:spPr/>
      <dgm:t>
        <a:bodyPr/>
        <a:lstStyle/>
        <a:p>
          <a:r>
            <a:rPr lang="en-US" b="1">
              <a:solidFill>
                <a:srgbClr val="002060"/>
              </a:solidFill>
              <a:latin typeface="Trebuchet MS"/>
            </a:rPr>
            <a:t>Build Prototype </a:t>
          </a:r>
          <a:endParaRPr lang="en-US"/>
        </a:p>
      </dgm:t>
    </dgm:pt>
    <dgm:pt modelId="{FCD2C8E2-B313-44EA-A2A5-91D46C530549}" type="parTrans" cxnId="{F0727C0B-ABE2-44F8-8511-3A054DCB2B48}">
      <dgm:prSet/>
      <dgm:spPr/>
    </dgm:pt>
    <dgm:pt modelId="{82E86EB0-6C52-4416-A0A2-6A5A9D45544B}" type="sibTrans" cxnId="{F0727C0B-ABE2-44F8-8511-3A054DCB2B48}">
      <dgm:prSet/>
      <dgm:spPr/>
    </dgm:pt>
    <dgm:pt modelId="{2F4B8EEC-1E4C-4712-81BB-D63BE9855C61}">
      <dgm:prSet phldr="0"/>
      <dgm:spPr/>
      <dgm:t>
        <a:bodyPr/>
        <a:lstStyle/>
        <a:p>
          <a:pPr rtl="0"/>
          <a:r>
            <a:rPr lang="en-US" b="1">
              <a:latin typeface="Trebuchet MS"/>
            </a:rPr>
            <a:t> Immediate</a:t>
          </a:r>
        </a:p>
      </dgm:t>
    </dgm:pt>
    <dgm:pt modelId="{BFF0DC42-9D80-42B5-A983-6F359D9BC442}" type="parTrans" cxnId="{8345E84F-09EE-4FD9-BD0B-3F294090E9B9}">
      <dgm:prSet/>
      <dgm:spPr/>
    </dgm:pt>
    <dgm:pt modelId="{68C5AE89-F039-4DA9-AB3F-C85DD62B3F96}" type="sibTrans" cxnId="{8345E84F-09EE-4FD9-BD0B-3F294090E9B9}">
      <dgm:prSet/>
      <dgm:spPr/>
    </dgm:pt>
    <dgm:pt modelId="{9D17A697-6675-40A1-A7DB-F1B0ABE7E91F}">
      <dgm:prSet phldr="0"/>
      <dgm:spPr/>
      <dgm:t>
        <a:bodyPr/>
        <a:lstStyle/>
        <a:p>
          <a:pPr rtl="0"/>
          <a:r>
            <a:rPr lang="en-US" b="1">
              <a:solidFill>
                <a:srgbClr val="002060"/>
              </a:solidFill>
              <a:latin typeface="Trebuchet MS"/>
            </a:rPr>
            <a:t>Acquire more data</a:t>
          </a:r>
        </a:p>
      </dgm:t>
    </dgm:pt>
    <dgm:pt modelId="{6A428814-87A2-4924-82E0-829EB682F359}" type="parTrans" cxnId="{38F89E66-3554-4EBD-A747-62C896BD1AFF}">
      <dgm:prSet/>
      <dgm:spPr/>
    </dgm:pt>
    <dgm:pt modelId="{946FC9BE-F42A-4983-8526-1879C11E8755}" type="sibTrans" cxnId="{38F89E66-3554-4EBD-A747-62C896BD1AFF}">
      <dgm:prSet/>
      <dgm:spPr/>
    </dgm:pt>
    <dgm:pt modelId="{4DFBD1CC-C143-442D-BA0F-44BF95CC42A3}">
      <dgm:prSet phldr="0"/>
      <dgm:spPr/>
      <dgm:t>
        <a:bodyPr/>
        <a:lstStyle/>
        <a:p>
          <a:pPr rtl="0"/>
          <a:r>
            <a:rPr lang="en-US" b="1">
              <a:solidFill>
                <a:srgbClr val="002060"/>
              </a:solidFill>
              <a:latin typeface="Trebuchet MS"/>
            </a:rPr>
            <a:t>Improve on model metrics</a:t>
          </a:r>
          <a:endParaRPr lang="en-US"/>
        </a:p>
      </dgm:t>
    </dgm:pt>
    <dgm:pt modelId="{77D86EAF-5164-4DA8-92E8-F230CCE922C9}" type="parTrans" cxnId="{AA021F7E-2FED-4A70-92B4-0E12803E3E67}">
      <dgm:prSet/>
      <dgm:spPr/>
    </dgm:pt>
    <dgm:pt modelId="{26F42E7E-A27C-410A-AA58-F167C4B3401B}" type="sibTrans" cxnId="{AA021F7E-2FED-4A70-92B4-0E12803E3E67}">
      <dgm:prSet/>
      <dgm:spPr/>
    </dgm:pt>
    <dgm:pt modelId="{AD789A67-87BE-4858-92B7-10B78DB5733D}">
      <dgm:prSet phldr="0"/>
      <dgm:spPr/>
      <dgm:t>
        <a:bodyPr/>
        <a:lstStyle/>
        <a:p>
          <a:pPr rtl="0"/>
          <a:r>
            <a:rPr lang="en-US" b="1">
              <a:solidFill>
                <a:srgbClr val="002060"/>
              </a:solidFill>
              <a:latin typeface="Trebuchet MS"/>
            </a:rPr>
            <a:t>Consider additional features</a:t>
          </a:r>
        </a:p>
      </dgm:t>
    </dgm:pt>
    <dgm:pt modelId="{56715F06-E78C-461F-8D99-2181BBAD4E57}" type="parTrans" cxnId="{5F9ED5C0-BDF0-4C95-8913-714A2AA12A6D}">
      <dgm:prSet/>
      <dgm:spPr/>
    </dgm:pt>
    <dgm:pt modelId="{0841905E-DE1D-499D-8C81-73295192C54A}" type="sibTrans" cxnId="{5F9ED5C0-BDF0-4C95-8913-714A2AA12A6D}">
      <dgm:prSet/>
      <dgm:spPr/>
    </dgm:pt>
    <dgm:pt modelId="{61CB4F07-D820-4684-A2E2-58493A83A1AB}" type="pres">
      <dgm:prSet presAssocID="{B5382090-D389-4E46-AA83-EE7C9A0AF2FB}" presName="Name0" presStyleCnt="0">
        <dgm:presLayoutVars>
          <dgm:chMax/>
          <dgm:chPref/>
          <dgm:animLvl val="lvl"/>
        </dgm:presLayoutVars>
      </dgm:prSet>
      <dgm:spPr/>
    </dgm:pt>
    <dgm:pt modelId="{177A8DEF-551D-43CE-B53F-CBC2EF28F0BA}" type="pres">
      <dgm:prSet presAssocID="{2F4B8EEC-1E4C-4712-81BB-D63BE9855C61}" presName="composite1" presStyleCnt="0"/>
      <dgm:spPr/>
    </dgm:pt>
    <dgm:pt modelId="{2A264F77-B2FA-4287-8CB3-C21226EC55BC}" type="pres">
      <dgm:prSet presAssocID="{2F4B8EEC-1E4C-4712-81BB-D63BE9855C61}" presName="parent1" presStyleLbl="alignNode1" presStyleIdx="0" presStyleCnt="5">
        <dgm:presLayoutVars>
          <dgm:chMax val="1"/>
          <dgm:chPref val="1"/>
          <dgm:bulletEnabled val="1"/>
        </dgm:presLayoutVars>
      </dgm:prSet>
      <dgm:spPr/>
    </dgm:pt>
    <dgm:pt modelId="{3BF414E0-9BED-4B93-BAE4-0FE63D3F3D0D}" type="pres">
      <dgm:prSet presAssocID="{2F4B8EEC-1E4C-4712-81BB-D63BE9855C61}" presName="Childtext1" presStyleLbl="revTx" presStyleIdx="0" presStyleCnt="5">
        <dgm:presLayoutVars>
          <dgm:bulletEnabled val="1"/>
        </dgm:presLayoutVars>
      </dgm:prSet>
      <dgm:spPr/>
    </dgm:pt>
    <dgm:pt modelId="{67BC571C-90DF-423A-BE46-261CD6D15CD9}" type="pres">
      <dgm:prSet presAssocID="{2F4B8EEC-1E4C-4712-81BB-D63BE9855C61}" presName="ConnectLine1" presStyleLbl="sibTrans1D1" presStyleIdx="0" presStyleCnt="5"/>
      <dgm:spPr>
        <a:noFill/>
        <a:ln w="9525" cap="flat" cmpd="sng" algn="ctr">
          <a:solidFill>
            <a:schemeClr val="accent2">
              <a:hueOff val="0"/>
              <a:satOff val="0"/>
              <a:lumOff val="0"/>
              <a:alphaOff val="0"/>
            </a:schemeClr>
          </a:solidFill>
          <a:prstDash val="dash"/>
        </a:ln>
        <a:effectLst/>
      </dgm:spPr>
    </dgm:pt>
    <dgm:pt modelId="{7071E5EA-6A1E-4936-AA67-E6DF12E44E4A}" type="pres">
      <dgm:prSet presAssocID="{2F4B8EEC-1E4C-4712-81BB-D63BE9855C61}" presName="ConnectLineEnd1" presStyleLbl="lnNode1" presStyleIdx="0" presStyleCnt="5"/>
      <dgm:spPr/>
    </dgm:pt>
    <dgm:pt modelId="{12A2CD21-CC18-4E7F-A84F-6AE4E2663E3B}" type="pres">
      <dgm:prSet presAssocID="{2F4B8EEC-1E4C-4712-81BB-D63BE9855C61}" presName="EmptyPane1" presStyleCnt="0"/>
      <dgm:spPr/>
    </dgm:pt>
    <dgm:pt modelId="{057B253B-A2A0-4963-92F6-DBE3E400E6CE}" type="pres">
      <dgm:prSet presAssocID="{68C5AE89-F039-4DA9-AB3F-C85DD62B3F96}" presName="spaceBetweenRectangles1" presStyleCnt="0"/>
      <dgm:spPr/>
    </dgm:pt>
    <dgm:pt modelId="{9924B38D-E40F-48F3-BCDA-174D2F327F02}" type="pres">
      <dgm:prSet presAssocID="{6CAF2D26-65A5-4A39-A5AA-F1A1B24729A5}" presName="composite1" presStyleCnt="0"/>
      <dgm:spPr/>
    </dgm:pt>
    <dgm:pt modelId="{36279CEF-236B-43ED-907C-B557697BEC8D}" type="pres">
      <dgm:prSet presAssocID="{6CAF2D26-65A5-4A39-A5AA-F1A1B24729A5}" presName="parent1" presStyleLbl="alignNode1" presStyleIdx="1" presStyleCnt="5">
        <dgm:presLayoutVars>
          <dgm:chMax val="1"/>
          <dgm:chPref val="1"/>
          <dgm:bulletEnabled val="1"/>
        </dgm:presLayoutVars>
      </dgm:prSet>
      <dgm:spPr/>
    </dgm:pt>
    <dgm:pt modelId="{EDD5675C-83C4-4769-8648-4EF5BC6B613D}" type="pres">
      <dgm:prSet presAssocID="{6CAF2D26-65A5-4A39-A5AA-F1A1B24729A5}" presName="Childtext1" presStyleLbl="revTx" presStyleIdx="1" presStyleCnt="5">
        <dgm:presLayoutVars>
          <dgm:bulletEnabled val="1"/>
        </dgm:presLayoutVars>
      </dgm:prSet>
      <dgm:spPr/>
    </dgm:pt>
    <dgm:pt modelId="{61269B63-A20B-41B1-8A64-C7F49377B384}" type="pres">
      <dgm:prSet presAssocID="{6CAF2D26-65A5-4A39-A5AA-F1A1B24729A5}" presName="ConnectLine1" presStyleLbl="sibTrans1D1" presStyleIdx="1" presStyleCnt="5"/>
      <dgm:spPr>
        <a:noFill/>
        <a:ln w="9525" cap="flat" cmpd="sng" algn="ctr">
          <a:solidFill>
            <a:schemeClr val="accent2">
              <a:hueOff val="0"/>
              <a:satOff val="0"/>
              <a:lumOff val="0"/>
              <a:alphaOff val="0"/>
            </a:schemeClr>
          </a:solidFill>
          <a:prstDash val="dash"/>
        </a:ln>
        <a:effectLst/>
      </dgm:spPr>
    </dgm:pt>
    <dgm:pt modelId="{46FA7420-7536-4337-AFA6-1BBBB7AE3A4E}" type="pres">
      <dgm:prSet presAssocID="{6CAF2D26-65A5-4A39-A5AA-F1A1B24729A5}" presName="ConnectLineEnd1" presStyleLbl="lnNode1" presStyleIdx="1" presStyleCnt="5"/>
      <dgm:spPr/>
    </dgm:pt>
    <dgm:pt modelId="{6689BA8C-D7B8-458C-86A2-7D59BC92E2FF}" type="pres">
      <dgm:prSet presAssocID="{6CAF2D26-65A5-4A39-A5AA-F1A1B24729A5}" presName="EmptyPane1" presStyleCnt="0"/>
      <dgm:spPr/>
    </dgm:pt>
    <dgm:pt modelId="{E956CBB4-ECC1-4BE7-9ADF-863FE97529E6}" type="pres">
      <dgm:prSet presAssocID="{2F6BE94D-31C4-4553-8818-924A39FD9A82}" presName="spaceBetweenRectangles1" presStyleCnt="0"/>
      <dgm:spPr/>
    </dgm:pt>
    <dgm:pt modelId="{5156FF32-0822-43BC-A010-6F0EE06888EA}" type="pres">
      <dgm:prSet presAssocID="{3CCC7BA8-F830-4282-8995-60282ED2AF84}" presName="composite1" presStyleCnt="0"/>
      <dgm:spPr/>
    </dgm:pt>
    <dgm:pt modelId="{D0523C11-87BF-4677-B69F-65F76242AA47}" type="pres">
      <dgm:prSet presAssocID="{3CCC7BA8-F830-4282-8995-60282ED2AF84}" presName="parent1" presStyleLbl="alignNode1" presStyleIdx="2" presStyleCnt="5">
        <dgm:presLayoutVars>
          <dgm:chMax val="1"/>
          <dgm:chPref val="1"/>
          <dgm:bulletEnabled val="1"/>
        </dgm:presLayoutVars>
      </dgm:prSet>
      <dgm:spPr/>
    </dgm:pt>
    <dgm:pt modelId="{B7F91847-0032-447D-8816-FC686C440B19}" type="pres">
      <dgm:prSet presAssocID="{3CCC7BA8-F830-4282-8995-60282ED2AF84}" presName="Childtext1" presStyleLbl="revTx" presStyleIdx="2" presStyleCnt="5">
        <dgm:presLayoutVars>
          <dgm:bulletEnabled val="1"/>
        </dgm:presLayoutVars>
      </dgm:prSet>
      <dgm:spPr/>
    </dgm:pt>
    <dgm:pt modelId="{6E49F180-E2B2-4820-A02B-E6CBCD4B03C9}" type="pres">
      <dgm:prSet presAssocID="{3CCC7BA8-F830-4282-8995-60282ED2AF84}" presName="ConnectLine1" presStyleLbl="sibTrans1D1" presStyleIdx="2" presStyleCnt="5"/>
      <dgm:spPr>
        <a:noFill/>
        <a:ln w="9525" cap="flat" cmpd="sng" algn="ctr">
          <a:solidFill>
            <a:schemeClr val="accent2">
              <a:hueOff val="0"/>
              <a:satOff val="0"/>
              <a:lumOff val="0"/>
              <a:alphaOff val="0"/>
            </a:schemeClr>
          </a:solidFill>
          <a:prstDash val="dash"/>
        </a:ln>
        <a:effectLst/>
      </dgm:spPr>
    </dgm:pt>
    <dgm:pt modelId="{C716EC80-6C9F-442F-AC00-4867FF001B7F}" type="pres">
      <dgm:prSet presAssocID="{3CCC7BA8-F830-4282-8995-60282ED2AF84}" presName="ConnectLineEnd1" presStyleLbl="lnNode1" presStyleIdx="2" presStyleCnt="5"/>
      <dgm:spPr/>
    </dgm:pt>
    <dgm:pt modelId="{2A3CBE89-E359-471B-8BF5-884D79AA0CBB}" type="pres">
      <dgm:prSet presAssocID="{3CCC7BA8-F830-4282-8995-60282ED2AF84}" presName="EmptyPane1" presStyleCnt="0"/>
      <dgm:spPr/>
    </dgm:pt>
    <dgm:pt modelId="{B9DF08E9-0A04-4E56-90D5-7576554DE34A}" type="pres">
      <dgm:prSet presAssocID="{B70366BE-52AC-4478-9006-5DAED037748E}" presName="spaceBetweenRectangles1" presStyleCnt="0"/>
      <dgm:spPr/>
    </dgm:pt>
    <dgm:pt modelId="{633EF82F-023A-4D47-BE04-2B9B131CC340}" type="pres">
      <dgm:prSet presAssocID="{93EB4D4D-7041-46AF-BE9D-AA98A090F910}" presName="composite1" presStyleCnt="0"/>
      <dgm:spPr/>
    </dgm:pt>
    <dgm:pt modelId="{348918C2-BB52-40BD-A734-17B37F1C393A}" type="pres">
      <dgm:prSet presAssocID="{93EB4D4D-7041-46AF-BE9D-AA98A090F910}" presName="parent1" presStyleLbl="alignNode1" presStyleIdx="3" presStyleCnt="5">
        <dgm:presLayoutVars>
          <dgm:chMax val="1"/>
          <dgm:chPref val="1"/>
          <dgm:bulletEnabled val="1"/>
        </dgm:presLayoutVars>
      </dgm:prSet>
      <dgm:spPr/>
    </dgm:pt>
    <dgm:pt modelId="{E2E51C52-4030-4BEA-9AB5-ACD8C111DBF2}" type="pres">
      <dgm:prSet presAssocID="{93EB4D4D-7041-46AF-BE9D-AA98A090F910}" presName="Childtext1" presStyleLbl="revTx" presStyleIdx="3" presStyleCnt="5">
        <dgm:presLayoutVars>
          <dgm:bulletEnabled val="1"/>
        </dgm:presLayoutVars>
      </dgm:prSet>
      <dgm:spPr/>
    </dgm:pt>
    <dgm:pt modelId="{049B9701-D383-4FF8-B0F8-7AF825779BE5}" type="pres">
      <dgm:prSet presAssocID="{93EB4D4D-7041-46AF-BE9D-AA98A090F910}" presName="ConnectLine1" presStyleLbl="sibTrans1D1" presStyleIdx="3" presStyleCnt="5"/>
      <dgm:spPr>
        <a:noFill/>
        <a:ln w="9525" cap="flat" cmpd="sng" algn="ctr">
          <a:solidFill>
            <a:schemeClr val="accent2">
              <a:hueOff val="0"/>
              <a:satOff val="0"/>
              <a:lumOff val="0"/>
              <a:alphaOff val="0"/>
            </a:schemeClr>
          </a:solidFill>
          <a:prstDash val="dash"/>
        </a:ln>
        <a:effectLst/>
      </dgm:spPr>
    </dgm:pt>
    <dgm:pt modelId="{6A52CAC0-17AA-4870-BDAB-09AA7F96891F}" type="pres">
      <dgm:prSet presAssocID="{93EB4D4D-7041-46AF-BE9D-AA98A090F910}" presName="ConnectLineEnd1" presStyleLbl="lnNode1" presStyleIdx="3" presStyleCnt="5"/>
      <dgm:spPr/>
    </dgm:pt>
    <dgm:pt modelId="{7F5AB221-F6E4-45F1-9CBA-C03B34A248D2}" type="pres">
      <dgm:prSet presAssocID="{93EB4D4D-7041-46AF-BE9D-AA98A090F910}" presName="EmptyPane1" presStyleCnt="0"/>
      <dgm:spPr/>
    </dgm:pt>
    <dgm:pt modelId="{D963124F-F32E-4555-9E3D-0673E6E466AB}" type="pres">
      <dgm:prSet presAssocID="{84643A88-91BA-48FF-9867-56210E59F180}" presName="spaceBetweenRectangles1" presStyleCnt="0"/>
      <dgm:spPr/>
    </dgm:pt>
    <dgm:pt modelId="{4B8EEDB4-D5E2-4C7E-95DF-B260B601FB25}" type="pres">
      <dgm:prSet presAssocID="{060F5E40-7D03-4817-B71C-FFE833FB866F}" presName="composite1" presStyleCnt="0"/>
      <dgm:spPr/>
    </dgm:pt>
    <dgm:pt modelId="{9D99924B-5D39-4239-A7F6-F5D8A5F6457F}" type="pres">
      <dgm:prSet presAssocID="{060F5E40-7D03-4817-B71C-FFE833FB866F}" presName="parent1" presStyleLbl="alignNode1" presStyleIdx="4" presStyleCnt="5">
        <dgm:presLayoutVars>
          <dgm:chMax val="1"/>
          <dgm:chPref val="1"/>
          <dgm:bulletEnabled val="1"/>
        </dgm:presLayoutVars>
      </dgm:prSet>
      <dgm:spPr/>
    </dgm:pt>
    <dgm:pt modelId="{74FC39F0-273F-4F12-A0BF-9D5588A311CD}" type="pres">
      <dgm:prSet presAssocID="{060F5E40-7D03-4817-B71C-FFE833FB866F}" presName="Childtext1" presStyleLbl="revTx" presStyleIdx="4" presStyleCnt="5">
        <dgm:presLayoutVars>
          <dgm:bulletEnabled val="1"/>
        </dgm:presLayoutVars>
      </dgm:prSet>
      <dgm:spPr/>
    </dgm:pt>
    <dgm:pt modelId="{705F2AA3-A4D0-4881-945F-53836ECC800C}" type="pres">
      <dgm:prSet presAssocID="{060F5E40-7D03-4817-B71C-FFE833FB866F}" presName="ConnectLine1" presStyleLbl="sibTrans1D1" presStyleIdx="4" presStyleCnt="5"/>
      <dgm:spPr>
        <a:noFill/>
        <a:ln w="9525" cap="flat" cmpd="sng" algn="ctr">
          <a:solidFill>
            <a:schemeClr val="accent2">
              <a:hueOff val="0"/>
              <a:satOff val="0"/>
              <a:lumOff val="0"/>
              <a:alphaOff val="0"/>
            </a:schemeClr>
          </a:solidFill>
          <a:prstDash val="dash"/>
        </a:ln>
        <a:effectLst/>
      </dgm:spPr>
    </dgm:pt>
    <dgm:pt modelId="{0655CDBD-B15C-4A31-9867-C51888509025}" type="pres">
      <dgm:prSet presAssocID="{060F5E40-7D03-4817-B71C-FFE833FB866F}" presName="ConnectLineEnd1" presStyleLbl="lnNode1" presStyleIdx="4" presStyleCnt="5"/>
      <dgm:spPr/>
    </dgm:pt>
    <dgm:pt modelId="{339183E8-BCAA-4D5C-9AD4-2D229A96AB76}" type="pres">
      <dgm:prSet presAssocID="{060F5E40-7D03-4817-B71C-FFE833FB866F}" presName="EmptyPane1" presStyleCnt="0"/>
      <dgm:spPr/>
    </dgm:pt>
  </dgm:ptLst>
  <dgm:cxnLst>
    <dgm:cxn modelId="{8BEC2400-1C48-4FC5-8472-5D1F81CF4E64}" srcId="{B5382090-D389-4E46-AA83-EE7C9A0AF2FB}" destId="{060F5E40-7D03-4817-B71C-FFE833FB866F}" srcOrd="4" destOrd="0" parTransId="{4288AC75-7D76-4534-B942-6110B555D53B}" sibTransId="{27127E36-E8BB-4FA3-B0BD-F9121DBC19D3}"/>
    <dgm:cxn modelId="{90873505-74A8-4F4F-B5B2-C4E3EB6F3772}" srcId="{93EB4D4D-7041-46AF-BE9D-AA98A090F910}" destId="{B6DA5852-C50B-4453-BAA4-DB044A1E2C70}" srcOrd="0" destOrd="0" parTransId="{556FBDBA-79DA-49FF-9C12-3F64EBC8858F}" sibTransId="{85E3D758-5D2D-4C2A-9286-10E65AC691DA}"/>
    <dgm:cxn modelId="{F0727C0B-ABE2-44F8-8511-3A054DCB2B48}" srcId="{3CCC7BA8-F830-4282-8995-60282ED2AF84}" destId="{9484F170-A5CF-4170-AC86-D2454059C3F9}" srcOrd="0" destOrd="0" parTransId="{FCD2C8E2-B313-44EA-A2A5-91D46C530549}" sibTransId="{82E86EB0-6C52-4416-A0A2-6A5A9D45544B}"/>
    <dgm:cxn modelId="{8014FE13-2CB8-4675-9919-CA57F2FB51FA}" srcId="{B5382090-D389-4E46-AA83-EE7C9A0AF2FB}" destId="{93EB4D4D-7041-46AF-BE9D-AA98A090F910}" srcOrd="3" destOrd="0" parTransId="{22CDD264-543C-4828-8E37-934D1D485100}" sibTransId="{84643A88-91BA-48FF-9867-56210E59F180}"/>
    <dgm:cxn modelId="{7BE3D71F-A5B4-4DDC-BEDA-E49178B32F13}" type="presOf" srcId="{6CAF2D26-65A5-4A39-A5AA-F1A1B24729A5}" destId="{36279CEF-236B-43ED-907C-B557697BEC8D}" srcOrd="0" destOrd="0" presId="urn:microsoft.com/office/officeart/2016/7/layout/RoundedRectangleTimeline"/>
    <dgm:cxn modelId="{83D5F926-237D-4FC4-97FB-D207A0D876E1}" srcId="{060F5E40-7D03-4817-B71C-FFE833FB866F}" destId="{E1437169-0413-4A39-A1BD-A2F8EBCF2471}" srcOrd="0" destOrd="0" parTransId="{FAF04500-CD33-4162-909B-567AF6C20552}" sibTransId="{5913FF5D-5F91-42FC-B6E7-389B5EC41193}"/>
    <dgm:cxn modelId="{657B6C2E-3308-4D27-907D-0230B75782CD}" type="presOf" srcId="{681A2FAC-A0BC-448C-B2D6-82E51BA3EC78}" destId="{EDD5675C-83C4-4769-8648-4EF5BC6B613D}" srcOrd="0" destOrd="0" presId="urn:microsoft.com/office/officeart/2016/7/layout/RoundedRectangleTimeline"/>
    <dgm:cxn modelId="{FB3BE135-EE55-4935-B483-45AE5493A5E7}" type="presOf" srcId="{9484F170-A5CF-4170-AC86-D2454059C3F9}" destId="{B7F91847-0032-447D-8816-FC686C440B19}" srcOrd="0" destOrd="0" presId="urn:microsoft.com/office/officeart/2016/7/layout/RoundedRectangleTimeline"/>
    <dgm:cxn modelId="{86B2C639-6009-4E39-AB38-3E49772F90D3}" type="presOf" srcId="{93EB4D4D-7041-46AF-BE9D-AA98A090F910}" destId="{348918C2-BB52-40BD-A734-17B37F1C393A}" srcOrd="0" destOrd="0" presId="urn:microsoft.com/office/officeart/2016/7/layout/RoundedRectangleTimeline"/>
    <dgm:cxn modelId="{313A433B-75B2-410A-9580-C8795E6C05FD}" type="presOf" srcId="{E1437169-0413-4A39-A1BD-A2F8EBCF2471}" destId="{74FC39F0-273F-4F12-A0BF-9D5588A311CD}" srcOrd="0" destOrd="0" presId="urn:microsoft.com/office/officeart/2016/7/layout/RoundedRectangleTimeline"/>
    <dgm:cxn modelId="{EC37845C-2864-4FD7-9389-B765BF09380D}" type="presOf" srcId="{2F4B8EEC-1E4C-4712-81BB-D63BE9855C61}" destId="{2A264F77-B2FA-4287-8CB3-C21226EC55BC}" srcOrd="0" destOrd="0" presId="urn:microsoft.com/office/officeart/2016/7/layout/RoundedRectangleTimeline"/>
    <dgm:cxn modelId="{AA100343-650E-4A1C-AEB3-630E0F7E5FB7}" type="presOf" srcId="{3CCC7BA8-F830-4282-8995-60282ED2AF84}" destId="{D0523C11-87BF-4677-B69F-65F76242AA47}" srcOrd="0" destOrd="0" presId="urn:microsoft.com/office/officeart/2016/7/layout/RoundedRectangleTimeline"/>
    <dgm:cxn modelId="{FC513763-F091-4DEF-A39F-A3826ADF9FD3}" type="presOf" srcId="{9D17A697-6675-40A1-A7DB-F1B0ABE7E91F}" destId="{3BF414E0-9BED-4B93-BAE4-0FE63D3F3D0D}" srcOrd="0" destOrd="0" presId="urn:microsoft.com/office/officeart/2016/7/layout/RoundedRectangleTimeline"/>
    <dgm:cxn modelId="{38F89E66-3554-4EBD-A747-62C896BD1AFF}" srcId="{2F4B8EEC-1E4C-4712-81BB-D63BE9855C61}" destId="{9D17A697-6675-40A1-A7DB-F1B0ABE7E91F}" srcOrd="0" destOrd="0" parTransId="{6A428814-87A2-4924-82E0-829EB682F359}" sibTransId="{946FC9BE-F42A-4983-8526-1879C11E8755}"/>
    <dgm:cxn modelId="{8345E84F-09EE-4FD9-BD0B-3F294090E9B9}" srcId="{B5382090-D389-4E46-AA83-EE7C9A0AF2FB}" destId="{2F4B8EEC-1E4C-4712-81BB-D63BE9855C61}" srcOrd="0" destOrd="0" parTransId="{BFF0DC42-9D80-42B5-A983-6F359D9BC442}" sibTransId="{68C5AE89-F039-4DA9-AB3F-C85DD62B3F96}"/>
    <dgm:cxn modelId="{27E79371-0793-4C45-9D5A-004375496921}" srcId="{B5382090-D389-4E46-AA83-EE7C9A0AF2FB}" destId="{3CCC7BA8-F830-4282-8995-60282ED2AF84}" srcOrd="2" destOrd="0" parTransId="{D0F60D02-3B3F-483D-8BFE-F6B4FB9DD9B7}" sibTransId="{B70366BE-52AC-4478-9006-5DAED037748E}"/>
    <dgm:cxn modelId="{D86B855A-DC01-4B29-AC23-8265688BCDAF}" type="presOf" srcId="{4DFBD1CC-C143-442D-BA0F-44BF95CC42A3}" destId="{3BF414E0-9BED-4B93-BAE4-0FE63D3F3D0D}" srcOrd="0" destOrd="2" presId="urn:microsoft.com/office/officeart/2016/7/layout/RoundedRectangleTimeline"/>
    <dgm:cxn modelId="{0ABADA7B-A385-4853-BBEF-85E042968D01}" type="presOf" srcId="{060F5E40-7D03-4817-B71C-FFE833FB866F}" destId="{9D99924B-5D39-4239-A7F6-F5D8A5F6457F}" srcOrd="0" destOrd="0" presId="urn:microsoft.com/office/officeart/2016/7/layout/RoundedRectangleTimeline"/>
    <dgm:cxn modelId="{AA021F7E-2FED-4A70-92B4-0E12803E3E67}" srcId="{2F4B8EEC-1E4C-4712-81BB-D63BE9855C61}" destId="{4DFBD1CC-C143-442D-BA0F-44BF95CC42A3}" srcOrd="2" destOrd="0" parTransId="{77D86EAF-5164-4DA8-92E8-F230CCE922C9}" sibTransId="{26F42E7E-A27C-410A-AA58-F167C4B3401B}"/>
    <dgm:cxn modelId="{326C6E83-979E-47CC-9F30-DDA4C229AF09}" srcId="{6CAF2D26-65A5-4A39-A5AA-F1A1B24729A5}" destId="{681A2FAC-A0BC-448C-B2D6-82E51BA3EC78}" srcOrd="0" destOrd="0" parTransId="{A628D00B-98BC-4BC9-8FB5-12529E1DF6EF}" sibTransId="{9772FE4E-6691-41DF-BFEB-C7C7B9C6EFFC}"/>
    <dgm:cxn modelId="{72CCA59E-E059-40B8-9711-8167E4D1DAD1}" srcId="{B5382090-D389-4E46-AA83-EE7C9A0AF2FB}" destId="{6CAF2D26-65A5-4A39-A5AA-F1A1B24729A5}" srcOrd="1" destOrd="0" parTransId="{77EF17C5-C60C-47F0-A1F6-862A3422C0E6}" sibTransId="{2F6BE94D-31C4-4553-8818-924A39FD9A82}"/>
    <dgm:cxn modelId="{A252D5AA-3304-4B15-9AC8-E1876C522F59}" type="presOf" srcId="{B6DA5852-C50B-4453-BAA4-DB044A1E2C70}" destId="{E2E51C52-4030-4BEA-9AB5-ACD8C111DBF2}" srcOrd="0" destOrd="0" presId="urn:microsoft.com/office/officeart/2016/7/layout/RoundedRectangleTimeline"/>
    <dgm:cxn modelId="{5F9ED5C0-BDF0-4C95-8913-714A2AA12A6D}" srcId="{2F4B8EEC-1E4C-4712-81BB-D63BE9855C61}" destId="{AD789A67-87BE-4858-92B7-10B78DB5733D}" srcOrd="1" destOrd="0" parTransId="{56715F06-E78C-461F-8D99-2181BBAD4E57}" sibTransId="{0841905E-DE1D-499D-8C81-73295192C54A}"/>
    <dgm:cxn modelId="{5B41DADA-178B-479B-A663-5AD21A5CA2C6}" type="presOf" srcId="{AD789A67-87BE-4858-92B7-10B78DB5733D}" destId="{3BF414E0-9BED-4B93-BAE4-0FE63D3F3D0D}" srcOrd="0" destOrd="1" presId="urn:microsoft.com/office/officeart/2016/7/layout/RoundedRectangleTimeline"/>
    <dgm:cxn modelId="{DF0FE6FE-E918-4DCB-9907-94E2EB33EDBE}" type="presOf" srcId="{B5382090-D389-4E46-AA83-EE7C9A0AF2FB}" destId="{61CB4F07-D820-4684-A2E2-58493A83A1AB}" srcOrd="0" destOrd="0" presId="urn:microsoft.com/office/officeart/2016/7/layout/RoundedRectangleTimeline"/>
    <dgm:cxn modelId="{EDD2A3EE-5C6A-42DE-BF92-69DA0D455DC6}" type="presParOf" srcId="{61CB4F07-D820-4684-A2E2-58493A83A1AB}" destId="{177A8DEF-551D-43CE-B53F-CBC2EF28F0BA}" srcOrd="0" destOrd="0" presId="urn:microsoft.com/office/officeart/2016/7/layout/RoundedRectangleTimeline"/>
    <dgm:cxn modelId="{E041DE7C-DCA5-437D-BE0D-C9F8F143EAEA}" type="presParOf" srcId="{177A8DEF-551D-43CE-B53F-CBC2EF28F0BA}" destId="{2A264F77-B2FA-4287-8CB3-C21226EC55BC}" srcOrd="0" destOrd="0" presId="urn:microsoft.com/office/officeart/2016/7/layout/RoundedRectangleTimeline"/>
    <dgm:cxn modelId="{32FB676A-8770-4FEF-87B9-1BE675484AB5}" type="presParOf" srcId="{177A8DEF-551D-43CE-B53F-CBC2EF28F0BA}" destId="{3BF414E0-9BED-4B93-BAE4-0FE63D3F3D0D}" srcOrd="1" destOrd="0" presId="urn:microsoft.com/office/officeart/2016/7/layout/RoundedRectangleTimeline"/>
    <dgm:cxn modelId="{FD32D530-BF24-4EFF-82D1-609A9565DCA9}" type="presParOf" srcId="{177A8DEF-551D-43CE-B53F-CBC2EF28F0BA}" destId="{67BC571C-90DF-423A-BE46-261CD6D15CD9}" srcOrd="2" destOrd="0" presId="urn:microsoft.com/office/officeart/2016/7/layout/RoundedRectangleTimeline"/>
    <dgm:cxn modelId="{4D8D1170-0781-44B6-8AF3-08B65F4DBC6F}" type="presParOf" srcId="{177A8DEF-551D-43CE-B53F-CBC2EF28F0BA}" destId="{7071E5EA-6A1E-4936-AA67-E6DF12E44E4A}" srcOrd="3" destOrd="0" presId="urn:microsoft.com/office/officeart/2016/7/layout/RoundedRectangleTimeline"/>
    <dgm:cxn modelId="{C8AA5559-3A86-4597-8936-AFEB27CD786D}" type="presParOf" srcId="{177A8DEF-551D-43CE-B53F-CBC2EF28F0BA}" destId="{12A2CD21-CC18-4E7F-A84F-6AE4E2663E3B}" srcOrd="4" destOrd="0" presId="urn:microsoft.com/office/officeart/2016/7/layout/RoundedRectangleTimeline"/>
    <dgm:cxn modelId="{C47E6DF0-BBBC-4128-9CA1-FC41B942E917}" type="presParOf" srcId="{61CB4F07-D820-4684-A2E2-58493A83A1AB}" destId="{057B253B-A2A0-4963-92F6-DBE3E400E6CE}" srcOrd="1" destOrd="0" presId="urn:microsoft.com/office/officeart/2016/7/layout/RoundedRectangleTimeline"/>
    <dgm:cxn modelId="{13E6E545-C87C-4C2A-8A41-B6B4B5932285}" type="presParOf" srcId="{61CB4F07-D820-4684-A2E2-58493A83A1AB}" destId="{9924B38D-E40F-48F3-BCDA-174D2F327F02}" srcOrd="2" destOrd="0" presId="urn:microsoft.com/office/officeart/2016/7/layout/RoundedRectangleTimeline"/>
    <dgm:cxn modelId="{2F3D704F-0CDE-4E53-AE2F-F193E4BCBD0F}" type="presParOf" srcId="{9924B38D-E40F-48F3-BCDA-174D2F327F02}" destId="{36279CEF-236B-43ED-907C-B557697BEC8D}" srcOrd="0" destOrd="0" presId="urn:microsoft.com/office/officeart/2016/7/layout/RoundedRectangleTimeline"/>
    <dgm:cxn modelId="{3DBED5F4-946F-4941-98AD-37CFE89D6FB7}" type="presParOf" srcId="{9924B38D-E40F-48F3-BCDA-174D2F327F02}" destId="{EDD5675C-83C4-4769-8648-4EF5BC6B613D}" srcOrd="1" destOrd="0" presId="urn:microsoft.com/office/officeart/2016/7/layout/RoundedRectangleTimeline"/>
    <dgm:cxn modelId="{952CF218-80CB-4A6A-8D03-05312023B9C9}" type="presParOf" srcId="{9924B38D-E40F-48F3-BCDA-174D2F327F02}" destId="{61269B63-A20B-41B1-8A64-C7F49377B384}" srcOrd="2" destOrd="0" presId="urn:microsoft.com/office/officeart/2016/7/layout/RoundedRectangleTimeline"/>
    <dgm:cxn modelId="{79688E1E-FE93-4BF7-B946-9BAA0B19F72C}" type="presParOf" srcId="{9924B38D-E40F-48F3-BCDA-174D2F327F02}" destId="{46FA7420-7536-4337-AFA6-1BBBB7AE3A4E}" srcOrd="3" destOrd="0" presId="urn:microsoft.com/office/officeart/2016/7/layout/RoundedRectangleTimeline"/>
    <dgm:cxn modelId="{B6152E94-D335-4670-871A-DB5F3B5558F8}" type="presParOf" srcId="{9924B38D-E40F-48F3-BCDA-174D2F327F02}" destId="{6689BA8C-D7B8-458C-86A2-7D59BC92E2FF}" srcOrd="4" destOrd="0" presId="urn:microsoft.com/office/officeart/2016/7/layout/RoundedRectangleTimeline"/>
    <dgm:cxn modelId="{5221ABE2-CD73-4CC6-836B-A1383F95D0B5}" type="presParOf" srcId="{61CB4F07-D820-4684-A2E2-58493A83A1AB}" destId="{E956CBB4-ECC1-4BE7-9ADF-863FE97529E6}" srcOrd="3" destOrd="0" presId="urn:microsoft.com/office/officeart/2016/7/layout/RoundedRectangleTimeline"/>
    <dgm:cxn modelId="{2CB95F15-2210-45D6-A6C4-788E650D75F7}" type="presParOf" srcId="{61CB4F07-D820-4684-A2E2-58493A83A1AB}" destId="{5156FF32-0822-43BC-A010-6F0EE06888EA}" srcOrd="4" destOrd="0" presId="urn:microsoft.com/office/officeart/2016/7/layout/RoundedRectangleTimeline"/>
    <dgm:cxn modelId="{CE0BAAD0-D59F-4B3B-9EC0-1E35263F4B2F}" type="presParOf" srcId="{5156FF32-0822-43BC-A010-6F0EE06888EA}" destId="{D0523C11-87BF-4677-B69F-65F76242AA47}" srcOrd="0" destOrd="0" presId="urn:microsoft.com/office/officeart/2016/7/layout/RoundedRectangleTimeline"/>
    <dgm:cxn modelId="{DCE75973-D3CF-4FC0-83B0-8600B4B7E9E5}" type="presParOf" srcId="{5156FF32-0822-43BC-A010-6F0EE06888EA}" destId="{B7F91847-0032-447D-8816-FC686C440B19}" srcOrd="1" destOrd="0" presId="urn:microsoft.com/office/officeart/2016/7/layout/RoundedRectangleTimeline"/>
    <dgm:cxn modelId="{50173B12-21AF-4FB6-9DF1-B2C33B6999F6}" type="presParOf" srcId="{5156FF32-0822-43BC-A010-6F0EE06888EA}" destId="{6E49F180-E2B2-4820-A02B-E6CBCD4B03C9}" srcOrd="2" destOrd="0" presId="urn:microsoft.com/office/officeart/2016/7/layout/RoundedRectangleTimeline"/>
    <dgm:cxn modelId="{65D50830-5DF8-4D95-B9BF-57A2DEED3390}" type="presParOf" srcId="{5156FF32-0822-43BC-A010-6F0EE06888EA}" destId="{C716EC80-6C9F-442F-AC00-4867FF001B7F}" srcOrd="3" destOrd="0" presId="urn:microsoft.com/office/officeart/2016/7/layout/RoundedRectangleTimeline"/>
    <dgm:cxn modelId="{6D55C02F-5B75-484F-9A71-95472142B85F}" type="presParOf" srcId="{5156FF32-0822-43BC-A010-6F0EE06888EA}" destId="{2A3CBE89-E359-471B-8BF5-884D79AA0CBB}" srcOrd="4" destOrd="0" presId="urn:microsoft.com/office/officeart/2016/7/layout/RoundedRectangleTimeline"/>
    <dgm:cxn modelId="{70407D7A-C5DD-4782-A5D5-37A0E64171EB}" type="presParOf" srcId="{61CB4F07-D820-4684-A2E2-58493A83A1AB}" destId="{B9DF08E9-0A04-4E56-90D5-7576554DE34A}" srcOrd="5" destOrd="0" presId="urn:microsoft.com/office/officeart/2016/7/layout/RoundedRectangleTimeline"/>
    <dgm:cxn modelId="{B441B95A-A9E2-4484-B3BE-B1C64D9C7088}" type="presParOf" srcId="{61CB4F07-D820-4684-A2E2-58493A83A1AB}" destId="{633EF82F-023A-4D47-BE04-2B9B131CC340}" srcOrd="6" destOrd="0" presId="urn:microsoft.com/office/officeart/2016/7/layout/RoundedRectangleTimeline"/>
    <dgm:cxn modelId="{2D0E415A-16C6-488E-BE91-56FC0E60EDB7}" type="presParOf" srcId="{633EF82F-023A-4D47-BE04-2B9B131CC340}" destId="{348918C2-BB52-40BD-A734-17B37F1C393A}" srcOrd="0" destOrd="0" presId="urn:microsoft.com/office/officeart/2016/7/layout/RoundedRectangleTimeline"/>
    <dgm:cxn modelId="{6BBE9B37-C289-4789-B2AE-0DDBBB77C18F}" type="presParOf" srcId="{633EF82F-023A-4D47-BE04-2B9B131CC340}" destId="{E2E51C52-4030-4BEA-9AB5-ACD8C111DBF2}" srcOrd="1" destOrd="0" presId="urn:microsoft.com/office/officeart/2016/7/layout/RoundedRectangleTimeline"/>
    <dgm:cxn modelId="{992040C5-7C0B-4166-8CA9-DFDC4E8F7F6F}" type="presParOf" srcId="{633EF82F-023A-4D47-BE04-2B9B131CC340}" destId="{049B9701-D383-4FF8-B0F8-7AF825779BE5}" srcOrd="2" destOrd="0" presId="urn:microsoft.com/office/officeart/2016/7/layout/RoundedRectangleTimeline"/>
    <dgm:cxn modelId="{C3DB803C-8A13-433C-9C98-62A0220471A5}" type="presParOf" srcId="{633EF82F-023A-4D47-BE04-2B9B131CC340}" destId="{6A52CAC0-17AA-4870-BDAB-09AA7F96891F}" srcOrd="3" destOrd="0" presId="urn:microsoft.com/office/officeart/2016/7/layout/RoundedRectangleTimeline"/>
    <dgm:cxn modelId="{2BC991A1-ACBD-482D-B914-850E0EDCCB05}" type="presParOf" srcId="{633EF82F-023A-4D47-BE04-2B9B131CC340}" destId="{7F5AB221-F6E4-45F1-9CBA-C03B34A248D2}" srcOrd="4" destOrd="0" presId="urn:microsoft.com/office/officeart/2016/7/layout/RoundedRectangleTimeline"/>
    <dgm:cxn modelId="{AF2F8145-239E-4218-9BA7-3B91DCA38271}" type="presParOf" srcId="{61CB4F07-D820-4684-A2E2-58493A83A1AB}" destId="{D963124F-F32E-4555-9E3D-0673E6E466AB}" srcOrd="7" destOrd="0" presId="urn:microsoft.com/office/officeart/2016/7/layout/RoundedRectangleTimeline"/>
    <dgm:cxn modelId="{E2C1B4AD-FA00-411F-A44C-D807D6FE2BF2}" type="presParOf" srcId="{61CB4F07-D820-4684-A2E2-58493A83A1AB}" destId="{4B8EEDB4-D5E2-4C7E-95DF-B260B601FB25}" srcOrd="8" destOrd="0" presId="urn:microsoft.com/office/officeart/2016/7/layout/RoundedRectangleTimeline"/>
    <dgm:cxn modelId="{AB42CFEE-61EE-44AE-9EFB-46D350530214}" type="presParOf" srcId="{4B8EEDB4-D5E2-4C7E-95DF-B260B601FB25}" destId="{9D99924B-5D39-4239-A7F6-F5D8A5F6457F}" srcOrd="0" destOrd="0" presId="urn:microsoft.com/office/officeart/2016/7/layout/RoundedRectangleTimeline"/>
    <dgm:cxn modelId="{61E74BE4-B0FB-4BC1-8B7B-91D1C8BDA7AF}" type="presParOf" srcId="{4B8EEDB4-D5E2-4C7E-95DF-B260B601FB25}" destId="{74FC39F0-273F-4F12-A0BF-9D5588A311CD}" srcOrd="1" destOrd="0" presId="urn:microsoft.com/office/officeart/2016/7/layout/RoundedRectangleTimeline"/>
    <dgm:cxn modelId="{EA5F7C45-262B-4C49-A168-5DC9B8D8C914}" type="presParOf" srcId="{4B8EEDB4-D5E2-4C7E-95DF-B260B601FB25}" destId="{705F2AA3-A4D0-4881-945F-53836ECC800C}" srcOrd="2" destOrd="0" presId="urn:microsoft.com/office/officeart/2016/7/layout/RoundedRectangleTimeline"/>
    <dgm:cxn modelId="{9275BFE4-E0E2-4C29-9E52-02E8ED1F51C1}" type="presParOf" srcId="{4B8EEDB4-D5E2-4C7E-95DF-B260B601FB25}" destId="{0655CDBD-B15C-4A31-9867-C51888509025}" srcOrd="3" destOrd="0" presId="urn:microsoft.com/office/officeart/2016/7/layout/RoundedRectangleTimeline"/>
    <dgm:cxn modelId="{ADB73A77-570D-4FB2-8DBB-5E19FB0C299A}" type="presParOf" srcId="{4B8EEDB4-D5E2-4C7E-95DF-B260B601FB25}" destId="{339183E8-BCAA-4D5C-9AD4-2D229A96AB76}" srcOrd="4" destOrd="0" presId="urn:microsoft.com/office/officeart/2016/7/layout/RoundedRectangle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A9F043-3973-4633-ABFF-180F34CD04B5}">
      <dsp:nvSpPr>
        <dsp:cNvPr id="0" name=""/>
        <dsp:cNvSpPr/>
      </dsp:nvSpPr>
      <dsp:spPr>
        <a:xfrm>
          <a:off x="10007394" y="2833184"/>
          <a:ext cx="195599" cy="370643"/>
        </a:xfrm>
        <a:custGeom>
          <a:avLst/>
          <a:gdLst/>
          <a:ahLst/>
          <a:cxnLst/>
          <a:rect l="0" t="0" r="0" b="0"/>
          <a:pathLst>
            <a:path>
              <a:moveTo>
                <a:pt x="0" y="0"/>
              </a:moveTo>
              <a:lnTo>
                <a:pt x="0" y="370643"/>
              </a:lnTo>
              <a:lnTo>
                <a:pt x="195599" y="370643"/>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DD18F89-A724-4748-8AE6-AAFD1C5AE2A5}">
      <dsp:nvSpPr>
        <dsp:cNvPr id="0" name=""/>
        <dsp:cNvSpPr/>
      </dsp:nvSpPr>
      <dsp:spPr>
        <a:xfrm>
          <a:off x="9409682" y="1952590"/>
          <a:ext cx="1119309" cy="162732"/>
        </a:xfrm>
        <a:custGeom>
          <a:avLst/>
          <a:gdLst/>
          <a:ahLst/>
          <a:cxnLst/>
          <a:rect l="0" t="0" r="0" b="0"/>
          <a:pathLst>
            <a:path>
              <a:moveTo>
                <a:pt x="0" y="0"/>
              </a:moveTo>
              <a:lnTo>
                <a:pt x="0" y="81366"/>
              </a:lnTo>
              <a:lnTo>
                <a:pt x="1119309" y="81366"/>
              </a:lnTo>
              <a:lnTo>
                <a:pt x="1119309" y="162732"/>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8DBE16A-0ACA-4FF8-9463-FDF240942B51}">
      <dsp:nvSpPr>
        <dsp:cNvPr id="0" name=""/>
        <dsp:cNvSpPr/>
      </dsp:nvSpPr>
      <dsp:spPr>
        <a:xfrm>
          <a:off x="7845963" y="2832397"/>
          <a:ext cx="311383" cy="1233125"/>
        </a:xfrm>
        <a:custGeom>
          <a:avLst/>
          <a:gdLst/>
          <a:ahLst/>
          <a:cxnLst/>
          <a:rect l="0" t="0" r="0" b="0"/>
          <a:pathLst>
            <a:path>
              <a:moveTo>
                <a:pt x="0" y="0"/>
              </a:moveTo>
              <a:lnTo>
                <a:pt x="0" y="1233125"/>
              </a:lnTo>
              <a:lnTo>
                <a:pt x="311383" y="1233125"/>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8382E3D-F7B7-41A6-AE23-F8106B8EA9B5}">
      <dsp:nvSpPr>
        <dsp:cNvPr id="0" name=""/>
        <dsp:cNvSpPr/>
      </dsp:nvSpPr>
      <dsp:spPr>
        <a:xfrm>
          <a:off x="7845963" y="2832397"/>
          <a:ext cx="311383" cy="457087"/>
        </a:xfrm>
        <a:custGeom>
          <a:avLst/>
          <a:gdLst/>
          <a:ahLst/>
          <a:cxnLst/>
          <a:rect l="0" t="0" r="0" b="0"/>
          <a:pathLst>
            <a:path>
              <a:moveTo>
                <a:pt x="0" y="0"/>
              </a:moveTo>
              <a:lnTo>
                <a:pt x="0" y="457087"/>
              </a:lnTo>
              <a:lnTo>
                <a:pt x="311383" y="457087"/>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09046E2-F351-4C0E-9903-BB63930E82C8}">
      <dsp:nvSpPr>
        <dsp:cNvPr id="0" name=""/>
        <dsp:cNvSpPr/>
      </dsp:nvSpPr>
      <dsp:spPr>
        <a:xfrm>
          <a:off x="8676318" y="1952590"/>
          <a:ext cx="733363" cy="162732"/>
        </a:xfrm>
        <a:custGeom>
          <a:avLst/>
          <a:gdLst/>
          <a:ahLst/>
          <a:cxnLst/>
          <a:rect l="0" t="0" r="0" b="0"/>
          <a:pathLst>
            <a:path>
              <a:moveTo>
                <a:pt x="733363" y="0"/>
              </a:moveTo>
              <a:lnTo>
                <a:pt x="733363" y="81366"/>
              </a:lnTo>
              <a:lnTo>
                <a:pt x="0" y="81366"/>
              </a:lnTo>
              <a:lnTo>
                <a:pt x="0" y="162732"/>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AC20B5E-6098-4A47-9EF1-D51B0BA7F14A}">
      <dsp:nvSpPr>
        <dsp:cNvPr id="0" name=""/>
        <dsp:cNvSpPr/>
      </dsp:nvSpPr>
      <dsp:spPr>
        <a:xfrm>
          <a:off x="5873675" y="1194243"/>
          <a:ext cx="3536006" cy="162732"/>
        </a:xfrm>
        <a:custGeom>
          <a:avLst/>
          <a:gdLst/>
          <a:ahLst/>
          <a:cxnLst/>
          <a:rect l="0" t="0" r="0" b="0"/>
          <a:pathLst>
            <a:path>
              <a:moveTo>
                <a:pt x="0" y="0"/>
              </a:moveTo>
              <a:lnTo>
                <a:pt x="0" y="81366"/>
              </a:lnTo>
              <a:lnTo>
                <a:pt x="3536006" y="81366"/>
              </a:lnTo>
              <a:lnTo>
                <a:pt x="3536006" y="162732"/>
              </a:lnTo>
            </a:path>
          </a:pathLst>
        </a:custGeom>
        <a:noFill/>
        <a:ln w="10795"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0D8E449-04C7-46A5-B564-7BBC4AA6A838}">
      <dsp:nvSpPr>
        <dsp:cNvPr id="0" name=""/>
        <dsp:cNvSpPr/>
      </dsp:nvSpPr>
      <dsp:spPr>
        <a:xfrm>
          <a:off x="6922304" y="4135079"/>
          <a:ext cx="132857" cy="1183833"/>
        </a:xfrm>
        <a:custGeom>
          <a:avLst/>
          <a:gdLst/>
          <a:ahLst/>
          <a:cxnLst/>
          <a:rect l="0" t="0" r="0" b="0"/>
          <a:pathLst>
            <a:path>
              <a:moveTo>
                <a:pt x="0" y="0"/>
              </a:moveTo>
              <a:lnTo>
                <a:pt x="0" y="1183833"/>
              </a:lnTo>
              <a:lnTo>
                <a:pt x="132857" y="1183833"/>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7416CC7-9D51-46E8-BBB9-E790E67E6B07}">
      <dsp:nvSpPr>
        <dsp:cNvPr id="0" name=""/>
        <dsp:cNvSpPr/>
      </dsp:nvSpPr>
      <dsp:spPr>
        <a:xfrm>
          <a:off x="6922304" y="4135079"/>
          <a:ext cx="132857" cy="436645"/>
        </a:xfrm>
        <a:custGeom>
          <a:avLst/>
          <a:gdLst/>
          <a:ahLst/>
          <a:cxnLst/>
          <a:rect l="0" t="0" r="0" b="0"/>
          <a:pathLst>
            <a:path>
              <a:moveTo>
                <a:pt x="0" y="0"/>
              </a:moveTo>
              <a:lnTo>
                <a:pt x="0" y="436645"/>
              </a:lnTo>
              <a:lnTo>
                <a:pt x="132857" y="436645"/>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D0D67AD-19DA-4ECA-A253-A7B25154619A}">
      <dsp:nvSpPr>
        <dsp:cNvPr id="0" name=""/>
        <dsp:cNvSpPr/>
      </dsp:nvSpPr>
      <dsp:spPr>
        <a:xfrm>
          <a:off x="6669502" y="3387426"/>
          <a:ext cx="607089" cy="162732"/>
        </a:xfrm>
        <a:custGeom>
          <a:avLst/>
          <a:gdLst/>
          <a:ahLst/>
          <a:cxnLst/>
          <a:rect l="0" t="0" r="0" b="0"/>
          <a:pathLst>
            <a:path>
              <a:moveTo>
                <a:pt x="0" y="0"/>
              </a:moveTo>
              <a:lnTo>
                <a:pt x="0" y="81366"/>
              </a:lnTo>
              <a:lnTo>
                <a:pt x="607089" y="81366"/>
              </a:lnTo>
              <a:lnTo>
                <a:pt x="607089" y="162732"/>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80D099-B26B-473F-8A47-154E9D1E544A}">
      <dsp:nvSpPr>
        <dsp:cNvPr id="0" name=""/>
        <dsp:cNvSpPr/>
      </dsp:nvSpPr>
      <dsp:spPr>
        <a:xfrm>
          <a:off x="5724105" y="4049079"/>
          <a:ext cx="156828" cy="418816"/>
        </a:xfrm>
        <a:custGeom>
          <a:avLst/>
          <a:gdLst/>
          <a:ahLst/>
          <a:cxnLst/>
          <a:rect l="0" t="0" r="0" b="0"/>
          <a:pathLst>
            <a:path>
              <a:moveTo>
                <a:pt x="0" y="0"/>
              </a:moveTo>
              <a:lnTo>
                <a:pt x="0" y="418816"/>
              </a:lnTo>
              <a:lnTo>
                <a:pt x="156828" y="418816"/>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B11E23-AB53-4F80-8C29-C4605835CEEB}">
      <dsp:nvSpPr>
        <dsp:cNvPr id="0" name=""/>
        <dsp:cNvSpPr/>
      </dsp:nvSpPr>
      <dsp:spPr>
        <a:xfrm>
          <a:off x="6142314" y="3387426"/>
          <a:ext cx="527187" cy="162732"/>
        </a:xfrm>
        <a:custGeom>
          <a:avLst/>
          <a:gdLst/>
          <a:ahLst/>
          <a:cxnLst/>
          <a:rect l="0" t="0" r="0" b="0"/>
          <a:pathLst>
            <a:path>
              <a:moveTo>
                <a:pt x="527187" y="0"/>
              </a:moveTo>
              <a:lnTo>
                <a:pt x="527187" y="81366"/>
              </a:lnTo>
              <a:lnTo>
                <a:pt x="0" y="81366"/>
              </a:lnTo>
              <a:lnTo>
                <a:pt x="0" y="162732"/>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533D59C-C7D9-441C-A6EB-8AAD259C4A7C}">
      <dsp:nvSpPr>
        <dsp:cNvPr id="0" name=""/>
        <dsp:cNvSpPr/>
      </dsp:nvSpPr>
      <dsp:spPr>
        <a:xfrm>
          <a:off x="4077835" y="2744545"/>
          <a:ext cx="2591667" cy="162732"/>
        </a:xfrm>
        <a:custGeom>
          <a:avLst/>
          <a:gdLst/>
          <a:ahLst/>
          <a:cxnLst/>
          <a:rect l="0" t="0" r="0" b="0"/>
          <a:pathLst>
            <a:path>
              <a:moveTo>
                <a:pt x="0" y="0"/>
              </a:moveTo>
              <a:lnTo>
                <a:pt x="0" y="81366"/>
              </a:lnTo>
              <a:lnTo>
                <a:pt x="2591667" y="81366"/>
              </a:lnTo>
              <a:lnTo>
                <a:pt x="2591667" y="162732"/>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1FE4D4A-B131-44F3-AD3E-E42695D80DA2}">
      <dsp:nvSpPr>
        <dsp:cNvPr id="0" name=""/>
        <dsp:cNvSpPr/>
      </dsp:nvSpPr>
      <dsp:spPr>
        <a:xfrm>
          <a:off x="3280596" y="3744049"/>
          <a:ext cx="362704" cy="480355"/>
        </a:xfrm>
        <a:custGeom>
          <a:avLst/>
          <a:gdLst/>
          <a:ahLst/>
          <a:cxnLst/>
          <a:rect l="0" t="0" r="0" b="0"/>
          <a:pathLst>
            <a:path>
              <a:moveTo>
                <a:pt x="0" y="0"/>
              </a:moveTo>
              <a:lnTo>
                <a:pt x="0" y="480355"/>
              </a:lnTo>
              <a:lnTo>
                <a:pt x="362704" y="480355"/>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D637F2B-344F-44C0-9B0A-1D1AD26C24F5}">
      <dsp:nvSpPr>
        <dsp:cNvPr id="0" name=""/>
        <dsp:cNvSpPr/>
      </dsp:nvSpPr>
      <dsp:spPr>
        <a:xfrm>
          <a:off x="4077835" y="2744545"/>
          <a:ext cx="169971" cy="162732"/>
        </a:xfrm>
        <a:custGeom>
          <a:avLst/>
          <a:gdLst/>
          <a:ahLst/>
          <a:cxnLst/>
          <a:rect l="0" t="0" r="0" b="0"/>
          <a:pathLst>
            <a:path>
              <a:moveTo>
                <a:pt x="0" y="0"/>
              </a:moveTo>
              <a:lnTo>
                <a:pt x="0" y="81366"/>
              </a:lnTo>
              <a:lnTo>
                <a:pt x="169971" y="81366"/>
              </a:lnTo>
              <a:lnTo>
                <a:pt x="169971" y="162732"/>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D0E8CEC-B6CC-4544-B722-B2C2FBCF3CEC}">
      <dsp:nvSpPr>
        <dsp:cNvPr id="0" name=""/>
        <dsp:cNvSpPr/>
      </dsp:nvSpPr>
      <dsp:spPr>
        <a:xfrm>
          <a:off x="1090842" y="3482798"/>
          <a:ext cx="254623" cy="1942877"/>
        </a:xfrm>
        <a:custGeom>
          <a:avLst/>
          <a:gdLst/>
          <a:ahLst/>
          <a:cxnLst/>
          <a:rect l="0" t="0" r="0" b="0"/>
          <a:pathLst>
            <a:path>
              <a:moveTo>
                <a:pt x="0" y="0"/>
              </a:moveTo>
              <a:lnTo>
                <a:pt x="0" y="1942877"/>
              </a:lnTo>
              <a:lnTo>
                <a:pt x="254623" y="1942877"/>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38A8958-F27C-4304-8008-490181675871}">
      <dsp:nvSpPr>
        <dsp:cNvPr id="0" name=""/>
        <dsp:cNvSpPr/>
      </dsp:nvSpPr>
      <dsp:spPr>
        <a:xfrm>
          <a:off x="1090842" y="3482798"/>
          <a:ext cx="254623" cy="1233555"/>
        </a:xfrm>
        <a:custGeom>
          <a:avLst/>
          <a:gdLst/>
          <a:ahLst/>
          <a:cxnLst/>
          <a:rect l="0" t="0" r="0" b="0"/>
          <a:pathLst>
            <a:path>
              <a:moveTo>
                <a:pt x="0" y="0"/>
              </a:moveTo>
              <a:lnTo>
                <a:pt x="0" y="1233555"/>
              </a:lnTo>
              <a:lnTo>
                <a:pt x="254623" y="1233555"/>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0DF174B-4700-47E3-ADCF-416A95A4A6CE}">
      <dsp:nvSpPr>
        <dsp:cNvPr id="0" name=""/>
        <dsp:cNvSpPr/>
      </dsp:nvSpPr>
      <dsp:spPr>
        <a:xfrm>
          <a:off x="1090842" y="3482798"/>
          <a:ext cx="254623" cy="487851"/>
        </a:xfrm>
        <a:custGeom>
          <a:avLst/>
          <a:gdLst/>
          <a:ahLst/>
          <a:cxnLst/>
          <a:rect l="0" t="0" r="0" b="0"/>
          <a:pathLst>
            <a:path>
              <a:moveTo>
                <a:pt x="0" y="0"/>
              </a:moveTo>
              <a:lnTo>
                <a:pt x="0" y="487851"/>
              </a:lnTo>
              <a:lnTo>
                <a:pt x="254623" y="487851"/>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17EE05D-70D2-4D75-B5AE-523D1E3A8718}">
      <dsp:nvSpPr>
        <dsp:cNvPr id="0" name=""/>
        <dsp:cNvSpPr/>
      </dsp:nvSpPr>
      <dsp:spPr>
        <a:xfrm>
          <a:off x="1769838" y="2744545"/>
          <a:ext cx="2307997" cy="162732"/>
        </a:xfrm>
        <a:custGeom>
          <a:avLst/>
          <a:gdLst/>
          <a:ahLst/>
          <a:cxnLst/>
          <a:rect l="0" t="0" r="0" b="0"/>
          <a:pathLst>
            <a:path>
              <a:moveTo>
                <a:pt x="2307997" y="0"/>
              </a:moveTo>
              <a:lnTo>
                <a:pt x="2307997" y="81366"/>
              </a:lnTo>
              <a:lnTo>
                <a:pt x="0" y="81366"/>
              </a:lnTo>
              <a:lnTo>
                <a:pt x="0" y="162732"/>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E00DE9D-DF71-45A6-B704-E8788574280F}">
      <dsp:nvSpPr>
        <dsp:cNvPr id="0" name=""/>
        <dsp:cNvSpPr/>
      </dsp:nvSpPr>
      <dsp:spPr>
        <a:xfrm>
          <a:off x="2420150" y="2015118"/>
          <a:ext cx="1657685" cy="162732"/>
        </a:xfrm>
        <a:custGeom>
          <a:avLst/>
          <a:gdLst/>
          <a:ahLst/>
          <a:cxnLst/>
          <a:rect l="0" t="0" r="0" b="0"/>
          <a:pathLst>
            <a:path>
              <a:moveTo>
                <a:pt x="0" y="0"/>
              </a:moveTo>
              <a:lnTo>
                <a:pt x="0" y="81366"/>
              </a:lnTo>
              <a:lnTo>
                <a:pt x="1657685" y="81366"/>
              </a:lnTo>
              <a:lnTo>
                <a:pt x="1657685" y="162732"/>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AA7E17C-E2BA-4C93-BF55-38C06DB5B93F}">
      <dsp:nvSpPr>
        <dsp:cNvPr id="0" name=""/>
        <dsp:cNvSpPr/>
      </dsp:nvSpPr>
      <dsp:spPr>
        <a:xfrm>
          <a:off x="2292603" y="2015118"/>
          <a:ext cx="127547" cy="162732"/>
        </a:xfrm>
        <a:custGeom>
          <a:avLst/>
          <a:gdLst/>
          <a:ahLst/>
          <a:cxnLst/>
          <a:rect l="0" t="0" r="0" b="0"/>
          <a:pathLst>
            <a:path>
              <a:moveTo>
                <a:pt x="127547" y="0"/>
              </a:moveTo>
              <a:lnTo>
                <a:pt x="127547" y="81366"/>
              </a:lnTo>
              <a:lnTo>
                <a:pt x="0" y="81366"/>
              </a:lnTo>
              <a:lnTo>
                <a:pt x="0" y="162732"/>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FAFBCFC-54F7-4723-8E9C-054BB94E4E0C}">
      <dsp:nvSpPr>
        <dsp:cNvPr id="0" name=""/>
        <dsp:cNvSpPr/>
      </dsp:nvSpPr>
      <dsp:spPr>
        <a:xfrm>
          <a:off x="634917" y="2015118"/>
          <a:ext cx="1785232" cy="162732"/>
        </a:xfrm>
        <a:custGeom>
          <a:avLst/>
          <a:gdLst/>
          <a:ahLst/>
          <a:cxnLst/>
          <a:rect l="0" t="0" r="0" b="0"/>
          <a:pathLst>
            <a:path>
              <a:moveTo>
                <a:pt x="1785232" y="0"/>
              </a:moveTo>
              <a:lnTo>
                <a:pt x="1785232" y="81366"/>
              </a:lnTo>
              <a:lnTo>
                <a:pt x="0" y="81366"/>
              </a:lnTo>
              <a:lnTo>
                <a:pt x="0" y="162732"/>
              </a:lnTo>
            </a:path>
          </a:pathLst>
        </a:custGeom>
        <a:noFill/>
        <a:ln w="10795"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DC4373B-0F8F-4FDB-B285-C238BFAE51E2}">
      <dsp:nvSpPr>
        <dsp:cNvPr id="0" name=""/>
        <dsp:cNvSpPr/>
      </dsp:nvSpPr>
      <dsp:spPr>
        <a:xfrm>
          <a:off x="2420150" y="1194243"/>
          <a:ext cx="3453525" cy="162732"/>
        </a:xfrm>
        <a:custGeom>
          <a:avLst/>
          <a:gdLst/>
          <a:ahLst/>
          <a:cxnLst/>
          <a:rect l="0" t="0" r="0" b="0"/>
          <a:pathLst>
            <a:path>
              <a:moveTo>
                <a:pt x="3453525" y="0"/>
              </a:moveTo>
              <a:lnTo>
                <a:pt x="3453525" y="81366"/>
              </a:lnTo>
              <a:lnTo>
                <a:pt x="0" y="81366"/>
              </a:lnTo>
              <a:lnTo>
                <a:pt x="0" y="162732"/>
              </a:lnTo>
            </a:path>
          </a:pathLst>
        </a:custGeom>
        <a:noFill/>
        <a:ln w="10795"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CCC9B79-2A2E-4E9B-8B25-FA4382B79E9C}">
      <dsp:nvSpPr>
        <dsp:cNvPr id="0" name=""/>
        <dsp:cNvSpPr/>
      </dsp:nvSpPr>
      <dsp:spPr>
        <a:xfrm>
          <a:off x="5314837" y="619791"/>
          <a:ext cx="1117674" cy="5744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rtl="0">
            <a:lnSpc>
              <a:spcPct val="90000"/>
            </a:lnSpc>
            <a:spcBef>
              <a:spcPct val="0"/>
            </a:spcBef>
            <a:spcAft>
              <a:spcPct val="35000"/>
            </a:spcAft>
            <a:buNone/>
          </a:pPr>
          <a:r>
            <a:rPr lang="en-US" sz="2000" kern="1200">
              <a:latin typeface="Trebuchet MS"/>
            </a:rPr>
            <a:t>Features</a:t>
          </a:r>
          <a:endParaRPr lang="en-US" sz="1300" kern="1200"/>
        </a:p>
      </dsp:txBody>
      <dsp:txXfrm>
        <a:off x="5314837" y="619791"/>
        <a:ext cx="1117674" cy="574451"/>
      </dsp:txXfrm>
    </dsp:sp>
    <dsp:sp modelId="{9C3C9FFC-6CE3-4516-BB48-0B379AF3246F}">
      <dsp:nvSpPr>
        <dsp:cNvPr id="0" name=""/>
        <dsp:cNvSpPr/>
      </dsp:nvSpPr>
      <dsp:spPr>
        <a:xfrm>
          <a:off x="1541885" y="1356975"/>
          <a:ext cx="1756529" cy="658142"/>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Trebuchet MS"/>
            </a:rPr>
            <a:t>Internal Data </a:t>
          </a:r>
        </a:p>
        <a:p>
          <a:pPr marL="0" lvl="0" indent="0" algn="ctr" defTabSz="711200" rtl="0">
            <a:lnSpc>
              <a:spcPct val="90000"/>
            </a:lnSpc>
            <a:spcBef>
              <a:spcPct val="0"/>
            </a:spcBef>
            <a:spcAft>
              <a:spcPct val="35000"/>
            </a:spcAft>
            <a:buNone/>
          </a:pPr>
          <a:r>
            <a:rPr lang="en-US" sz="1300" kern="1200">
              <a:latin typeface="Trebuchet MS"/>
            </a:rPr>
            <a:t>(Provided by Sentosa) </a:t>
          </a:r>
        </a:p>
      </dsp:txBody>
      <dsp:txXfrm>
        <a:off x="1541885" y="1356975"/>
        <a:ext cx="1756529" cy="658142"/>
      </dsp:txXfrm>
    </dsp:sp>
    <dsp:sp modelId="{F1C54E49-88DF-41B8-9CE4-1580051055D3}">
      <dsp:nvSpPr>
        <dsp:cNvPr id="0" name=""/>
        <dsp:cNvSpPr/>
      </dsp:nvSpPr>
      <dsp:spPr>
        <a:xfrm>
          <a:off x="5090" y="2177850"/>
          <a:ext cx="1259654" cy="601105"/>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en-US" sz="1400" kern="1200">
              <a:latin typeface="Trebuchet MS"/>
            </a:rPr>
            <a:t>Bus Routes / Bus Stops</a:t>
          </a:r>
        </a:p>
      </dsp:txBody>
      <dsp:txXfrm>
        <a:off x="5090" y="2177850"/>
        <a:ext cx="1259654" cy="601105"/>
      </dsp:txXfrm>
    </dsp:sp>
    <dsp:sp modelId="{84860C82-2A77-4C4C-954F-39077C5D7E4E}">
      <dsp:nvSpPr>
        <dsp:cNvPr id="0" name=""/>
        <dsp:cNvSpPr/>
      </dsp:nvSpPr>
      <dsp:spPr>
        <a:xfrm>
          <a:off x="1427476" y="2177850"/>
          <a:ext cx="1730252" cy="577446"/>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en-US" sz="1400" kern="1200">
              <a:latin typeface="Trebuchet MS"/>
            </a:rPr>
            <a:t>Bus to Amenities / </a:t>
          </a:r>
        </a:p>
        <a:p>
          <a:pPr marL="0" lvl="0" indent="0" algn="ctr" defTabSz="622300" rtl="0">
            <a:lnSpc>
              <a:spcPct val="90000"/>
            </a:lnSpc>
            <a:spcBef>
              <a:spcPct val="0"/>
            </a:spcBef>
            <a:spcAft>
              <a:spcPct val="35000"/>
            </a:spcAft>
            <a:buNone/>
          </a:pPr>
          <a:r>
            <a:rPr lang="en-US" sz="1400" kern="1200">
              <a:latin typeface="Trebuchet MS"/>
            </a:rPr>
            <a:t>Attraction Details</a:t>
          </a:r>
        </a:p>
      </dsp:txBody>
      <dsp:txXfrm>
        <a:off x="1427476" y="2177850"/>
        <a:ext cx="1730252" cy="577446"/>
      </dsp:txXfrm>
    </dsp:sp>
    <dsp:sp modelId="{563BBF97-88AD-43EB-A041-55D190C5C942}">
      <dsp:nvSpPr>
        <dsp:cNvPr id="0" name=""/>
        <dsp:cNvSpPr/>
      </dsp:nvSpPr>
      <dsp:spPr>
        <a:xfrm>
          <a:off x="3320461" y="2177850"/>
          <a:ext cx="1514748" cy="566695"/>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en-US" sz="1400" kern="1200">
              <a:latin typeface="Trebuchet MS"/>
            </a:rPr>
            <a:t>Ridership Data</a:t>
          </a:r>
        </a:p>
      </dsp:txBody>
      <dsp:txXfrm>
        <a:off x="3320461" y="2177850"/>
        <a:ext cx="1514748" cy="566695"/>
      </dsp:txXfrm>
    </dsp:sp>
    <dsp:sp modelId="{E1491A5E-8513-4438-88B5-5C63769755E6}">
      <dsp:nvSpPr>
        <dsp:cNvPr id="0" name=""/>
        <dsp:cNvSpPr/>
      </dsp:nvSpPr>
      <dsp:spPr>
        <a:xfrm>
          <a:off x="921093" y="2907277"/>
          <a:ext cx="1697489" cy="57552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en-US" sz="1300" b="1" kern="1200">
              <a:latin typeface="Trebuchet MS"/>
            </a:rPr>
            <a:t>Dates: </a:t>
          </a:r>
        </a:p>
        <a:p>
          <a:pPr marL="0" lvl="0" indent="0" algn="ctr" defTabSz="577850" rtl="0">
            <a:lnSpc>
              <a:spcPct val="90000"/>
            </a:lnSpc>
            <a:spcBef>
              <a:spcPct val="0"/>
            </a:spcBef>
            <a:spcAft>
              <a:spcPct val="35000"/>
            </a:spcAft>
            <a:buNone/>
          </a:pPr>
          <a:r>
            <a:rPr lang="en-US" sz="1300" kern="1200">
              <a:latin typeface="Trebuchet MS"/>
            </a:rPr>
            <a:t>1 Jan – 31 Mar 2021</a:t>
          </a:r>
        </a:p>
      </dsp:txBody>
      <dsp:txXfrm>
        <a:off x="921093" y="2907277"/>
        <a:ext cx="1697489" cy="575521"/>
      </dsp:txXfrm>
    </dsp:sp>
    <dsp:sp modelId="{F1589501-D300-4EC2-AC7C-CCC8CF90A9CB}">
      <dsp:nvSpPr>
        <dsp:cNvPr id="0" name=""/>
        <dsp:cNvSpPr/>
      </dsp:nvSpPr>
      <dsp:spPr>
        <a:xfrm>
          <a:off x="1345465" y="3645530"/>
          <a:ext cx="1530595" cy="650238"/>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en-US" sz="1300" b="1" kern="1200">
              <a:latin typeface="Trebuchet MS"/>
            </a:rPr>
            <a:t>Train: </a:t>
          </a:r>
        </a:p>
        <a:p>
          <a:pPr marL="0" lvl="0" indent="0" algn="ctr" defTabSz="577850" rtl="0">
            <a:lnSpc>
              <a:spcPct val="90000"/>
            </a:lnSpc>
            <a:spcBef>
              <a:spcPct val="0"/>
            </a:spcBef>
            <a:spcAft>
              <a:spcPct val="35000"/>
            </a:spcAft>
            <a:buNone/>
          </a:pPr>
          <a:r>
            <a:rPr lang="en-US" sz="1300" kern="1200">
              <a:latin typeface="Trebuchet MS"/>
            </a:rPr>
            <a:t>1 Jan – 18 Mar 2021</a:t>
          </a:r>
        </a:p>
      </dsp:txBody>
      <dsp:txXfrm>
        <a:off x="1345465" y="3645530"/>
        <a:ext cx="1530595" cy="650238"/>
      </dsp:txXfrm>
    </dsp:sp>
    <dsp:sp modelId="{73F29504-32BA-4C64-A3F5-E6C31279FAF4}">
      <dsp:nvSpPr>
        <dsp:cNvPr id="0" name=""/>
        <dsp:cNvSpPr/>
      </dsp:nvSpPr>
      <dsp:spPr>
        <a:xfrm>
          <a:off x="1345465" y="4458501"/>
          <a:ext cx="1273052" cy="515705"/>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en-US" sz="1300" b="1" kern="1200">
              <a:latin typeface="Trebuchet MS"/>
            </a:rPr>
            <a:t>Test: </a:t>
          </a:r>
        </a:p>
        <a:p>
          <a:pPr marL="0" lvl="0" indent="0" algn="ctr" defTabSz="577850" rtl="0">
            <a:lnSpc>
              <a:spcPct val="90000"/>
            </a:lnSpc>
            <a:spcBef>
              <a:spcPct val="0"/>
            </a:spcBef>
            <a:spcAft>
              <a:spcPct val="35000"/>
            </a:spcAft>
            <a:buNone/>
          </a:pPr>
          <a:r>
            <a:rPr lang="en-US" sz="1300" kern="1200">
              <a:latin typeface="Trebuchet MS"/>
            </a:rPr>
            <a:t>19 – 31 Mar 2021 </a:t>
          </a:r>
        </a:p>
      </dsp:txBody>
      <dsp:txXfrm>
        <a:off x="1345465" y="4458501"/>
        <a:ext cx="1273052" cy="515705"/>
      </dsp:txXfrm>
    </dsp:sp>
    <dsp:sp modelId="{275CB78E-F24F-4E64-9F0B-6B4DC8C0A8D3}">
      <dsp:nvSpPr>
        <dsp:cNvPr id="0" name=""/>
        <dsp:cNvSpPr/>
      </dsp:nvSpPr>
      <dsp:spPr>
        <a:xfrm>
          <a:off x="1345465" y="5136939"/>
          <a:ext cx="1259685" cy="577474"/>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en-US" sz="1300" b="1" kern="1200">
              <a:latin typeface="Trebuchet MS"/>
            </a:rPr>
            <a:t>Prediction: </a:t>
          </a:r>
        </a:p>
        <a:p>
          <a:pPr marL="0" lvl="0" indent="0" algn="ctr" defTabSz="577850" rtl="0">
            <a:lnSpc>
              <a:spcPct val="90000"/>
            </a:lnSpc>
            <a:spcBef>
              <a:spcPct val="0"/>
            </a:spcBef>
            <a:spcAft>
              <a:spcPct val="35000"/>
            </a:spcAft>
            <a:buNone/>
          </a:pPr>
          <a:r>
            <a:rPr lang="en-US" sz="1300" kern="1200">
              <a:latin typeface="Trebuchet MS"/>
            </a:rPr>
            <a:t>1 – 7 Apr 2021</a:t>
          </a:r>
        </a:p>
      </dsp:txBody>
      <dsp:txXfrm>
        <a:off x="1345465" y="5136939"/>
        <a:ext cx="1259685" cy="577474"/>
      </dsp:txXfrm>
    </dsp:sp>
    <dsp:sp modelId="{C7A6C7CE-C4F5-4BC6-A0A8-F985343462E5}">
      <dsp:nvSpPr>
        <dsp:cNvPr id="0" name=""/>
        <dsp:cNvSpPr/>
      </dsp:nvSpPr>
      <dsp:spPr>
        <a:xfrm>
          <a:off x="3038793" y="2907277"/>
          <a:ext cx="2418028" cy="836772"/>
        </a:xfrm>
        <a:prstGeom prst="rect">
          <a:avLst/>
        </a:prstGeom>
        <a:solidFill>
          <a:srgbClr val="FF84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en-US" sz="1300" b="1" kern="1200">
              <a:latin typeface="Trebuchet MS"/>
            </a:rPr>
            <a:t>Average of Total Ridership </a:t>
          </a:r>
        </a:p>
        <a:p>
          <a:pPr marL="0" lvl="0" indent="0" algn="ctr" defTabSz="577850" rtl="0">
            <a:lnSpc>
              <a:spcPct val="90000"/>
            </a:lnSpc>
            <a:spcBef>
              <a:spcPct val="0"/>
            </a:spcBef>
            <a:spcAft>
              <a:spcPct val="35000"/>
            </a:spcAft>
            <a:buNone/>
          </a:pPr>
          <a:r>
            <a:rPr lang="en-US" sz="1300" kern="1200">
              <a:latin typeface="Trebuchet MS"/>
            </a:rPr>
            <a:t>(Sum of Total In &amp; Total Out/2) </a:t>
          </a:r>
        </a:p>
        <a:p>
          <a:pPr marL="0" lvl="0" indent="0" algn="ctr" defTabSz="577850" rtl="0">
            <a:lnSpc>
              <a:spcPct val="90000"/>
            </a:lnSpc>
            <a:spcBef>
              <a:spcPct val="0"/>
            </a:spcBef>
            <a:spcAft>
              <a:spcPct val="35000"/>
            </a:spcAft>
            <a:buNone/>
          </a:pPr>
          <a:r>
            <a:rPr lang="en-US" sz="1300" i="1" kern="1200">
              <a:latin typeface="Trebuchet MS"/>
            </a:rPr>
            <a:t>*Predicted Variable</a:t>
          </a:r>
        </a:p>
      </dsp:txBody>
      <dsp:txXfrm>
        <a:off x="3038793" y="2907277"/>
        <a:ext cx="2418028" cy="836772"/>
      </dsp:txXfrm>
    </dsp:sp>
    <dsp:sp modelId="{9B15108C-3527-4ADE-9348-70DEF36E738E}">
      <dsp:nvSpPr>
        <dsp:cNvPr id="0" name=""/>
        <dsp:cNvSpPr/>
      </dsp:nvSpPr>
      <dsp:spPr>
        <a:xfrm>
          <a:off x="3643300" y="3906781"/>
          <a:ext cx="1598214" cy="635247"/>
        </a:xfrm>
        <a:prstGeom prst="rect">
          <a:avLst/>
        </a:prstGeom>
        <a:solidFill>
          <a:srgbClr val="FF84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en-US" sz="1300" b="1" i="0" kern="1200">
              <a:latin typeface="Trebuchet MS"/>
            </a:rPr>
            <a:t>Bus Frequency </a:t>
          </a:r>
        </a:p>
        <a:p>
          <a:pPr marL="0" lvl="0" indent="0" algn="ctr" defTabSz="577850" rtl="0">
            <a:lnSpc>
              <a:spcPct val="90000"/>
            </a:lnSpc>
            <a:spcBef>
              <a:spcPct val="0"/>
            </a:spcBef>
            <a:spcAft>
              <a:spcPct val="35000"/>
            </a:spcAft>
            <a:buNone/>
          </a:pPr>
          <a:r>
            <a:rPr lang="en-US" sz="1300" i="1" kern="1200">
              <a:latin typeface="Trebuchet MS"/>
            </a:rPr>
            <a:t>(Total Ridership/50)</a:t>
          </a:r>
        </a:p>
      </dsp:txBody>
      <dsp:txXfrm>
        <a:off x="3643300" y="3906781"/>
        <a:ext cx="1598214" cy="635247"/>
      </dsp:txXfrm>
    </dsp:sp>
    <dsp:sp modelId="{3F6F8835-3E01-4CBA-87F8-17629877A87D}">
      <dsp:nvSpPr>
        <dsp:cNvPr id="0" name=""/>
        <dsp:cNvSpPr/>
      </dsp:nvSpPr>
      <dsp:spPr>
        <a:xfrm>
          <a:off x="6104427" y="2907277"/>
          <a:ext cx="1130150" cy="480148"/>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en-US" sz="1300" kern="1200">
              <a:latin typeface="Trebuchet MS"/>
            </a:rPr>
            <a:t>Day of Week </a:t>
          </a:r>
        </a:p>
        <a:p>
          <a:pPr marL="0" lvl="0" indent="0" algn="ctr" defTabSz="577850" rtl="0">
            <a:lnSpc>
              <a:spcPct val="90000"/>
            </a:lnSpc>
            <a:spcBef>
              <a:spcPct val="0"/>
            </a:spcBef>
            <a:spcAft>
              <a:spcPct val="35000"/>
            </a:spcAft>
            <a:buNone/>
          </a:pPr>
          <a:r>
            <a:rPr lang="en-US" sz="1300" kern="1200">
              <a:latin typeface="Trebuchet MS"/>
            </a:rPr>
            <a:t>Flag</a:t>
          </a:r>
        </a:p>
      </dsp:txBody>
      <dsp:txXfrm>
        <a:off x="6104427" y="2907277"/>
        <a:ext cx="1130150" cy="480148"/>
      </dsp:txXfrm>
    </dsp:sp>
    <dsp:sp modelId="{32FD44D1-15AC-45E4-8D6B-40465314CCA3}">
      <dsp:nvSpPr>
        <dsp:cNvPr id="0" name=""/>
        <dsp:cNvSpPr/>
      </dsp:nvSpPr>
      <dsp:spPr>
        <a:xfrm>
          <a:off x="5619553" y="3550158"/>
          <a:ext cx="1045522" cy="49892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en-US" sz="1300" kern="1200">
              <a:latin typeface="Trebuchet MS"/>
            </a:rPr>
            <a:t>Weekday </a:t>
          </a:r>
        </a:p>
        <a:p>
          <a:pPr marL="0" lvl="0" indent="0" algn="ctr" defTabSz="577850" rtl="0">
            <a:lnSpc>
              <a:spcPct val="90000"/>
            </a:lnSpc>
            <a:spcBef>
              <a:spcPct val="0"/>
            </a:spcBef>
            <a:spcAft>
              <a:spcPct val="35000"/>
            </a:spcAft>
            <a:buNone/>
          </a:pPr>
          <a:r>
            <a:rPr lang="en-US" sz="1300" kern="1200">
              <a:latin typeface="Trebuchet MS"/>
            </a:rPr>
            <a:t>Flag</a:t>
          </a:r>
        </a:p>
      </dsp:txBody>
      <dsp:txXfrm>
        <a:off x="5619553" y="3550158"/>
        <a:ext cx="1045522" cy="498921"/>
      </dsp:txXfrm>
    </dsp:sp>
    <dsp:sp modelId="{AB0401D6-D40F-476A-94B5-F1A0BD9D8ECD}">
      <dsp:nvSpPr>
        <dsp:cNvPr id="0" name=""/>
        <dsp:cNvSpPr/>
      </dsp:nvSpPr>
      <dsp:spPr>
        <a:xfrm>
          <a:off x="5880934" y="4211811"/>
          <a:ext cx="1011496" cy="512168"/>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a:latin typeface="Trebuchet MS"/>
            </a:rPr>
            <a:t>Mid-week </a:t>
          </a:r>
        </a:p>
        <a:p>
          <a:pPr marL="0" lvl="0" indent="0" algn="ctr" defTabSz="577850">
            <a:lnSpc>
              <a:spcPct val="90000"/>
            </a:lnSpc>
            <a:spcBef>
              <a:spcPct val="0"/>
            </a:spcBef>
            <a:spcAft>
              <a:spcPct val="35000"/>
            </a:spcAft>
            <a:buNone/>
          </a:pPr>
          <a:r>
            <a:rPr lang="en-US" sz="1300" kern="1200">
              <a:latin typeface="Trebuchet MS"/>
            </a:rPr>
            <a:t>Flag</a:t>
          </a:r>
          <a:endParaRPr lang="en-US" sz="1300" kern="1200"/>
        </a:p>
      </dsp:txBody>
      <dsp:txXfrm>
        <a:off x="5880934" y="4211811"/>
        <a:ext cx="1011496" cy="512168"/>
      </dsp:txXfrm>
    </dsp:sp>
    <dsp:sp modelId="{A80037A4-023F-4557-8F10-D3BD4D8F16AF}">
      <dsp:nvSpPr>
        <dsp:cNvPr id="0" name=""/>
        <dsp:cNvSpPr/>
      </dsp:nvSpPr>
      <dsp:spPr>
        <a:xfrm>
          <a:off x="6833732" y="3550158"/>
          <a:ext cx="885719" cy="58492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en-US" sz="1300" kern="1200">
              <a:latin typeface="Trebuchet MS"/>
            </a:rPr>
            <a:t>Weekend </a:t>
          </a:r>
        </a:p>
        <a:p>
          <a:pPr marL="0" lvl="0" indent="0" algn="ctr" defTabSz="577850" rtl="0">
            <a:lnSpc>
              <a:spcPct val="90000"/>
            </a:lnSpc>
            <a:spcBef>
              <a:spcPct val="0"/>
            </a:spcBef>
            <a:spcAft>
              <a:spcPct val="35000"/>
            </a:spcAft>
            <a:buNone/>
          </a:pPr>
          <a:r>
            <a:rPr lang="en-US" sz="1300" kern="1200">
              <a:latin typeface="Trebuchet MS"/>
            </a:rPr>
            <a:t>Flag</a:t>
          </a:r>
        </a:p>
      </dsp:txBody>
      <dsp:txXfrm>
        <a:off x="6833732" y="3550158"/>
        <a:ext cx="885719" cy="584921"/>
      </dsp:txXfrm>
    </dsp:sp>
    <dsp:sp modelId="{E00C2A3A-BF99-41B3-A61A-F31DF31E1D9B}">
      <dsp:nvSpPr>
        <dsp:cNvPr id="0" name=""/>
        <dsp:cNvSpPr/>
      </dsp:nvSpPr>
      <dsp:spPr>
        <a:xfrm>
          <a:off x="7055162" y="4297811"/>
          <a:ext cx="939452" cy="547825"/>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en-US" sz="1300" kern="1200">
              <a:latin typeface="Trebuchet MS"/>
            </a:rPr>
            <a:t>Saturday </a:t>
          </a:r>
        </a:p>
        <a:p>
          <a:pPr marL="0" lvl="0" indent="0" algn="ctr" defTabSz="577850" rtl="0">
            <a:lnSpc>
              <a:spcPct val="90000"/>
            </a:lnSpc>
            <a:spcBef>
              <a:spcPct val="0"/>
            </a:spcBef>
            <a:spcAft>
              <a:spcPct val="35000"/>
            </a:spcAft>
            <a:buNone/>
          </a:pPr>
          <a:r>
            <a:rPr lang="en-US" sz="1300" kern="1200">
              <a:latin typeface="Trebuchet MS"/>
            </a:rPr>
            <a:t>Flag</a:t>
          </a:r>
        </a:p>
      </dsp:txBody>
      <dsp:txXfrm>
        <a:off x="7055162" y="4297811"/>
        <a:ext cx="939452" cy="547825"/>
      </dsp:txXfrm>
    </dsp:sp>
    <dsp:sp modelId="{CEC98FEA-A9C8-46BF-9ECC-D8B2A1E09D1B}">
      <dsp:nvSpPr>
        <dsp:cNvPr id="0" name=""/>
        <dsp:cNvSpPr/>
      </dsp:nvSpPr>
      <dsp:spPr>
        <a:xfrm>
          <a:off x="7055162" y="5008369"/>
          <a:ext cx="774914" cy="621086"/>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a:latin typeface="Trebuchet MS"/>
            </a:rPr>
            <a:t>Sunday</a:t>
          </a:r>
        </a:p>
        <a:p>
          <a:pPr marL="0" lvl="0" indent="0" algn="ctr" defTabSz="577850">
            <a:lnSpc>
              <a:spcPct val="90000"/>
            </a:lnSpc>
            <a:spcBef>
              <a:spcPct val="0"/>
            </a:spcBef>
            <a:spcAft>
              <a:spcPct val="35000"/>
            </a:spcAft>
            <a:buNone/>
          </a:pPr>
          <a:r>
            <a:rPr lang="en-US" sz="1300" kern="1200">
              <a:latin typeface="Trebuchet MS"/>
            </a:rPr>
            <a:t> Flag</a:t>
          </a:r>
          <a:endParaRPr lang="en-US" sz="1300" kern="1200"/>
        </a:p>
      </dsp:txBody>
      <dsp:txXfrm>
        <a:off x="7055162" y="5008369"/>
        <a:ext cx="774914" cy="621086"/>
      </dsp:txXfrm>
    </dsp:sp>
    <dsp:sp modelId="{D7CE84D8-5A9B-4243-BFAD-A10EC40DF307}">
      <dsp:nvSpPr>
        <dsp:cNvPr id="0" name=""/>
        <dsp:cNvSpPr/>
      </dsp:nvSpPr>
      <dsp:spPr>
        <a:xfrm>
          <a:off x="8613899" y="1356975"/>
          <a:ext cx="1591566" cy="595614"/>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Trebuchet MS"/>
            </a:rPr>
            <a:t> External Data</a:t>
          </a:r>
        </a:p>
      </dsp:txBody>
      <dsp:txXfrm>
        <a:off x="8613899" y="1356975"/>
        <a:ext cx="1591566" cy="595614"/>
      </dsp:txXfrm>
    </dsp:sp>
    <dsp:sp modelId="{90B3EEEC-4BEA-4F2C-9390-7382EBF2E384}">
      <dsp:nvSpPr>
        <dsp:cNvPr id="0" name=""/>
        <dsp:cNvSpPr/>
      </dsp:nvSpPr>
      <dsp:spPr>
        <a:xfrm>
          <a:off x="7638374" y="2115322"/>
          <a:ext cx="2075887" cy="717074"/>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Trebuchet MS"/>
            </a:rPr>
            <a:t> Holiday Flag </a:t>
          </a:r>
        </a:p>
        <a:p>
          <a:pPr marL="0" lvl="0" indent="0" algn="ctr" defTabSz="711200" rtl="0">
            <a:lnSpc>
              <a:spcPct val="90000"/>
            </a:lnSpc>
            <a:spcBef>
              <a:spcPct val="0"/>
            </a:spcBef>
            <a:spcAft>
              <a:spcPct val="35000"/>
            </a:spcAft>
            <a:buNone/>
          </a:pPr>
          <a:r>
            <a:rPr lang="en-US" sz="1300" kern="1200">
              <a:latin typeface="Trebuchet MS"/>
            </a:rPr>
            <a:t>(Public Holidays, School Holidays)</a:t>
          </a:r>
        </a:p>
      </dsp:txBody>
      <dsp:txXfrm>
        <a:off x="7638374" y="2115322"/>
        <a:ext cx="2075887" cy="717074"/>
      </dsp:txXfrm>
    </dsp:sp>
    <dsp:sp modelId="{8E9A9B7E-907F-4D29-AB54-4D70C869635F}">
      <dsp:nvSpPr>
        <dsp:cNvPr id="0" name=""/>
        <dsp:cNvSpPr/>
      </dsp:nvSpPr>
      <dsp:spPr>
        <a:xfrm>
          <a:off x="8157346" y="2995129"/>
          <a:ext cx="993153" cy="58871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en-US" sz="1300" kern="1200">
              <a:latin typeface="Trebuchet MS"/>
            </a:rPr>
            <a:t>Weekday </a:t>
          </a:r>
        </a:p>
        <a:p>
          <a:pPr marL="0" lvl="0" indent="0" algn="ctr" defTabSz="577850" rtl="0">
            <a:lnSpc>
              <a:spcPct val="90000"/>
            </a:lnSpc>
            <a:spcBef>
              <a:spcPct val="0"/>
            </a:spcBef>
            <a:spcAft>
              <a:spcPct val="35000"/>
            </a:spcAft>
            <a:buNone/>
          </a:pPr>
          <a:r>
            <a:rPr lang="en-US" sz="1300" kern="1200">
              <a:latin typeface="Trebuchet MS"/>
            </a:rPr>
            <a:t>Holiday Flag</a:t>
          </a:r>
        </a:p>
      </dsp:txBody>
      <dsp:txXfrm>
        <a:off x="8157346" y="2995129"/>
        <a:ext cx="993153" cy="588710"/>
      </dsp:txXfrm>
    </dsp:sp>
    <dsp:sp modelId="{5AFBF90A-1D5A-47DC-ACB5-D45662A8B8FB}">
      <dsp:nvSpPr>
        <dsp:cNvPr id="0" name=""/>
        <dsp:cNvSpPr/>
      </dsp:nvSpPr>
      <dsp:spPr>
        <a:xfrm>
          <a:off x="8157346" y="3746572"/>
          <a:ext cx="1085608" cy="63790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en-US" sz="1300" kern="1200">
              <a:latin typeface="Trebuchet MS"/>
            </a:rPr>
            <a:t>Weekend </a:t>
          </a:r>
        </a:p>
        <a:p>
          <a:pPr marL="0" lvl="0" indent="0" algn="ctr" defTabSz="577850" rtl="0">
            <a:lnSpc>
              <a:spcPct val="90000"/>
            </a:lnSpc>
            <a:spcBef>
              <a:spcPct val="0"/>
            </a:spcBef>
            <a:spcAft>
              <a:spcPct val="35000"/>
            </a:spcAft>
            <a:buNone/>
          </a:pPr>
          <a:r>
            <a:rPr lang="en-US" sz="1300" kern="1200">
              <a:latin typeface="Trebuchet MS"/>
            </a:rPr>
            <a:t>Holiday Flag</a:t>
          </a:r>
        </a:p>
      </dsp:txBody>
      <dsp:txXfrm>
        <a:off x="8157346" y="3746572"/>
        <a:ext cx="1085608" cy="637901"/>
      </dsp:txXfrm>
    </dsp:sp>
    <dsp:sp modelId="{78B41A26-2EB1-4E2B-884F-73A15160A423}">
      <dsp:nvSpPr>
        <dsp:cNvPr id="0" name=""/>
        <dsp:cNvSpPr/>
      </dsp:nvSpPr>
      <dsp:spPr>
        <a:xfrm>
          <a:off x="9876994" y="2115322"/>
          <a:ext cx="1303995" cy="71786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en-US" sz="1400" kern="1200">
              <a:latin typeface="Trebuchet MS"/>
            </a:rPr>
            <a:t>Weather Data </a:t>
          </a:r>
          <a:r>
            <a:rPr lang="en-US" sz="1100" kern="1200">
              <a:latin typeface="Trebuchet MS"/>
            </a:rPr>
            <a:t>(weather.gov.sg)</a:t>
          </a:r>
        </a:p>
      </dsp:txBody>
      <dsp:txXfrm>
        <a:off x="9876994" y="2115322"/>
        <a:ext cx="1303995" cy="717861"/>
      </dsp:txXfrm>
    </dsp:sp>
    <dsp:sp modelId="{7CEFD693-E055-4C50-BFA7-0C3137723433}">
      <dsp:nvSpPr>
        <dsp:cNvPr id="0" name=""/>
        <dsp:cNvSpPr/>
      </dsp:nvSpPr>
      <dsp:spPr>
        <a:xfrm>
          <a:off x="10202993" y="2995916"/>
          <a:ext cx="837465" cy="415823"/>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en-US" sz="1300" kern="1200">
              <a:latin typeface="Trebuchet MS"/>
            </a:rPr>
            <a:t> Rain Flag</a:t>
          </a:r>
        </a:p>
      </dsp:txBody>
      <dsp:txXfrm>
        <a:off x="10202993" y="2995916"/>
        <a:ext cx="837465" cy="41582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264F77-B2FA-4287-8CB3-C21226EC55BC}">
      <dsp:nvSpPr>
        <dsp:cNvPr id="0" name=""/>
        <dsp:cNvSpPr/>
      </dsp:nvSpPr>
      <dsp:spPr>
        <a:xfrm rot="16200000">
          <a:off x="1051276" y="1236510"/>
          <a:ext cx="396975" cy="1496733"/>
        </a:xfrm>
        <a:prstGeom prst="round2Same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en-US" sz="1200" b="1" kern="1200">
              <a:latin typeface="Trebuchet MS"/>
            </a:rPr>
            <a:t> Immediate</a:t>
          </a:r>
        </a:p>
      </dsp:txBody>
      <dsp:txXfrm rot="5400000">
        <a:off x="520777" y="1805768"/>
        <a:ext cx="1477354" cy="358217"/>
      </dsp:txXfrm>
    </dsp:sp>
    <dsp:sp modelId="{3BF414E0-9BED-4B93-BAE4-0FE63D3F3D0D}">
      <dsp:nvSpPr>
        <dsp:cNvPr id="0" name=""/>
        <dsp:cNvSpPr/>
      </dsp:nvSpPr>
      <dsp:spPr>
        <a:xfrm>
          <a:off x="2486" y="0"/>
          <a:ext cx="2494555" cy="13894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rtl="0">
            <a:lnSpc>
              <a:spcPct val="90000"/>
            </a:lnSpc>
            <a:spcBef>
              <a:spcPct val="0"/>
            </a:spcBef>
            <a:spcAft>
              <a:spcPct val="35000"/>
            </a:spcAft>
            <a:buNone/>
          </a:pPr>
          <a:r>
            <a:rPr lang="en-US" sz="1200" b="1" kern="1200">
              <a:solidFill>
                <a:srgbClr val="002060"/>
              </a:solidFill>
              <a:latin typeface="Trebuchet MS"/>
            </a:rPr>
            <a:t>Acquire more data</a:t>
          </a:r>
        </a:p>
        <a:p>
          <a:pPr marL="0" lvl="0" indent="0" algn="ctr" defTabSz="533400" rtl="0">
            <a:lnSpc>
              <a:spcPct val="90000"/>
            </a:lnSpc>
            <a:spcBef>
              <a:spcPct val="0"/>
            </a:spcBef>
            <a:spcAft>
              <a:spcPct val="35000"/>
            </a:spcAft>
            <a:buNone/>
          </a:pPr>
          <a:r>
            <a:rPr lang="en-US" sz="1200" b="1" kern="1200">
              <a:solidFill>
                <a:srgbClr val="002060"/>
              </a:solidFill>
              <a:latin typeface="Trebuchet MS"/>
            </a:rPr>
            <a:t>Consider additional features</a:t>
          </a:r>
        </a:p>
        <a:p>
          <a:pPr marL="0" lvl="0" indent="0" algn="ctr" defTabSz="533400" rtl="0">
            <a:lnSpc>
              <a:spcPct val="90000"/>
            </a:lnSpc>
            <a:spcBef>
              <a:spcPct val="0"/>
            </a:spcBef>
            <a:spcAft>
              <a:spcPct val="35000"/>
            </a:spcAft>
            <a:buNone/>
          </a:pPr>
          <a:r>
            <a:rPr lang="en-US" sz="1200" b="1" kern="1200">
              <a:solidFill>
                <a:srgbClr val="002060"/>
              </a:solidFill>
              <a:latin typeface="Trebuchet MS"/>
            </a:rPr>
            <a:t>Improve on model metrics</a:t>
          </a:r>
          <a:endParaRPr lang="en-US" sz="1200" kern="1200"/>
        </a:p>
      </dsp:txBody>
      <dsp:txXfrm>
        <a:off x="2486" y="0"/>
        <a:ext cx="2494555" cy="1389413"/>
      </dsp:txXfrm>
    </dsp:sp>
    <dsp:sp modelId="{67BC571C-90DF-423A-BE46-261CD6D15CD9}">
      <dsp:nvSpPr>
        <dsp:cNvPr id="0" name=""/>
        <dsp:cNvSpPr/>
      </dsp:nvSpPr>
      <dsp:spPr>
        <a:xfrm>
          <a:off x="1249763" y="1468808"/>
          <a:ext cx="0" cy="317580"/>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7071E5EA-6A1E-4936-AA67-E6DF12E44E4A}">
      <dsp:nvSpPr>
        <dsp:cNvPr id="0" name=""/>
        <dsp:cNvSpPr/>
      </dsp:nvSpPr>
      <dsp:spPr>
        <a:xfrm>
          <a:off x="1210066" y="1389413"/>
          <a:ext cx="79395" cy="79395"/>
        </a:xfrm>
        <a:prstGeom prst="ellipse">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6279CEF-236B-43ED-907C-B557697BEC8D}">
      <dsp:nvSpPr>
        <dsp:cNvPr id="0" name=""/>
        <dsp:cNvSpPr/>
      </dsp:nvSpPr>
      <dsp:spPr>
        <a:xfrm>
          <a:off x="1998130" y="1786389"/>
          <a:ext cx="1496733" cy="396975"/>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b="1" kern="1200">
              <a:latin typeface="Trebuchet MS"/>
            </a:rPr>
            <a:t> Phase 1</a:t>
          </a:r>
          <a:endParaRPr lang="en-US" sz="1200" kern="1200"/>
        </a:p>
      </dsp:txBody>
      <dsp:txXfrm>
        <a:off x="1998130" y="1786389"/>
        <a:ext cx="1496733" cy="396975"/>
      </dsp:txXfrm>
    </dsp:sp>
    <dsp:sp modelId="{EDD5675C-83C4-4769-8648-4EF5BC6B613D}">
      <dsp:nvSpPr>
        <dsp:cNvPr id="0" name=""/>
        <dsp:cNvSpPr/>
      </dsp:nvSpPr>
      <dsp:spPr>
        <a:xfrm>
          <a:off x="1499219" y="2580340"/>
          <a:ext cx="2494555" cy="13894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rtl="0">
            <a:lnSpc>
              <a:spcPct val="90000"/>
            </a:lnSpc>
            <a:spcBef>
              <a:spcPct val="0"/>
            </a:spcBef>
            <a:spcAft>
              <a:spcPct val="35000"/>
            </a:spcAft>
            <a:buNone/>
          </a:pPr>
          <a:r>
            <a:rPr lang="en-US" sz="1200" b="1" kern="1200">
              <a:solidFill>
                <a:srgbClr val="002060"/>
              </a:solidFill>
              <a:latin typeface="Trebuchet MS"/>
            </a:rPr>
            <a:t> </a:t>
          </a:r>
          <a:r>
            <a:rPr lang="en-US" sz="1200" b="1" kern="1200" err="1">
              <a:solidFill>
                <a:srgbClr val="002060"/>
              </a:solidFill>
              <a:latin typeface="Trebuchet MS"/>
            </a:rPr>
            <a:t>Optimise</a:t>
          </a:r>
          <a:r>
            <a:rPr lang="en-US" sz="1200" b="1" kern="1200">
              <a:solidFill>
                <a:srgbClr val="002060"/>
              </a:solidFill>
              <a:latin typeface="Trebuchet MS"/>
            </a:rPr>
            <a:t> Model</a:t>
          </a:r>
        </a:p>
      </dsp:txBody>
      <dsp:txXfrm>
        <a:off x="1499219" y="2580340"/>
        <a:ext cx="2494555" cy="1389413"/>
      </dsp:txXfrm>
    </dsp:sp>
    <dsp:sp modelId="{61269B63-A20B-41B1-8A64-C7F49377B384}">
      <dsp:nvSpPr>
        <dsp:cNvPr id="0" name=""/>
        <dsp:cNvSpPr/>
      </dsp:nvSpPr>
      <dsp:spPr>
        <a:xfrm>
          <a:off x="2746496" y="2183364"/>
          <a:ext cx="0" cy="317580"/>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46FA7420-7536-4337-AFA6-1BBBB7AE3A4E}">
      <dsp:nvSpPr>
        <dsp:cNvPr id="0" name=""/>
        <dsp:cNvSpPr/>
      </dsp:nvSpPr>
      <dsp:spPr>
        <a:xfrm>
          <a:off x="2706799" y="2500945"/>
          <a:ext cx="79395" cy="79395"/>
        </a:xfrm>
        <a:prstGeom prst="ellipse">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0523C11-87BF-4677-B69F-65F76242AA47}">
      <dsp:nvSpPr>
        <dsp:cNvPr id="0" name=""/>
        <dsp:cNvSpPr/>
      </dsp:nvSpPr>
      <dsp:spPr>
        <a:xfrm>
          <a:off x="3494863" y="1786389"/>
          <a:ext cx="1496733" cy="396975"/>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b="1" kern="1200">
              <a:latin typeface="Trebuchet MS"/>
            </a:rPr>
            <a:t> Phase 2</a:t>
          </a:r>
          <a:endParaRPr lang="en-US" sz="1200" b="1" kern="1200"/>
        </a:p>
      </dsp:txBody>
      <dsp:txXfrm>
        <a:off x="3494863" y="1786389"/>
        <a:ext cx="1496733" cy="396975"/>
      </dsp:txXfrm>
    </dsp:sp>
    <dsp:sp modelId="{B7F91847-0032-447D-8816-FC686C440B19}">
      <dsp:nvSpPr>
        <dsp:cNvPr id="0" name=""/>
        <dsp:cNvSpPr/>
      </dsp:nvSpPr>
      <dsp:spPr>
        <a:xfrm>
          <a:off x="2995952" y="0"/>
          <a:ext cx="2494555" cy="13894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a:lnSpc>
              <a:spcPct val="90000"/>
            </a:lnSpc>
            <a:spcBef>
              <a:spcPct val="0"/>
            </a:spcBef>
            <a:spcAft>
              <a:spcPct val="35000"/>
            </a:spcAft>
            <a:buNone/>
          </a:pPr>
          <a:r>
            <a:rPr lang="en-US" sz="1200" b="1" kern="1200">
              <a:solidFill>
                <a:srgbClr val="002060"/>
              </a:solidFill>
              <a:latin typeface="Trebuchet MS"/>
            </a:rPr>
            <a:t>Build Prototype </a:t>
          </a:r>
          <a:endParaRPr lang="en-US" sz="1200" kern="1200"/>
        </a:p>
      </dsp:txBody>
      <dsp:txXfrm>
        <a:off x="2995952" y="0"/>
        <a:ext cx="2494555" cy="1389413"/>
      </dsp:txXfrm>
    </dsp:sp>
    <dsp:sp modelId="{6E49F180-E2B2-4820-A02B-E6CBCD4B03C9}">
      <dsp:nvSpPr>
        <dsp:cNvPr id="0" name=""/>
        <dsp:cNvSpPr/>
      </dsp:nvSpPr>
      <dsp:spPr>
        <a:xfrm>
          <a:off x="4243230" y="1468808"/>
          <a:ext cx="0" cy="317580"/>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C716EC80-6C9F-442F-AC00-4867FF001B7F}">
      <dsp:nvSpPr>
        <dsp:cNvPr id="0" name=""/>
        <dsp:cNvSpPr/>
      </dsp:nvSpPr>
      <dsp:spPr>
        <a:xfrm>
          <a:off x="4203532" y="1389413"/>
          <a:ext cx="79395" cy="79395"/>
        </a:xfrm>
        <a:prstGeom prst="ellipse">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48918C2-BB52-40BD-A734-17B37F1C393A}">
      <dsp:nvSpPr>
        <dsp:cNvPr id="0" name=""/>
        <dsp:cNvSpPr/>
      </dsp:nvSpPr>
      <dsp:spPr>
        <a:xfrm>
          <a:off x="4991596" y="1786389"/>
          <a:ext cx="1496733" cy="396975"/>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en-US" sz="1200" b="1" kern="1200">
              <a:latin typeface="Trebuchet MS"/>
            </a:rPr>
            <a:t> Phase 3</a:t>
          </a:r>
        </a:p>
      </dsp:txBody>
      <dsp:txXfrm>
        <a:off x="4991596" y="1786389"/>
        <a:ext cx="1496733" cy="396975"/>
      </dsp:txXfrm>
    </dsp:sp>
    <dsp:sp modelId="{E2E51C52-4030-4BEA-9AB5-ACD8C111DBF2}">
      <dsp:nvSpPr>
        <dsp:cNvPr id="0" name=""/>
        <dsp:cNvSpPr/>
      </dsp:nvSpPr>
      <dsp:spPr>
        <a:xfrm>
          <a:off x="4492685" y="2580340"/>
          <a:ext cx="2494555" cy="13894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rtl="0">
            <a:lnSpc>
              <a:spcPct val="90000"/>
            </a:lnSpc>
            <a:spcBef>
              <a:spcPct val="0"/>
            </a:spcBef>
            <a:spcAft>
              <a:spcPct val="35000"/>
            </a:spcAft>
            <a:buNone/>
          </a:pPr>
          <a:r>
            <a:rPr lang="en-US" sz="1200" b="1" kern="1200">
              <a:solidFill>
                <a:srgbClr val="002060"/>
              </a:solidFill>
              <a:latin typeface="Trebuchet MS"/>
            </a:rPr>
            <a:t> User Testing </a:t>
          </a:r>
        </a:p>
      </dsp:txBody>
      <dsp:txXfrm>
        <a:off x="4492685" y="2580340"/>
        <a:ext cx="2494555" cy="1389413"/>
      </dsp:txXfrm>
    </dsp:sp>
    <dsp:sp modelId="{049B9701-D383-4FF8-B0F8-7AF825779BE5}">
      <dsp:nvSpPr>
        <dsp:cNvPr id="0" name=""/>
        <dsp:cNvSpPr/>
      </dsp:nvSpPr>
      <dsp:spPr>
        <a:xfrm>
          <a:off x="5739963" y="2183364"/>
          <a:ext cx="0" cy="317580"/>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6A52CAC0-17AA-4870-BDAB-09AA7F96891F}">
      <dsp:nvSpPr>
        <dsp:cNvPr id="0" name=""/>
        <dsp:cNvSpPr/>
      </dsp:nvSpPr>
      <dsp:spPr>
        <a:xfrm>
          <a:off x="5700265" y="2500945"/>
          <a:ext cx="79395" cy="79395"/>
        </a:xfrm>
        <a:prstGeom prst="ellipse">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99924B-5D39-4239-A7F6-F5D8A5F6457F}">
      <dsp:nvSpPr>
        <dsp:cNvPr id="0" name=""/>
        <dsp:cNvSpPr/>
      </dsp:nvSpPr>
      <dsp:spPr>
        <a:xfrm rot="5400000">
          <a:off x="7038208" y="1236510"/>
          <a:ext cx="396975" cy="1496733"/>
        </a:xfrm>
        <a:prstGeom prst="round2Same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en-US" sz="1200" b="1" kern="1200">
              <a:latin typeface="Trebuchet MS"/>
            </a:rPr>
            <a:t> Phase 4</a:t>
          </a:r>
        </a:p>
      </dsp:txBody>
      <dsp:txXfrm rot="-5400000">
        <a:off x="6488330" y="1805768"/>
        <a:ext cx="1477354" cy="358217"/>
      </dsp:txXfrm>
    </dsp:sp>
    <dsp:sp modelId="{74FC39F0-273F-4F12-A0BF-9D5588A311CD}">
      <dsp:nvSpPr>
        <dsp:cNvPr id="0" name=""/>
        <dsp:cNvSpPr/>
      </dsp:nvSpPr>
      <dsp:spPr>
        <a:xfrm>
          <a:off x="5989418" y="0"/>
          <a:ext cx="2494555" cy="13894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a:lnSpc>
              <a:spcPct val="90000"/>
            </a:lnSpc>
            <a:spcBef>
              <a:spcPct val="0"/>
            </a:spcBef>
            <a:spcAft>
              <a:spcPct val="35000"/>
            </a:spcAft>
            <a:buNone/>
          </a:pPr>
          <a:r>
            <a:rPr lang="en-US" sz="1200" b="1" kern="1200">
              <a:solidFill>
                <a:srgbClr val="002060"/>
              </a:solidFill>
              <a:latin typeface="Trebuchet MS"/>
            </a:rPr>
            <a:t>Soft Launch</a:t>
          </a:r>
          <a:endParaRPr lang="en-US" sz="1200" kern="1200"/>
        </a:p>
      </dsp:txBody>
      <dsp:txXfrm>
        <a:off x="5989418" y="0"/>
        <a:ext cx="2494555" cy="1389413"/>
      </dsp:txXfrm>
    </dsp:sp>
    <dsp:sp modelId="{705F2AA3-A4D0-4881-945F-53836ECC800C}">
      <dsp:nvSpPr>
        <dsp:cNvPr id="0" name=""/>
        <dsp:cNvSpPr/>
      </dsp:nvSpPr>
      <dsp:spPr>
        <a:xfrm>
          <a:off x="7236696" y="1468808"/>
          <a:ext cx="0" cy="317580"/>
        </a:xfrm>
        <a:prstGeom prst="line">
          <a:avLst/>
        </a:prstGeom>
        <a:noFill/>
        <a:ln w="9525"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0655CDBD-B15C-4A31-9867-C51888509025}">
      <dsp:nvSpPr>
        <dsp:cNvPr id="0" name=""/>
        <dsp:cNvSpPr/>
      </dsp:nvSpPr>
      <dsp:spPr>
        <a:xfrm>
          <a:off x="7196998" y="1389413"/>
          <a:ext cx="79395" cy="79395"/>
        </a:xfrm>
        <a:prstGeom prst="ellipse">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10/2022</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10/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SG"/>
              <a:t>Good afternoon everyone, this is BDA09 Group 5 The Rising Seven, </a:t>
            </a:r>
            <a:endParaRPr lang="en-US"/>
          </a:p>
          <a:p>
            <a:pPr>
              <a:buNone/>
            </a:pPr>
            <a:r>
              <a:rPr lang="en-SG"/>
              <a:t>we are here to present to you our solution to the challenge you are facing. </a:t>
            </a:r>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12164333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SG"/>
              <a:t>11/01</a:t>
            </a:r>
          </a:p>
          <a:p>
            <a:r>
              <a:rPr lang="en-SG"/>
              <a:t>We now look at the concept of bus frequency which is an important aspect to our solution. We use our ridership data and the bus capacity of 50pax per bus.</a:t>
            </a:r>
          </a:p>
          <a:p>
            <a:r>
              <a:rPr lang="en-SG"/>
              <a:t>to get the number of buses that is able to pick up passengers from the bus stops.</a:t>
            </a:r>
          </a:p>
          <a:p>
            <a:r>
              <a:rPr lang="en-SG"/>
              <a:t>The reason for calculating bus frequency is because we know that in 1 hour, Sentosa deploys 1 bus every 15mins.</a:t>
            </a:r>
          </a:p>
          <a:p>
            <a:r>
              <a:rPr lang="en-SG"/>
              <a:t>and we wanted to find out the actual bus frequency based on the given data.</a:t>
            </a:r>
          </a:p>
          <a:p>
            <a:r>
              <a:rPr lang="en-SG"/>
              <a:t> </a:t>
            </a:r>
          </a:p>
          <a:p>
            <a:r>
              <a:rPr lang="en-SG"/>
              <a:t>We plot the chart based on the Max, Mode, and minimum requirement of bus frequency for each time of the day</a:t>
            </a:r>
          </a:p>
          <a:p>
            <a:r>
              <a:rPr lang="en-SG"/>
              <a:t>The Blue Line refers to the highest value and the Orange Line refers to the most frequent amount buses deployed at that hour.</a:t>
            </a:r>
          </a:p>
          <a:p>
            <a:r>
              <a:rPr lang="en-SG"/>
              <a:t>The Green Line refers to the minimum value required to support the maximum total ridership for that hour from Jan to March</a:t>
            </a:r>
          </a:p>
          <a:p>
            <a:r>
              <a:rPr lang="en-SG"/>
              <a:t> </a:t>
            </a:r>
          </a:p>
          <a:p>
            <a:r>
              <a:rPr lang="en-SG"/>
              <a:t>For example if we look at the weekdays chart, the minimum required bus frequency through out the day is within ONE to TWO buses instead of the current fixed bus schedule of 8 buses per hour.</a:t>
            </a:r>
          </a:p>
          <a:p>
            <a:r>
              <a:rPr lang="en-SG"/>
              <a:t> </a:t>
            </a:r>
          </a:p>
          <a:p>
            <a:r>
              <a:rPr lang="en-SG"/>
              <a:t>As we visualize the trend of the two charts, we can see that the Green Line deployed within each hour of the day is lower than the Max and Mode of the bus frequency.</a:t>
            </a:r>
          </a:p>
          <a:p>
            <a:r>
              <a:rPr lang="en-SG"/>
              <a:t>This means that the actual bus deployment required to support the maximum total ridership at </a:t>
            </a:r>
            <a:r>
              <a:rPr lang="en-SG" err="1"/>
              <a:t>Imbiah</a:t>
            </a:r>
            <a:r>
              <a:rPr lang="en-SG"/>
              <a:t> Lookout can be more than required.</a:t>
            </a:r>
          </a:p>
          <a:p>
            <a:r>
              <a:rPr lang="en-SG"/>
              <a:t> </a:t>
            </a:r>
          </a:p>
          <a:p>
            <a:r>
              <a:rPr lang="en-SG"/>
              <a:t>Later on, we will continue to use this Green Line, our actual bus frequency, to compare with our prediction results in our Machine learning model.</a:t>
            </a:r>
          </a:p>
          <a:p>
            <a:endParaRPr lang="en-SG"/>
          </a:p>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9</a:t>
            </a:fld>
            <a:endParaRPr lang="en-US"/>
          </a:p>
        </p:txBody>
      </p:sp>
    </p:spTree>
    <p:extLst>
      <p:ext uri="{BB962C8B-B14F-4D97-AF65-F5344CB8AC3E}">
        <p14:creationId xmlns:p14="http://schemas.microsoft.com/office/powerpoint/2010/main" val="37811142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endParaRPr lang="en-US">
              <a:latin typeface="Calibri"/>
              <a:cs typeface="Calibri"/>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25102189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SG"/>
              <a:t>For the purpose of modelling we created the following features: </a:t>
            </a:r>
            <a:endParaRPr lang="en-US"/>
          </a:p>
          <a:p>
            <a:pPr>
              <a:buNone/>
            </a:pPr>
            <a:r>
              <a:rPr lang="en-SG"/>
              <a:t> </a:t>
            </a:r>
          </a:p>
          <a:p>
            <a:pPr>
              <a:buNone/>
            </a:pPr>
            <a:r>
              <a:rPr lang="en-SG"/>
              <a:t>From the ridership data we created flags for day of the week and bus stop popularity.</a:t>
            </a:r>
          </a:p>
          <a:p>
            <a:pPr>
              <a:buNone/>
            </a:pPr>
            <a:r>
              <a:rPr lang="en-SG"/>
              <a:t> </a:t>
            </a:r>
          </a:p>
          <a:p>
            <a:pPr>
              <a:buNone/>
            </a:pPr>
            <a:r>
              <a:rPr lang="en-SG"/>
              <a:t>Using external data, we created the rain flag and holiday flag </a:t>
            </a:r>
          </a:p>
          <a:p>
            <a:pPr>
              <a:buNone/>
            </a:pPr>
            <a:r>
              <a:rPr lang="en-SG"/>
              <a:t> </a:t>
            </a:r>
          </a:p>
          <a:p>
            <a:pPr>
              <a:spcAft>
                <a:spcPts val="0"/>
              </a:spcAft>
              <a:buNone/>
            </a:pPr>
            <a:r>
              <a:rPr lang="en-SG"/>
              <a:t>To measure ridership we took the sum of total passengers in and out divided by two. This was also the variable we predicted. From there, we also created a unique feature of bus frequency.</a:t>
            </a:r>
          </a:p>
          <a:p>
            <a:pPr marL="228600" indent="-228600">
              <a:spcAft>
                <a:spcPts val="0"/>
              </a:spcAft>
              <a:buAutoNum type="arabicPeriod"/>
            </a:pPr>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1</a:t>
            </a:fld>
            <a:endParaRPr lang="en-US"/>
          </a:p>
        </p:txBody>
      </p:sp>
    </p:spTree>
    <p:extLst>
      <p:ext uri="{BB962C8B-B14F-4D97-AF65-F5344CB8AC3E}">
        <p14:creationId xmlns:p14="http://schemas.microsoft.com/office/powerpoint/2010/main" val="3401952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endParaRPr lang="en-US">
              <a:latin typeface="Calibri"/>
              <a:cs typeface="Calibri"/>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34264709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spcAft>
                <a:spcPts val="0"/>
              </a:spcAft>
              <a:buNone/>
            </a:pPr>
            <a:r>
              <a:rPr lang="en-SG"/>
              <a:t>How did we come up with the model?</a:t>
            </a:r>
            <a:endParaRPr lang="en-US"/>
          </a:p>
          <a:p>
            <a:pPr>
              <a:spcAft>
                <a:spcPts val="0"/>
              </a:spcAft>
              <a:buNone/>
            </a:pPr>
            <a:r>
              <a:rPr lang="en-SG"/>
              <a:t>1. Grouped riders by the operating hours of each day across the 3 months</a:t>
            </a:r>
            <a:endParaRPr lang="en-US"/>
          </a:p>
          <a:p>
            <a:pPr>
              <a:spcAft>
                <a:spcPts val="0"/>
              </a:spcAft>
              <a:buNone/>
            </a:pPr>
            <a:r>
              <a:rPr lang="en-SG"/>
              <a:t>2. Tested for stationarity </a:t>
            </a:r>
            <a:endParaRPr lang="en-US"/>
          </a:p>
          <a:p>
            <a:pPr>
              <a:spcAft>
                <a:spcPts val="0"/>
              </a:spcAft>
              <a:buNone/>
            </a:pPr>
            <a:r>
              <a:rPr lang="en-SG"/>
              <a:t>3. Performed data transformations – Log of dataset to scale, increased all values by 2 to shift dataset by a small number and remove zeroes</a:t>
            </a:r>
            <a:endParaRPr lang="en-US"/>
          </a:p>
          <a:p>
            <a:pPr>
              <a:spcAft>
                <a:spcPts val="0"/>
              </a:spcAft>
              <a:buNone/>
            </a:pPr>
            <a:r>
              <a:rPr lang="en-SG"/>
              <a:t>4. Split data into train/test (0.85 split)</a:t>
            </a:r>
            <a:endParaRPr lang="en-US"/>
          </a:p>
          <a:p>
            <a:pPr>
              <a:spcAft>
                <a:spcPts val="0"/>
              </a:spcAft>
              <a:buNone/>
            </a:pPr>
            <a:r>
              <a:rPr lang="en-SG"/>
              <a:t>5. Exogenous dataset (Weekend Flag, Holiday Flag, Rain Flag)</a:t>
            </a:r>
            <a:endParaRPr lang="en-US"/>
          </a:p>
          <a:p>
            <a:pPr>
              <a:spcAft>
                <a:spcPts val="0"/>
              </a:spcAft>
              <a:buNone/>
            </a:pPr>
            <a:r>
              <a:rPr lang="en-SG"/>
              <a:t>6. Run auto-</a:t>
            </a:r>
            <a:r>
              <a:rPr lang="en-SG" err="1"/>
              <a:t>arima</a:t>
            </a:r>
            <a:r>
              <a:rPr lang="en-SG"/>
              <a:t> to get best order and seasonal order</a:t>
            </a:r>
            <a:endParaRPr lang="en-US"/>
          </a:p>
          <a:p>
            <a:pPr>
              <a:spcAft>
                <a:spcPts val="0"/>
              </a:spcAft>
              <a:buNone/>
            </a:pPr>
            <a:r>
              <a:rPr lang="en-SG"/>
              <a:t>7. Run SARIMAX to train model</a:t>
            </a:r>
          </a:p>
          <a:p>
            <a:pPr>
              <a:spcAft>
                <a:spcPts val="0"/>
              </a:spcAft>
              <a:buNone/>
            </a:pPr>
            <a:endParaRPr lang="en-SG"/>
          </a:p>
          <a:p>
            <a:pPr>
              <a:buNone/>
            </a:pPr>
            <a:r>
              <a:rPr lang="en-SG"/>
              <a:t>Given the chronological nature of our dataset, we decided to go with a Time Series Model. Specifically, we used SARIMAX to account for seasonal trends and exogenous variables. To get the best accuracy, we utilized auto-</a:t>
            </a:r>
            <a:r>
              <a:rPr lang="en-SG" err="1"/>
              <a:t>arima</a:t>
            </a:r>
            <a:r>
              <a:rPr lang="en-SG"/>
              <a:t> and looping to optimize the best components. We then took the best result, which produced an R2 score of 0.8 and mean average prediction error (or MAPE) of 16.25%. </a:t>
            </a:r>
          </a:p>
          <a:p>
            <a:pPr>
              <a:buNone/>
            </a:pPr>
            <a:r>
              <a:rPr lang="en-SG"/>
              <a:t> </a:t>
            </a:r>
          </a:p>
          <a:p>
            <a:pPr>
              <a:spcAft>
                <a:spcPts val="0"/>
              </a:spcAft>
              <a:buNone/>
            </a:pPr>
            <a:r>
              <a:rPr lang="en-SG"/>
              <a:t>The values here are not directly indicative of ridership as they have been log transformed for scaling and will require the same transformations in reverse.</a:t>
            </a:r>
          </a:p>
          <a:p>
            <a:pPr>
              <a:spcAft>
                <a:spcPts val="0"/>
              </a:spcAft>
              <a:buNone/>
            </a:pPr>
            <a:endParaRPr lang="en-SG"/>
          </a:p>
          <a:p>
            <a:pPr marL="228600" indent="-228600">
              <a:spcAft>
                <a:spcPts val="0"/>
              </a:spcAft>
              <a:buAutoNum type="arabicPeriod"/>
            </a:pPr>
            <a:endParaRPr lang="en-SG"/>
          </a:p>
          <a:p>
            <a:pPr>
              <a:spcAft>
                <a:spcPts val="0"/>
              </a:spcAft>
              <a:buNone/>
            </a:pPr>
            <a:endParaRPr lang="en-SG"/>
          </a:p>
          <a:p>
            <a:pPr>
              <a:spcAft>
                <a:spcPts val="0"/>
              </a:spcAft>
              <a:buNone/>
            </a:pPr>
            <a:endParaRPr lang="en-SG"/>
          </a:p>
          <a:p>
            <a:pPr>
              <a:spcAft>
                <a:spcPts val="0"/>
              </a:spcAft>
              <a:buNone/>
            </a:pPr>
            <a:endParaRPr lang="en-SG"/>
          </a:p>
          <a:p>
            <a:pPr>
              <a:spcAft>
                <a:spcPts val="0"/>
              </a:spcAft>
              <a:buNone/>
            </a:pPr>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1290035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a:t>We then set out to predict ridership for the first 7 days of April, to cover the variations across the week.  To provide a buffer for error in our prediction we also provided a </a:t>
            </a:r>
            <a:r>
              <a:rPr lang="en-US" err="1"/>
              <a:t>mape</a:t>
            </a:r>
            <a:r>
              <a:rPr lang="en-US"/>
              <a:t>-adjusted prediction denoted by the light blue error band and orange points on the graph. </a:t>
            </a:r>
          </a:p>
          <a:p>
            <a:pPr>
              <a:buNone/>
            </a:pPr>
            <a:r>
              <a:rPr lang="en-US"/>
              <a:t> </a:t>
            </a:r>
          </a:p>
          <a:p>
            <a:pPr>
              <a:buNone/>
            </a:pPr>
            <a:r>
              <a:rPr lang="en-US"/>
              <a:t>As seen in our prediction, similar trends and patterns are observed, with high ridership starting on April 1st, a Thursday. Higher than average ridership continues on Friday, a public holiday, and April 3rd which is a Saturday. This trend only begins to taper off on Sunday April 4th. </a:t>
            </a:r>
          </a:p>
          <a:p>
            <a:pPr>
              <a:buNone/>
            </a:pPr>
            <a:r>
              <a:rPr lang="en-US"/>
              <a:t> </a:t>
            </a:r>
          </a:p>
          <a:p>
            <a:pPr>
              <a:buNone/>
            </a:pPr>
            <a:r>
              <a:rPr lang="en-US"/>
              <a:t>Looking at the hourly prediction by day, we see the same mid-day peaks that occur in the afternoon between the hours of two to six PM.</a:t>
            </a:r>
          </a:p>
          <a:p>
            <a:pPr>
              <a:buNone/>
            </a:pPr>
            <a:endParaRPr lang="en-US">
              <a:latin typeface="Calibri"/>
              <a:cs typeface="Calibri"/>
            </a:endParaRPr>
          </a:p>
          <a:p>
            <a:pPr marL="228600" indent="-228600">
              <a:spcAft>
                <a:spcPts val="0"/>
              </a:spcAft>
              <a:buAutoNum type="arabicPeriod"/>
            </a:pPr>
            <a:endParaRPr lang="en-SG"/>
          </a:p>
          <a:p>
            <a:pPr>
              <a:spcAft>
                <a:spcPts val="0"/>
              </a:spcAft>
              <a:buNone/>
            </a:pPr>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11502843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SG"/>
              <a:t>Building upon our ridership prediction of 1st April and using the 16.25% MAPE value as an additional buffer, we calculated the bus frequency based on the maximum bus capacity of 50pax. </a:t>
            </a:r>
            <a:endParaRPr lang="en-US"/>
          </a:p>
          <a:p>
            <a:pPr>
              <a:buNone/>
            </a:pPr>
            <a:r>
              <a:rPr lang="en-SG"/>
              <a:t> </a:t>
            </a:r>
            <a:endParaRPr lang="en-US"/>
          </a:p>
          <a:p>
            <a:pPr>
              <a:buNone/>
            </a:pPr>
            <a:r>
              <a:rPr lang="en-SG"/>
              <a:t>We then get the minimum required bus frequency as seen in the red line in the chart. We see a surge in demand at 2pm and 6pm where approximately 4 and 3 buses would be needed that hour respectively. </a:t>
            </a:r>
            <a:endParaRPr lang="en-US"/>
          </a:p>
          <a:p>
            <a:pPr>
              <a:buNone/>
            </a:pPr>
            <a:r>
              <a:rPr lang="en-SG"/>
              <a:t> </a:t>
            </a:r>
          </a:p>
          <a:p>
            <a:pPr>
              <a:buNone/>
            </a:pPr>
            <a:r>
              <a:rPr lang="en-SG"/>
              <a:t>Overlaying this with the actual bus frequency derived from our EDA, we see that the minimum requirement hovers around 1 to at most 2 buses. </a:t>
            </a:r>
          </a:p>
          <a:p>
            <a:pPr>
              <a:buNone/>
            </a:pPr>
            <a:r>
              <a:rPr lang="en-SG"/>
              <a:t> </a:t>
            </a:r>
          </a:p>
          <a:p>
            <a:pPr>
              <a:buNone/>
            </a:pPr>
            <a:r>
              <a:rPr lang="en-SG"/>
              <a:t>Comparing that with our prediction, we see then that the minimum requirement differs greatly during certain hours of the day where ridership surges.</a:t>
            </a:r>
          </a:p>
          <a:p>
            <a:pPr>
              <a:buNone/>
            </a:pPr>
            <a:r>
              <a:rPr lang="en-SG"/>
              <a:t> </a:t>
            </a:r>
            <a:endParaRPr lang="en-US"/>
          </a:p>
          <a:p>
            <a:pPr>
              <a:spcAft>
                <a:spcPts val="0"/>
              </a:spcAft>
              <a:buNone/>
            </a:pPr>
            <a:r>
              <a:rPr lang="en-SG"/>
              <a:t>To that end, we propose that the usage of our model would allow for a better allocation of buses to meet demand in a dynamic manner as opposed to sending buses on a fixed frequency basis. </a:t>
            </a:r>
          </a:p>
          <a:p>
            <a:pPr marL="228600" indent="-228600">
              <a:spcAft>
                <a:spcPts val="0"/>
              </a:spcAft>
              <a:buAutoNum type="arabicPeriod"/>
            </a:pPr>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5</a:t>
            </a:fld>
            <a:endParaRPr lang="en-US"/>
          </a:p>
        </p:txBody>
      </p:sp>
    </p:spTree>
    <p:extLst>
      <p:ext uri="{BB962C8B-B14F-4D97-AF65-F5344CB8AC3E}">
        <p14:creationId xmlns:p14="http://schemas.microsoft.com/office/powerpoint/2010/main" val="7991596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a:t>Apart from the prediction model, we also came with another solution.</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6</a:t>
            </a:fld>
            <a:endParaRPr lang="en-US"/>
          </a:p>
        </p:txBody>
      </p:sp>
    </p:spTree>
    <p:extLst>
      <p:ext uri="{BB962C8B-B14F-4D97-AF65-F5344CB8AC3E}">
        <p14:creationId xmlns:p14="http://schemas.microsoft.com/office/powerpoint/2010/main" val="19378294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a:t>Apart from the prediction model, we also came with another solution through digital means.</a:t>
            </a:r>
          </a:p>
          <a:p>
            <a:pPr>
              <a:buNone/>
            </a:pPr>
            <a:endParaRPr lang="en-US"/>
          </a:p>
          <a:p>
            <a:pPr>
              <a:buNone/>
            </a:pPr>
            <a:r>
              <a:rPr lang="en-US"/>
              <a:t>We notice that the exiting Sentosa App which was free for public download has no mention of the complimentary shuttle services offered by SDC. </a:t>
            </a:r>
          </a:p>
          <a:p>
            <a:pPr>
              <a:buNone/>
            </a:pPr>
            <a:endParaRPr lang="en-US"/>
          </a:p>
          <a:p>
            <a:pPr>
              <a:buNone/>
            </a:pPr>
            <a:r>
              <a:rPr lang="en-US"/>
              <a:t>We have come up with a few wireframes design to include information about these free buses and their route details. </a:t>
            </a:r>
          </a:p>
          <a:p>
            <a:pPr>
              <a:buNone/>
            </a:pPr>
            <a:endParaRPr lang="en-US"/>
          </a:p>
          <a:p>
            <a:pPr>
              <a:buNone/>
            </a:pPr>
            <a:r>
              <a:rPr lang="en-US"/>
              <a:t>And further included real time bus arrival and available capacity information as seen in the 3rd wireframe. </a:t>
            </a:r>
          </a:p>
          <a:p>
            <a:pPr>
              <a:buNone/>
            </a:pPr>
            <a:endParaRPr lang="en-US"/>
          </a:p>
          <a:p>
            <a:pPr>
              <a:buNone/>
            </a:pPr>
            <a:r>
              <a:rPr lang="en-US"/>
              <a:t>These information will help visitors be aware of these services and also make informed decision in the planning of their routes without spending too long waiting for their buses. This addresses one of the major pain point from the customers point of view. </a:t>
            </a:r>
          </a:p>
          <a:p>
            <a:pPr>
              <a:buNone/>
            </a:pPr>
            <a:endParaRPr lang="en-US"/>
          </a:p>
          <a:p>
            <a:pPr>
              <a:buNone/>
            </a:pPr>
            <a:r>
              <a:rPr lang="en-US"/>
              <a:t>The new addition will in turn improve overall customer satisfaction which was one of Sentosa's main objectives.</a:t>
            </a:r>
          </a:p>
          <a:p>
            <a:pPr>
              <a:spcAft>
                <a:spcPts val="0"/>
              </a:spcAft>
              <a:buNone/>
            </a:pPr>
            <a:r>
              <a:rPr lang="en-US"/>
              <a:t>  </a:t>
            </a:r>
          </a:p>
          <a:p>
            <a:pPr>
              <a:buNone/>
            </a:pPr>
            <a:endParaRPr lang="en-US">
              <a:latin typeface="Calibri"/>
              <a:cs typeface="Calibri"/>
            </a:endParaRPr>
          </a:p>
          <a:p>
            <a:pPr>
              <a:buNone/>
            </a:pPr>
            <a:endParaRPr lang="en-US">
              <a:latin typeface="Calibri"/>
              <a:cs typeface="Calibri"/>
            </a:endParaRPr>
          </a:p>
          <a:p>
            <a:pPr>
              <a:buNone/>
            </a:pPr>
            <a:endParaRPr lang="en-US">
              <a:latin typeface="Calibri"/>
              <a:cs typeface="Calibri"/>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4095486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a:t>So what's next?</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8</a:t>
            </a:fld>
            <a:endParaRPr lang="en-US"/>
          </a:p>
        </p:txBody>
      </p:sp>
    </p:spTree>
    <p:extLst>
      <p:ext uri="{BB962C8B-B14F-4D97-AF65-F5344CB8AC3E}">
        <p14:creationId xmlns:p14="http://schemas.microsoft.com/office/powerpoint/2010/main" val="6586680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a:t>This is our energetic project team members.</a:t>
            </a:r>
          </a:p>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38530285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lvl="1">
              <a:buNone/>
            </a:pPr>
            <a:r>
              <a:rPr lang="en-US" b="1"/>
              <a:t>Before we go into our next steps, here are our Key Assumptions:</a:t>
            </a:r>
            <a:endParaRPr lang="en-US"/>
          </a:p>
          <a:p>
            <a:pPr lvl="1">
              <a:buNone/>
            </a:pPr>
            <a:r>
              <a:rPr lang="en-US"/>
              <a:t>1) Due to the inaccuracy of the bus detection system, we assume that the total riders coming in and out of the complete bus route are the same.</a:t>
            </a:r>
          </a:p>
          <a:p>
            <a:pPr lvl="1">
              <a:buNone/>
            </a:pPr>
            <a:r>
              <a:rPr lang="en-US"/>
              <a:t>2) In view of the COVID </a:t>
            </a:r>
            <a:r>
              <a:rPr lang="en-US" err="1"/>
              <a:t>situtaion</a:t>
            </a:r>
            <a:r>
              <a:rPr lang="en-US"/>
              <a:t>, there are no major events or promotions during the period of data provided.</a:t>
            </a:r>
          </a:p>
          <a:p>
            <a:pPr lvl="1">
              <a:buNone/>
            </a:pPr>
            <a:r>
              <a:rPr lang="en-US"/>
              <a:t>3) The maximum bus capacity is taken at 50pax due to COVID situation.</a:t>
            </a:r>
          </a:p>
          <a:p>
            <a:pPr lvl="1">
              <a:buNone/>
            </a:pPr>
            <a:r>
              <a:rPr lang="en-US"/>
              <a:t>4) Given that it is not possible to </a:t>
            </a:r>
            <a:r>
              <a:rPr lang="en-US" u="sng"/>
              <a:t>remove any bus stops or routes, </a:t>
            </a:r>
            <a:r>
              <a:rPr lang="en-US"/>
              <a:t>we decided to focus on the bus stop with the highest ridership and use it as 1st test subject to run the model.</a:t>
            </a:r>
          </a:p>
          <a:p>
            <a:pPr lvl="1">
              <a:buNone/>
            </a:pPr>
            <a:endParaRPr lang="en-US"/>
          </a:p>
          <a:p>
            <a:pPr lvl="1">
              <a:buNone/>
            </a:pPr>
            <a:r>
              <a:rPr lang="en-US"/>
              <a:t>Next, looking at a time frame of 6 to 9 months :- </a:t>
            </a:r>
          </a:p>
          <a:p>
            <a:pPr lvl="1">
              <a:buNone/>
            </a:pPr>
            <a:endParaRPr lang="en-US"/>
          </a:p>
          <a:p>
            <a:pPr lvl="1">
              <a:buNone/>
            </a:pPr>
            <a:r>
              <a:rPr lang="en-US"/>
              <a:t>As an immediate next step, we will need to acquiring longer timeframe of data, consider other bus stops, include any additional features such as information on events and programs ran during the period and look at data during non-covid period due bus capacity. This will help improve the model metrics as time series model generally requires a longer time-set of data to generate more accurate prediction. </a:t>
            </a:r>
          </a:p>
          <a:p>
            <a:pPr lvl="1">
              <a:buNone/>
            </a:pPr>
            <a:endParaRPr lang="en-US"/>
          </a:p>
          <a:p>
            <a:pPr lvl="1">
              <a:buNone/>
            </a:pPr>
            <a:r>
              <a:rPr lang="en-US"/>
              <a:t>We will then move on to phase 1 to run our predictive model and </a:t>
            </a:r>
            <a:r>
              <a:rPr lang="en-US" err="1"/>
              <a:t>optimise</a:t>
            </a:r>
            <a:r>
              <a:rPr lang="en-US"/>
              <a:t> it for any fine tuning. </a:t>
            </a:r>
          </a:p>
          <a:p>
            <a:pPr lvl="1">
              <a:buNone/>
            </a:pPr>
            <a:endParaRPr lang="en-US"/>
          </a:p>
          <a:p>
            <a:pPr lvl="1">
              <a:buNone/>
            </a:pPr>
            <a:r>
              <a:rPr lang="en-US"/>
              <a:t>In phase 2, we will improve the current app and model by building prototypes with the additional features. </a:t>
            </a:r>
          </a:p>
          <a:p>
            <a:pPr lvl="1">
              <a:buNone/>
            </a:pPr>
            <a:endParaRPr lang="en-US"/>
          </a:p>
          <a:p>
            <a:pPr lvl="1">
              <a:buNone/>
            </a:pPr>
            <a:r>
              <a:rPr lang="en-US"/>
              <a:t>In phase 3, we will test out our </a:t>
            </a:r>
            <a:r>
              <a:rPr lang="en-US" err="1"/>
              <a:t>optimised</a:t>
            </a:r>
            <a:r>
              <a:rPr lang="en-US"/>
              <a:t> prediction model with the operations team as well as the app with users for 3 months and get feedback on the app experience.  </a:t>
            </a:r>
          </a:p>
          <a:p>
            <a:pPr lvl="1">
              <a:buNone/>
            </a:pPr>
            <a:endParaRPr lang="en-US"/>
          </a:p>
          <a:p>
            <a:pPr lvl="1">
              <a:buNone/>
            </a:pPr>
            <a:r>
              <a:rPr lang="en-US"/>
              <a:t>After that we will work on improving the app and the prediction model in our last phase before the soft launch of both the app and model.</a:t>
            </a:r>
          </a:p>
          <a:p>
            <a:pPr lvl="1">
              <a:buNone/>
            </a:pPr>
            <a:endParaRPr lang="en-US"/>
          </a:p>
          <a:p>
            <a:pPr lvl="1">
              <a:buNone/>
            </a:pPr>
            <a:r>
              <a:rPr lang="en-US"/>
              <a:t>Thank you for listening and we are now open to any questions. </a:t>
            </a:r>
          </a:p>
          <a:p>
            <a:pPr lvl="1">
              <a:buNone/>
            </a:pPr>
            <a:endParaRPr lang="en-US"/>
          </a:p>
          <a:p>
            <a:pPr lvl="1">
              <a:buNone/>
            </a:pPr>
            <a:endParaRPr lang="en-US"/>
          </a:p>
          <a:p>
            <a:pPr lvl="1">
              <a:buNone/>
            </a:pPr>
            <a:r>
              <a:rPr lang="en-US"/>
              <a:t>------</a:t>
            </a:r>
          </a:p>
          <a:p>
            <a:pPr>
              <a:buNone/>
            </a:pPr>
            <a:r>
              <a:rPr lang="en-US"/>
              <a:t>In our dual approach: for the routes, we recommend to deploy the buses using our prediction model by looking at the ridership volume 1 week in advance and allocate buses based on the suggested minimum bus frequency required in a dynamic manner so as to better manage operating costs and balancing with ridership demand. As for bus stops, we recommend to share real time bus information with the visitors, such as the arrival time and available capacity in the existing Sentosa App, and/or even have digital signboards to indicate the bus information at popular bus stops. </a:t>
            </a:r>
          </a:p>
          <a:p>
            <a:pPr>
              <a:buNone/>
            </a:pPr>
            <a:endParaRPr lang="en-US"/>
          </a:p>
          <a:p>
            <a:pPr>
              <a:buNone/>
            </a:pPr>
            <a:r>
              <a:rPr lang="en-US"/>
              <a:t>Some of the Values and Impact we see based on our recommendations are: </a:t>
            </a:r>
          </a:p>
          <a:p>
            <a:pPr>
              <a:buNone/>
            </a:pPr>
            <a:endParaRPr lang="en-US"/>
          </a:p>
          <a:p>
            <a:pPr>
              <a:buNone/>
            </a:pPr>
            <a:r>
              <a:rPr lang="en-US"/>
              <a:t>1) Firstly, having a predictive approach to deploying bus instead of using the current fixed frequency helps to cut down on the manual operational work using radio dispatch of buses when there is a surge in demand.</a:t>
            </a:r>
          </a:p>
          <a:p>
            <a:pPr>
              <a:buNone/>
            </a:pPr>
            <a:endParaRPr lang="en-US"/>
          </a:p>
          <a:p>
            <a:pPr>
              <a:buNone/>
            </a:pPr>
            <a:r>
              <a:rPr lang="en-US"/>
              <a:t>2) Secondly, by removing </a:t>
            </a:r>
            <a:r>
              <a:rPr lang="en-US" err="1"/>
              <a:t>under-utilised</a:t>
            </a:r>
            <a:r>
              <a:rPr lang="en-US"/>
              <a:t> buses during non-peak hours, such as reducing the current bus frequency of 4 to at an ideal of at least 2 or having smaller capacity buses during off-peak periods due to low ridership can potentially save operational costs.</a:t>
            </a:r>
          </a:p>
          <a:p>
            <a:pPr>
              <a:buNone/>
            </a:pPr>
            <a:endParaRPr lang="en-US"/>
          </a:p>
          <a:p>
            <a:pPr>
              <a:buNone/>
            </a:pPr>
            <a:r>
              <a:rPr lang="en-US"/>
              <a:t>3) Thirdly, the overall customer experience will be improved as bus information are readily available so visitors can better plan their time and potentially spend more time at attractions and amenities instead of waiting at the bus stop.</a:t>
            </a:r>
          </a:p>
          <a:p>
            <a:pPr>
              <a:buNone/>
            </a:pPr>
            <a:endParaRPr lang="en-US"/>
          </a:p>
          <a:p>
            <a:pPr>
              <a:buNone/>
            </a:pPr>
            <a:r>
              <a:rPr lang="en-US"/>
              <a:t>4) Lastly, there will an increase the number of users using the Sentosa App, especially when it is now an all in 1 app. Users need not open multiple apps just to check the bus routes such as google map, which may not be as accurate as the data is not directly provided by Sentosa. Besides the routes, there will also be an increase in visibility for other features in the app, such as the events, promotions and other attractions. </a:t>
            </a:r>
          </a:p>
          <a:p>
            <a:pPr lvl="1">
              <a:buNone/>
            </a:pPr>
            <a:endParaRPr lang="en-US"/>
          </a:p>
          <a:p>
            <a:pPr lvl="1">
              <a:buNone/>
            </a:pPr>
            <a:endParaRPr lang="en-US"/>
          </a:p>
          <a:p>
            <a:pPr lvl="1">
              <a:buNone/>
            </a:pPr>
            <a:r>
              <a:rPr lang="en-US" b="1"/>
              <a:t>-------------</a:t>
            </a:r>
          </a:p>
          <a:p>
            <a:pPr marL="228600" indent="-228600">
              <a:lnSpc>
                <a:spcPct val="150000"/>
              </a:lnSpc>
              <a:spcAft>
                <a:spcPts val="0"/>
              </a:spcAft>
              <a:buAutoNum type="arabicPeriod"/>
            </a:pPr>
            <a:r>
              <a:rPr lang="en-US"/>
              <a:t>Time series model requires a longer time data (at least 1 year) in order to give more accurate predictions (current data is only 3 months).</a:t>
            </a:r>
          </a:p>
          <a:p>
            <a:pPr marL="228600" indent="-228600">
              <a:lnSpc>
                <a:spcPct val="150000"/>
              </a:lnSpc>
              <a:spcAft>
                <a:spcPts val="0"/>
              </a:spcAft>
              <a:buAutoNum type="arabicPeriod"/>
            </a:pPr>
            <a:r>
              <a:rPr lang="en-US"/>
              <a:t>Bus detection system unable to accurately detect actual count (Total In &amp; Total Out does not match).</a:t>
            </a:r>
            <a:endParaRPr lang="en-SG"/>
          </a:p>
          <a:p>
            <a:pPr marL="228600" indent="-228600">
              <a:lnSpc>
                <a:spcPct val="150000"/>
              </a:lnSpc>
              <a:spcAft>
                <a:spcPts val="0"/>
              </a:spcAft>
              <a:buAutoNum type="arabicPeriod"/>
            </a:pPr>
            <a:r>
              <a:rPr lang="en-US"/>
              <a:t>Bus stops and bus routes cannot be removed. </a:t>
            </a:r>
          </a:p>
          <a:p>
            <a:pPr marL="228600" indent="-228600">
              <a:lnSpc>
                <a:spcPct val="150000"/>
              </a:lnSpc>
              <a:spcAft>
                <a:spcPts val="0"/>
              </a:spcAft>
              <a:buAutoNum type="arabicPeriod"/>
            </a:pPr>
            <a:r>
              <a:rPr lang="en-US"/>
              <a:t>Baseline on customer satisfaction rating is unknown.</a:t>
            </a:r>
          </a:p>
          <a:p>
            <a:pPr lvl="1">
              <a:buNone/>
            </a:pPr>
            <a:endParaRPr lang="en-US" b="1"/>
          </a:p>
          <a:p>
            <a:pPr lvl="1">
              <a:buNone/>
            </a:pPr>
            <a:endParaRPr lang="en-US"/>
          </a:p>
          <a:p>
            <a:pPr lvl="1">
              <a:buNone/>
            </a:pPr>
            <a:endParaRPr lang="en-US"/>
          </a:p>
          <a:p>
            <a:pPr lvl="1">
              <a:buNone/>
            </a:pPr>
            <a:endParaRPr lang="en-US"/>
          </a:p>
          <a:p>
            <a:pPr lvl="1">
              <a:buNone/>
            </a:pPr>
            <a:r>
              <a:rPr lang="en-US" b="1"/>
              <a:t>Finally, in the process of coming up with this model, some of the limitations were taken into consideration:</a:t>
            </a:r>
          </a:p>
          <a:p>
            <a:pPr lvl="1">
              <a:buNone/>
            </a:pPr>
            <a:r>
              <a:rPr lang="en-US"/>
              <a:t>1) Firstly, a time series model generally requires a longer set of data in order to give a more accurate prediction, however we have only 3 months data, hence with more, we are able to come up with better prediction in our immediate next steps.</a:t>
            </a:r>
          </a:p>
          <a:p>
            <a:pPr lvl="1">
              <a:buNone/>
            </a:pPr>
            <a:endParaRPr lang="en-US"/>
          </a:p>
          <a:p>
            <a:pPr lvl="1">
              <a:buNone/>
            </a:pPr>
            <a:r>
              <a:rPr lang="en-US"/>
              <a:t>2) Secondly, we notice that the total in and total out does not match due to the inaccuracy of the bus detection system, hence assuming that total in and out are the same, we took an average number of total in and total out for our analysis. </a:t>
            </a:r>
          </a:p>
          <a:p>
            <a:pPr lvl="1">
              <a:buNone/>
            </a:pPr>
            <a:r>
              <a:rPr lang="en-US"/>
              <a:t> </a:t>
            </a:r>
          </a:p>
          <a:p>
            <a:pPr lvl="1">
              <a:buNone/>
            </a:pPr>
            <a:r>
              <a:rPr lang="en-US"/>
              <a:t>3) Thirdly, given that it is not possible to </a:t>
            </a:r>
            <a:r>
              <a:rPr lang="en-US" u="sng"/>
              <a:t>remove any bus stops or routes, </a:t>
            </a:r>
            <a:r>
              <a:rPr lang="en-US"/>
              <a:t>we decided to focus on the bus stop with the highest ridership, addressing the major pain points in reducing the surge in demand at the bus stop and allow visitors to travel to their destination without waiting too long for their buses. </a:t>
            </a:r>
          </a:p>
          <a:p>
            <a:pPr lvl="1">
              <a:buNone/>
            </a:pPr>
            <a:r>
              <a:rPr lang="en-US"/>
              <a:t> </a:t>
            </a:r>
          </a:p>
          <a:p>
            <a:pPr lvl="1">
              <a:buNone/>
            </a:pPr>
            <a:r>
              <a:rPr lang="en-US"/>
              <a:t>4) Lastly, the baseline on customer satisfaction rating is unknown, hence, we suggest either having feedback or surveys in the app or onsite for further analysis and future improvements. </a:t>
            </a:r>
          </a:p>
          <a:p>
            <a:pPr lvl="1">
              <a:buNone/>
            </a:pPr>
            <a:r>
              <a:rPr lang="en-US"/>
              <a:t>Thank you for listening. We are now open to any questions. </a:t>
            </a:r>
          </a:p>
          <a:p>
            <a:pPr lvl="1">
              <a:spcAft>
                <a:spcPts val="0"/>
              </a:spcAft>
              <a:buNone/>
            </a:pPr>
            <a:endParaRPr lang="en-US"/>
          </a:p>
          <a:p>
            <a:pPr>
              <a:buNone/>
            </a:pPr>
            <a:endParaRPr lang="en-US"/>
          </a:p>
          <a:p>
            <a:pPr>
              <a:spcAft>
                <a:spcPts val="0"/>
              </a:spcAft>
              <a:buNone/>
            </a:pPr>
            <a:r>
              <a:rPr lang="en-US" b="1"/>
              <a:t>---------------------------------</a:t>
            </a:r>
          </a:p>
          <a:p>
            <a:pPr>
              <a:spcAft>
                <a:spcPts val="0"/>
              </a:spcAft>
              <a:buNone/>
            </a:pPr>
            <a:r>
              <a:rPr lang="en-US" b="1"/>
              <a:t>Limitations:</a:t>
            </a:r>
            <a:endParaRPr lang="en-US"/>
          </a:p>
          <a:p>
            <a:pPr marL="285750" indent="-285750">
              <a:spcAft>
                <a:spcPts val="0"/>
              </a:spcAft>
              <a:buFont typeface="Trebuchet MS,Sans-Serif"/>
              <a:buChar char="​"/>
            </a:pPr>
            <a:r>
              <a:rPr lang="en-US"/>
              <a:t>- 3 month data -  the time series model requires a longer time data (preferably a year) in order to give more accurate predictions. </a:t>
            </a:r>
          </a:p>
          <a:p>
            <a:pPr marL="285750" indent="-285750">
              <a:spcAft>
                <a:spcPts val="0"/>
              </a:spcAft>
              <a:buFont typeface="Trebuchet MS,Sans-Serif"/>
              <a:buChar char="​"/>
            </a:pPr>
            <a:r>
              <a:rPr lang="en-US"/>
              <a:t>- Bus detection system – lack of accurate person to person scanning, </a:t>
            </a:r>
            <a:r>
              <a:rPr lang="en-SG"/>
              <a:t>don’t know actual in and out form scanner. No ticket issued.</a:t>
            </a:r>
            <a:endParaRPr lang="en-US"/>
          </a:p>
          <a:p>
            <a:pPr marL="285750" indent="-285750">
              <a:spcAft>
                <a:spcPts val="0"/>
              </a:spcAft>
              <a:buFont typeface="Trebuchet MS,Sans-Serif"/>
              <a:buChar char="​"/>
            </a:pPr>
            <a:r>
              <a:rPr lang="en-US"/>
              <a:t>- Bus stops and bus routes cannot be removed. </a:t>
            </a:r>
          </a:p>
          <a:p>
            <a:pPr marL="285750" indent="-285750">
              <a:spcAft>
                <a:spcPts val="0"/>
              </a:spcAft>
              <a:buFont typeface="Trebuchet MS,Sans-Serif"/>
              <a:buChar char="​"/>
            </a:pPr>
            <a:r>
              <a:rPr lang="en-US"/>
              <a:t>- No baseline on customer satisfaction rating </a:t>
            </a:r>
          </a:p>
          <a:p>
            <a:pPr marL="285750" indent="-285750">
              <a:spcAft>
                <a:spcPts val="0"/>
              </a:spcAft>
              <a:buFont typeface="Trebuchet MS,Sans-Serif"/>
              <a:buChar char="​"/>
            </a:pPr>
            <a:r>
              <a:rPr lang="en-US"/>
              <a:t>- Limited dataset due to COVID-19 situation, number of tourist dropped</a:t>
            </a:r>
          </a:p>
          <a:p>
            <a:pPr marL="285750" indent="-285750">
              <a:spcAft>
                <a:spcPts val="0"/>
              </a:spcAft>
              <a:buFont typeface="Trebuchet MS,Sans-Serif"/>
              <a:buChar char="​"/>
            </a:pPr>
            <a:endParaRPr lang="en-US"/>
          </a:p>
          <a:p>
            <a:pPr marL="285750" indent="-285750">
              <a:spcAft>
                <a:spcPts val="0"/>
              </a:spcAft>
              <a:buFont typeface="Trebuchet MS,Sans-Serif"/>
              <a:buChar char="​"/>
            </a:pPr>
            <a:r>
              <a:rPr lang="en-US"/>
              <a:t>- Not possible to measure customer satisfaction when there is no measurement involved. </a:t>
            </a:r>
          </a:p>
          <a:p>
            <a:pPr marL="285750" indent="-285750">
              <a:spcAft>
                <a:spcPts val="0"/>
              </a:spcAft>
              <a:buFont typeface="Trebuchet MS,Sans-Serif"/>
              <a:buChar char="​"/>
            </a:pPr>
            <a:r>
              <a:rPr lang="en-US"/>
              <a:t>(Provided by SDC: Our guest satisfaction is based on the overall experience on the island. Transportation/ accessibility may somewhat influenced the overall experience. These may include the wait time for the buses, whether pax are able to board the bus, and the convenience of getting around the island.)</a:t>
            </a:r>
          </a:p>
          <a:p>
            <a:pPr marL="285750" indent="-285750">
              <a:spcAft>
                <a:spcPts val="0"/>
              </a:spcAft>
              <a:buFont typeface="Trebuchet MS,Sans-Serif"/>
              <a:buChar char="​"/>
            </a:pPr>
            <a:endParaRPr lang="en-US"/>
          </a:p>
          <a:p>
            <a:pPr>
              <a:spcAft>
                <a:spcPts val="0"/>
              </a:spcAft>
              <a:buNone/>
            </a:pPr>
            <a:endParaRPr lang="en-US"/>
          </a:p>
          <a:p>
            <a:pPr>
              <a:spcAft>
                <a:spcPts val="0"/>
              </a:spcAft>
              <a:buFont typeface="Arial" panose="020B0604020202020204" pitchFamily="34" charset="0"/>
              <a:buNone/>
            </a:pPr>
            <a:endParaRPr lang="en-US"/>
          </a:p>
          <a:p>
            <a:pPr>
              <a:buNone/>
            </a:pPr>
            <a:endParaRPr lang="en-US"/>
          </a:p>
          <a:p>
            <a:pPr>
              <a:buNone/>
            </a:pPr>
            <a:r>
              <a:rPr lang="en-US"/>
              <a:t>Because of Covid-19 SMM measures there are no key events in Sentosa from Jan'21 to Mar'21. But typically, there will be promotion/ deals during the festive period and Mar School holidays.</a:t>
            </a:r>
          </a:p>
          <a:p>
            <a:pPr>
              <a:buNone/>
            </a:pPr>
            <a:r>
              <a:rPr lang="en-US"/>
              <a:t>Maximum capacity is 88 pax. But post CB period, we have capped it at 50 pax due to Safe Measurement Measures (SMM)</a:t>
            </a:r>
          </a:p>
          <a:p>
            <a:pPr>
              <a:buNone/>
            </a:pPr>
            <a:endParaRPr lang="en-US"/>
          </a:p>
          <a:p>
            <a:pPr>
              <a:buNone/>
            </a:pPr>
            <a:endParaRPr lang="en-US"/>
          </a:p>
          <a:p>
            <a:pPr>
              <a:buNone/>
            </a:pPr>
            <a:endParaRPr lang="en-US"/>
          </a:p>
          <a:p>
            <a:pPr>
              <a:buNone/>
            </a:pPr>
            <a:r>
              <a:rPr lang="en-US"/>
              <a:t>Suggestion for Q&amp;A:</a:t>
            </a:r>
          </a:p>
          <a:p>
            <a:pPr>
              <a:buNone/>
            </a:pPr>
            <a:r>
              <a:rPr lang="en-US"/>
              <a:t>Improve on the passenger detection and counting system for better accuracy and reliability</a:t>
            </a:r>
          </a:p>
          <a:p>
            <a:pPr marL="171450" indent="-171450"/>
            <a:endParaRPr lang="en-US"/>
          </a:p>
          <a:p>
            <a:pPr marL="171450" indent="-171450"/>
            <a:endParaRPr lang="en-US"/>
          </a:p>
          <a:p>
            <a:pPr marL="171450" indent="-171450"/>
            <a:r>
              <a:rPr lang="en-US"/>
              <a:t>- Compare analytics based on new predicted bus frequency vs </a:t>
            </a:r>
          </a:p>
          <a:p>
            <a:pPr marL="171450" indent="-171450"/>
            <a:endParaRPr lang="en-US"/>
          </a:p>
          <a:p>
            <a:pPr>
              <a:buNone/>
            </a:pPr>
            <a:endParaRPr lang="en-US"/>
          </a:p>
          <a:p>
            <a:pPr>
              <a:buNone/>
            </a:pPr>
            <a:endParaRPr lang="en-US"/>
          </a:p>
          <a:p>
            <a:pPr>
              <a:buNone/>
            </a:pPr>
            <a:endParaRPr lang="en-US"/>
          </a:p>
          <a:p>
            <a:pPr>
              <a:buNone/>
            </a:pPr>
            <a:r>
              <a:rPr lang="en-US"/>
              <a:t>What other analytics we could do with more data:</a:t>
            </a:r>
          </a:p>
          <a:p>
            <a:pPr>
              <a:buNone/>
            </a:pPr>
            <a:endParaRPr lang="en-US"/>
          </a:p>
          <a:p>
            <a:pPr>
              <a:buNone/>
            </a:pPr>
            <a:r>
              <a:rPr lang="en-US"/>
              <a:t>List down additional analytics that could be done if more data were available. A good starting point could be by revisiting your assumptions or inferences made in situations where you did not have the exact data you needed</a:t>
            </a:r>
          </a:p>
          <a:p>
            <a:pPr>
              <a:buNone/>
            </a:pPr>
            <a:endParaRPr lang="en-US"/>
          </a:p>
          <a:p>
            <a:pPr>
              <a:buNone/>
            </a:pPr>
            <a:r>
              <a:rPr lang="en-US"/>
              <a:t>How we could operationalize:</a:t>
            </a:r>
          </a:p>
          <a:p>
            <a:pPr>
              <a:spcAft>
                <a:spcPts val="0"/>
              </a:spcAft>
              <a:buNone/>
            </a:pPr>
            <a:endParaRPr lang="en-US"/>
          </a:p>
          <a:p>
            <a:pPr>
              <a:spcAft>
                <a:spcPts val="0"/>
              </a:spcAft>
              <a:buNone/>
            </a:pPr>
            <a:r>
              <a:rPr lang="en-US"/>
              <a:t>Think about tangible next steps to execute the use-case</a:t>
            </a:r>
          </a:p>
          <a:p>
            <a:pPr>
              <a:spcAft>
                <a:spcPts val="0"/>
              </a:spcAft>
              <a:buNone/>
            </a:pPr>
            <a:r>
              <a:rPr lang="en-US"/>
              <a:t>For example,</a:t>
            </a:r>
          </a:p>
          <a:p>
            <a:pPr marL="323850" lvl="1" indent="-215900">
              <a:spcAft>
                <a:spcPts val="0"/>
              </a:spcAft>
              <a:buFont typeface="Trebuchet MS,Sans-Serif"/>
              <a:buChar char="•"/>
            </a:pPr>
            <a:r>
              <a:rPr lang="en-US"/>
              <a:t>Validate assumptions</a:t>
            </a:r>
          </a:p>
          <a:p>
            <a:pPr marL="323850" lvl="1" indent="-215900">
              <a:spcAft>
                <a:spcPts val="0"/>
              </a:spcAft>
              <a:buFont typeface="Trebuchet MS,Sans-Serif"/>
              <a:buChar char="•"/>
            </a:pPr>
            <a:r>
              <a:rPr lang="en-US"/>
              <a:t>Map out limitations of data. Identify solutions to solve the limitations</a:t>
            </a:r>
          </a:p>
          <a:p>
            <a:pPr marL="323850" lvl="1" indent="-215900">
              <a:spcAft>
                <a:spcPts val="0"/>
              </a:spcAft>
              <a:buFont typeface="Trebuchet MS,Sans-Serif"/>
              <a:buChar char="•"/>
            </a:pPr>
            <a:r>
              <a:rPr lang="en-US"/>
              <a:t>Identify risks </a:t>
            </a:r>
          </a:p>
          <a:p>
            <a:pPr marL="323850" lvl="1" indent="-215900">
              <a:spcAft>
                <a:spcPts val="0"/>
              </a:spcAft>
              <a:buFont typeface="Trebuchet MS,Sans-Serif"/>
              <a:buChar char="•"/>
            </a:pPr>
            <a:r>
              <a:rPr lang="en-US"/>
              <a:t>Gauge impact on results/sensitivity analysis</a:t>
            </a:r>
          </a:p>
          <a:p>
            <a:pPr marL="323850" lvl="1" indent="-215900">
              <a:spcAft>
                <a:spcPts val="0"/>
              </a:spcAft>
              <a:buFont typeface="Trebuchet MS,Sans-Serif"/>
              <a:buChar char="•"/>
            </a:pPr>
            <a:r>
              <a:rPr lang="en-US"/>
              <a:t>Engage key stakeholders</a:t>
            </a:r>
          </a:p>
          <a:p>
            <a:pPr marL="323850" lvl="1" indent="-215900">
              <a:spcAft>
                <a:spcPts val="0"/>
              </a:spcAft>
              <a:buFont typeface="Trebuchet MS,Sans-Serif"/>
              <a:buChar char="•"/>
            </a:pPr>
            <a:r>
              <a:rPr lang="en-US"/>
              <a:t>Create detailed business plan</a:t>
            </a:r>
          </a:p>
          <a:p>
            <a:pPr marL="323850" lvl="1" indent="-215900">
              <a:spcAft>
                <a:spcPts val="0"/>
              </a:spcAft>
              <a:buFont typeface="Trebuchet MS,Sans-Serif"/>
              <a:buChar char="•"/>
            </a:pPr>
            <a:r>
              <a:rPr lang="en-US"/>
              <a:t>Submit proposal for approval </a:t>
            </a:r>
          </a:p>
          <a:p>
            <a:pPr marL="323850" lvl="1" indent="-215900">
              <a:spcAft>
                <a:spcPts val="0"/>
              </a:spcAft>
              <a:buFont typeface="Trebuchet MS,Sans-Serif"/>
              <a:buChar char="•"/>
            </a:pPr>
            <a:r>
              <a:rPr lang="en-US"/>
              <a:t>Etc.</a:t>
            </a:r>
          </a:p>
          <a:p>
            <a:pPr>
              <a:buNone/>
            </a:pPr>
            <a:endParaRPr lang="en-US"/>
          </a:p>
          <a:p>
            <a:pPr>
              <a:buNone/>
            </a:pPr>
            <a:endParaRPr lang="en-US">
              <a:latin typeface="Calibri"/>
              <a:cs typeface="Calibri"/>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9</a:t>
            </a:fld>
            <a:endParaRPr lang="en-US"/>
          </a:p>
        </p:txBody>
      </p:sp>
    </p:spTree>
    <p:extLst>
      <p:ext uri="{BB962C8B-B14F-4D97-AF65-F5344CB8AC3E}">
        <p14:creationId xmlns:p14="http://schemas.microsoft.com/office/powerpoint/2010/main" val="22723197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1</a:t>
            </a:fld>
            <a:endParaRPr lang="en-US"/>
          </a:p>
        </p:txBody>
      </p:sp>
    </p:spTree>
    <p:extLst>
      <p:ext uri="{BB962C8B-B14F-4D97-AF65-F5344CB8AC3E}">
        <p14:creationId xmlns:p14="http://schemas.microsoft.com/office/powerpoint/2010/main" val="24766670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2</a:t>
            </a:fld>
            <a:endParaRPr lang="en-US"/>
          </a:p>
        </p:txBody>
      </p:sp>
    </p:spTree>
    <p:extLst>
      <p:ext uri="{BB962C8B-B14F-4D97-AF65-F5344CB8AC3E}">
        <p14:creationId xmlns:p14="http://schemas.microsoft.com/office/powerpoint/2010/main" val="23507655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3</a:t>
            </a:fld>
            <a:endParaRPr lang="en-US"/>
          </a:p>
        </p:txBody>
      </p:sp>
    </p:spTree>
    <p:extLst>
      <p:ext uri="{BB962C8B-B14F-4D97-AF65-F5344CB8AC3E}">
        <p14:creationId xmlns:p14="http://schemas.microsoft.com/office/powerpoint/2010/main" val="40596864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4</a:t>
            </a:fld>
            <a:endParaRPr lang="en-US"/>
          </a:p>
        </p:txBody>
      </p:sp>
    </p:spTree>
    <p:extLst>
      <p:ext uri="{BB962C8B-B14F-4D97-AF65-F5344CB8AC3E}">
        <p14:creationId xmlns:p14="http://schemas.microsoft.com/office/powerpoint/2010/main" val="11677837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5</a:t>
            </a:fld>
            <a:endParaRPr lang="en-US"/>
          </a:p>
        </p:txBody>
      </p:sp>
    </p:spTree>
    <p:extLst>
      <p:ext uri="{BB962C8B-B14F-4D97-AF65-F5344CB8AC3E}">
        <p14:creationId xmlns:p14="http://schemas.microsoft.com/office/powerpoint/2010/main" val="22837563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6</a:t>
            </a:fld>
            <a:endParaRPr lang="en-US"/>
          </a:p>
        </p:txBody>
      </p:sp>
    </p:spTree>
    <p:extLst>
      <p:ext uri="{BB962C8B-B14F-4D97-AF65-F5344CB8AC3E}">
        <p14:creationId xmlns:p14="http://schemas.microsoft.com/office/powerpoint/2010/main" val="4299195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a:latin typeface="Calibri"/>
                <a:cs typeface="Calibri"/>
              </a:rPr>
              <a:t>SANITY CHECK – by selected 2 sample days</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7</a:t>
            </a:fld>
            <a:endParaRPr lang="en-US"/>
          </a:p>
        </p:txBody>
      </p:sp>
    </p:spTree>
    <p:extLst>
      <p:ext uri="{BB962C8B-B14F-4D97-AF65-F5344CB8AC3E}">
        <p14:creationId xmlns:p14="http://schemas.microsoft.com/office/powerpoint/2010/main" val="40303803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endParaRPr lang="en-US">
              <a:latin typeface="Calibri"/>
              <a:cs typeface="Calibri"/>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1</a:t>
            </a:fld>
            <a:endParaRPr lang="en-US"/>
          </a:p>
        </p:txBody>
      </p:sp>
    </p:spTree>
    <p:extLst>
      <p:ext uri="{BB962C8B-B14F-4D97-AF65-F5344CB8AC3E}">
        <p14:creationId xmlns:p14="http://schemas.microsoft.com/office/powerpoint/2010/main" val="7845651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endParaRPr lang="en-US">
              <a:latin typeface="Calibri"/>
              <a:cs typeface="Calibri"/>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0</a:t>
            </a:fld>
            <a:endParaRPr lang="en-US"/>
          </a:p>
        </p:txBody>
      </p:sp>
    </p:spTree>
    <p:extLst>
      <p:ext uri="{BB962C8B-B14F-4D97-AF65-F5344CB8AC3E}">
        <p14:creationId xmlns:p14="http://schemas.microsoft.com/office/powerpoint/2010/main" val="18655624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spcAft>
                <a:spcPts val="0"/>
              </a:spcAft>
              <a:buNone/>
            </a:pPr>
            <a:r>
              <a:rPr lang="en-US"/>
              <a:t>We understand you are currently facing difficulties in meeting the demands of visitors during peak period who uses your complimentary shuttle services to commute around the island. </a:t>
            </a:r>
          </a:p>
          <a:p>
            <a:pPr>
              <a:spcAft>
                <a:spcPts val="0"/>
              </a:spcAft>
              <a:buNone/>
            </a:pPr>
            <a:endParaRPr lang="en-US"/>
          </a:p>
          <a:p>
            <a:pPr>
              <a:spcAft>
                <a:spcPts val="0"/>
              </a:spcAft>
              <a:buNone/>
            </a:pPr>
            <a:r>
              <a:rPr lang="en-US"/>
              <a:t>The current method of deploying additional shuttle services through manual radio dispatch during peak hours may potentially affect the reputation of Sentosa as a tourist attraction if visitors leave bad reviews about slow reactive services and long waiting time at bus stops. </a:t>
            </a:r>
          </a:p>
          <a:p>
            <a:pPr>
              <a:spcAft>
                <a:spcPts val="0"/>
              </a:spcAft>
              <a:buNone/>
            </a:pPr>
            <a:endParaRPr lang="en-US"/>
          </a:p>
          <a:p>
            <a:pPr>
              <a:spcAft>
                <a:spcPts val="0"/>
              </a:spcAft>
              <a:buNone/>
            </a:pPr>
            <a:r>
              <a:rPr lang="en-US"/>
              <a:t>To solve your problem, our team has come up with a dual approach using data and digital means by :- </a:t>
            </a:r>
          </a:p>
          <a:p>
            <a:pPr>
              <a:spcAft>
                <a:spcPts val="0"/>
              </a:spcAft>
              <a:buNone/>
            </a:pPr>
            <a:endParaRPr lang="en-US"/>
          </a:p>
          <a:p>
            <a:pPr>
              <a:spcAft>
                <a:spcPts val="0"/>
              </a:spcAft>
              <a:buNone/>
            </a:pPr>
            <a:r>
              <a:rPr lang="en-US"/>
              <a:t>1) Having a machine learning model to predict hourly ridership at bus stops to allow Operations team to plan their bus schedule a week ahead.</a:t>
            </a:r>
          </a:p>
          <a:p>
            <a:pPr>
              <a:spcAft>
                <a:spcPts val="0"/>
              </a:spcAft>
              <a:buNone/>
            </a:pPr>
            <a:r>
              <a:rPr lang="en-US"/>
              <a:t>2) Include bus arrival time and available capacity information in existing Sentosa App to allow guests to plan their activities accordingly without having to spend the time waiting for buses. </a:t>
            </a:r>
          </a:p>
          <a:p>
            <a:pPr>
              <a:spcAft>
                <a:spcPts val="0"/>
              </a:spcAft>
              <a:buNone/>
            </a:pPr>
            <a:endParaRPr lang="en-US"/>
          </a:p>
          <a:p>
            <a:pPr>
              <a:spcAft>
                <a:spcPts val="0"/>
              </a:spcAft>
              <a:buNone/>
            </a:pPr>
            <a:r>
              <a:rPr lang="en-US"/>
              <a:t>The impact will be :-</a:t>
            </a:r>
          </a:p>
          <a:p>
            <a:pPr>
              <a:spcAft>
                <a:spcPts val="0"/>
              </a:spcAft>
              <a:buNone/>
            </a:pPr>
            <a:endParaRPr lang="en-US"/>
          </a:p>
          <a:p>
            <a:pPr>
              <a:spcAft>
                <a:spcPts val="0"/>
              </a:spcAft>
              <a:buNone/>
            </a:pPr>
            <a:r>
              <a:rPr lang="en-US"/>
              <a:t>1) With a predictive data, the Operation team able to schedule buses dynamically matching the demand instead of using a fixed time schedule of every 15 minutes;</a:t>
            </a:r>
          </a:p>
          <a:p>
            <a:pPr>
              <a:spcAft>
                <a:spcPts val="0"/>
              </a:spcAft>
              <a:buNone/>
            </a:pPr>
            <a:r>
              <a:rPr lang="en-US"/>
              <a:t>2) And this will potentially leads to cost savings because under-utilized/empty bus deployed at non-peak hours can be removed. </a:t>
            </a:r>
          </a:p>
          <a:p>
            <a:pPr>
              <a:spcAft>
                <a:spcPts val="0"/>
              </a:spcAft>
              <a:buNone/>
            </a:pPr>
            <a:r>
              <a:rPr lang="en-US"/>
              <a:t>3) Further, customer experience will be improved as they are able to have assess to real time bus information through the Sentosa App which allows them to better plan their time so they can spend more time at attractions and amenities and less time waiting at bus stop. </a:t>
            </a:r>
          </a:p>
          <a:p>
            <a:pPr>
              <a:spcAft>
                <a:spcPts val="0"/>
              </a:spcAft>
              <a:buNone/>
            </a:pPr>
            <a:endParaRPr lang="en-US"/>
          </a:p>
          <a:p>
            <a:pPr>
              <a:spcAft>
                <a:spcPts val="0"/>
              </a:spcAft>
              <a:buNone/>
            </a:pPr>
            <a:r>
              <a:rPr lang="en-US"/>
              <a:t>--------------------------------------------------------------------------------------------------</a:t>
            </a:r>
          </a:p>
          <a:p>
            <a:pPr>
              <a:spcAft>
                <a:spcPts val="0"/>
              </a:spcAft>
              <a:buNone/>
            </a:pPr>
            <a:endParaRPr lang="en-US"/>
          </a:p>
          <a:p>
            <a:pPr>
              <a:spcAft>
                <a:spcPts val="0"/>
              </a:spcAft>
              <a:buNone/>
            </a:pPr>
            <a:r>
              <a:rPr lang="en-US"/>
              <a:t>4) By featuring Shuttle service info via Sentosa App, this will also drive and increase chances of customer using the other features in the App (Attractions, F&amp;B info and promotions, </a:t>
            </a:r>
            <a:r>
              <a:rPr lang="en-US" err="1"/>
              <a:t>etc</a:t>
            </a:r>
            <a:r>
              <a:rPr lang="en-US"/>
              <a:t>) thereby increase the revenue for SDC.</a:t>
            </a:r>
          </a:p>
          <a:p>
            <a:pPr>
              <a:spcAft>
                <a:spcPts val="0"/>
              </a:spcAft>
              <a:buNone/>
            </a:pPr>
            <a:endParaRPr lang="en-US"/>
          </a:p>
          <a:p>
            <a:pPr>
              <a:spcAft>
                <a:spcPts val="0"/>
              </a:spcAft>
              <a:buNone/>
            </a:pPr>
            <a:endParaRPr lang="en-US"/>
          </a:p>
          <a:p>
            <a:pPr>
              <a:buNone/>
            </a:pPr>
            <a:endParaRPr lang="en-US"/>
          </a:p>
          <a:p>
            <a:pPr>
              <a:buNone/>
            </a:pPr>
            <a:endParaRPr lang="en-US"/>
          </a:p>
          <a:p>
            <a:pPr>
              <a:buNone/>
            </a:pPr>
            <a:endParaRPr lang="en-US">
              <a:latin typeface="Calibri"/>
              <a:cs typeface="Calibri"/>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a:t>
            </a:fld>
            <a:endParaRPr lang="en-US"/>
          </a:p>
        </p:txBody>
      </p:sp>
    </p:spTree>
    <p:extLst>
      <p:ext uri="{BB962C8B-B14F-4D97-AF65-F5344CB8AC3E}">
        <p14:creationId xmlns:p14="http://schemas.microsoft.com/office/powerpoint/2010/main" val="41941071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a:latin typeface="Calibri"/>
                <a:cs typeface="Calibri"/>
              </a:rPr>
              <a:t>How might we provide better allocation of buses to bus stops to cater to ridership demands?</a:t>
            </a:r>
          </a:p>
          <a:p>
            <a:pPr>
              <a:buNone/>
            </a:pPr>
            <a:endParaRPr lang="en-US">
              <a:latin typeface="Calibri"/>
              <a:cs typeface="Calibri"/>
            </a:endParaRPr>
          </a:p>
          <a:p>
            <a:pPr>
              <a:buNone/>
            </a:pPr>
            <a:endParaRPr lang="en-US">
              <a:latin typeface="Calibri"/>
              <a:cs typeface="Calibri"/>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33017492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SG"/>
              <a:t>We apply a data driven approach to our solution, altogether there are 5 phases :-</a:t>
            </a:r>
          </a:p>
          <a:p>
            <a:endParaRPr lang="en-SG"/>
          </a:p>
          <a:p>
            <a:pPr>
              <a:buNone/>
            </a:pPr>
            <a:r>
              <a:rPr lang="en-SG"/>
              <a:t>Firstly, we conduct industry research, formulate the problem and frame the problems in a series of hypothesis.</a:t>
            </a:r>
          </a:p>
          <a:p>
            <a:r>
              <a:rPr lang="en-SG"/>
              <a:t>We then cleansed the data obtained from both internal and external sources</a:t>
            </a:r>
          </a:p>
          <a:p>
            <a:r>
              <a:rPr lang="en-SG"/>
              <a:t>Analyse and derived insights on the cleansed data</a:t>
            </a:r>
          </a:p>
          <a:p>
            <a:r>
              <a:rPr lang="en-SG"/>
              <a:t>Select unique feature and creates new features for our model</a:t>
            </a:r>
          </a:p>
          <a:p>
            <a:r>
              <a:rPr lang="en-SG"/>
              <a:t>Build model to train and test it to generates predictions for ridership and in turn, the bus frequency. </a:t>
            </a:r>
          </a:p>
          <a:p>
            <a:endParaRPr lang="en-SG"/>
          </a:p>
          <a:p>
            <a:r>
              <a:rPr lang="en-US"/>
              <a:t>Next, we will share with you the results and insights of the last 3 project phases. </a:t>
            </a:r>
            <a:endParaRPr lang="en-SG"/>
          </a:p>
          <a:p>
            <a:endParaRPr lang="en-US"/>
          </a:p>
          <a:p>
            <a:endParaRPr lang="en-US"/>
          </a:p>
          <a:p>
            <a:endParaRPr lang="en-SG"/>
          </a:p>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a:t>
            </a:fld>
            <a:endParaRPr lang="en-US"/>
          </a:p>
        </p:txBody>
      </p:sp>
    </p:spTree>
    <p:extLst>
      <p:ext uri="{BB962C8B-B14F-4D97-AF65-F5344CB8AC3E}">
        <p14:creationId xmlns:p14="http://schemas.microsoft.com/office/powerpoint/2010/main" val="16450387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endParaRPr lang="en-US">
              <a:latin typeface="Calibri"/>
              <a:cs typeface="Calibri"/>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26939545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SG"/>
              <a:t>Our focus is to pre-empt the number of buses to support the peaks in ridership at the bus stops.</a:t>
            </a:r>
            <a:endParaRPr lang="en-US"/>
          </a:p>
          <a:p>
            <a:pPr>
              <a:buNone/>
            </a:pPr>
            <a:r>
              <a:rPr lang="en-SG"/>
              <a:t>Therefore, we decide to look for the bus stop that has the highest ridership as the candidate to run our model prediction.</a:t>
            </a:r>
            <a:endParaRPr lang="en-US"/>
          </a:p>
          <a:p>
            <a:pPr>
              <a:buNone/>
            </a:pPr>
            <a:endParaRPr lang="en-SG"/>
          </a:p>
          <a:p>
            <a:pPr>
              <a:buNone/>
            </a:pPr>
            <a:r>
              <a:rPr lang="en-SG"/>
              <a:t>Beach station is excluded in this analysis because it is a bus interchange which naturally will have a high ridership. </a:t>
            </a:r>
          </a:p>
          <a:p>
            <a:pPr>
              <a:buNone/>
            </a:pPr>
            <a:endParaRPr lang="en-SG"/>
          </a:p>
          <a:p>
            <a:pPr>
              <a:buNone/>
            </a:pPr>
            <a:r>
              <a:rPr lang="en-SG"/>
              <a:t>Therefore, </a:t>
            </a:r>
            <a:r>
              <a:rPr lang="en-SG" err="1"/>
              <a:t>ur</a:t>
            </a:r>
            <a:r>
              <a:rPr lang="en-SG"/>
              <a:t> analysis of Jan to Mar data shows that </a:t>
            </a:r>
            <a:r>
              <a:rPr lang="en-SG" err="1"/>
              <a:t>Imbiah</a:t>
            </a:r>
            <a:r>
              <a:rPr lang="en-SG"/>
              <a:t> lookout has the highest number of riders. </a:t>
            </a:r>
            <a:endParaRPr lang="en-US"/>
          </a:p>
          <a:p>
            <a:pPr>
              <a:buNone/>
            </a:pPr>
            <a:endParaRPr lang="en-SG"/>
          </a:p>
          <a:p>
            <a:pPr>
              <a:buNone/>
            </a:pPr>
            <a:endParaRPr lang="en-SG"/>
          </a:p>
          <a:p>
            <a:pPr>
              <a:buNone/>
            </a:pPr>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a:t>
            </a:fld>
            <a:endParaRPr lang="en-US"/>
          </a:p>
        </p:txBody>
      </p:sp>
    </p:spTree>
    <p:extLst>
      <p:ext uri="{BB962C8B-B14F-4D97-AF65-F5344CB8AC3E}">
        <p14:creationId xmlns:p14="http://schemas.microsoft.com/office/powerpoint/2010/main" val="30784237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SG"/>
              <a:t>We plot a graph from Jan to March to analyse the total ridership at the time of the day. </a:t>
            </a:r>
          </a:p>
          <a:p>
            <a:r>
              <a:rPr lang="en-SG"/>
              <a:t> </a:t>
            </a:r>
          </a:p>
          <a:p>
            <a:r>
              <a:rPr lang="en-SG"/>
              <a:t>One of our insights, we can see that overall afternoon is the peak of all the bus routes</a:t>
            </a:r>
          </a:p>
          <a:p>
            <a:r>
              <a:rPr lang="en-SG"/>
              <a:t>which is the same trend at </a:t>
            </a:r>
            <a:r>
              <a:rPr lang="en-SG" err="1"/>
              <a:t>Imbiah</a:t>
            </a:r>
            <a:r>
              <a:rPr lang="en-SG"/>
              <a:t> Lookout.</a:t>
            </a:r>
          </a:p>
          <a:p>
            <a:endParaRPr lang="en-SG"/>
          </a:p>
          <a:p>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42436677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endParaRPr lang="en-SG"/>
          </a:p>
          <a:p>
            <a:pPr>
              <a:buNone/>
            </a:pPr>
            <a:r>
              <a:rPr lang="en-SG"/>
              <a:t>In terms of attractions, F&amp;B, Hotels and Transport, We can see that </a:t>
            </a:r>
            <a:r>
              <a:rPr lang="en-SG" err="1"/>
              <a:t>Imbiah</a:t>
            </a:r>
            <a:r>
              <a:rPr lang="en-SG"/>
              <a:t> Lookout is one of the top 3 popular bus stops</a:t>
            </a:r>
          </a:p>
          <a:p>
            <a:pPr>
              <a:spcAft>
                <a:spcPts val="0"/>
              </a:spcAft>
              <a:buNone/>
            </a:pPr>
            <a:endParaRPr lang="en-SG"/>
          </a:p>
          <a:p>
            <a:pPr marL="171450" indent="-171450">
              <a:spcAft>
                <a:spcPts val="0"/>
              </a:spcAft>
            </a:pPr>
            <a:endParaRPr lang="en-SG"/>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2765067892"/>
      </p:ext>
    </p:extLst>
  </p:cSld>
  <p:clrMapOvr>
    <a:masterClrMapping/>
  </p:clrMapOvr>
</p:notes>
</file>

<file path=ppt/slideLayouts/_rels/slideLayout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5.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23.xml"/><Relationship Id="rId7" Type="http://schemas.openxmlformats.org/officeDocument/2006/relationships/image" Target="../media/image9.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25.xml"/><Relationship Id="rId7" Type="http://schemas.openxmlformats.org/officeDocument/2006/relationships/image" Target="../media/image8.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28.xml"/><Relationship Id="rId7" Type="http://schemas.openxmlformats.org/officeDocument/2006/relationships/image" Target="../media/image8.emf"/><Relationship Id="rId2" Type="http://schemas.openxmlformats.org/officeDocument/2006/relationships/tags" Target="../tags/tag27.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31.xml"/><Relationship Id="rId7" Type="http://schemas.openxmlformats.org/officeDocument/2006/relationships/image" Target="../media/image8.emf"/><Relationship Id="rId2" Type="http://schemas.openxmlformats.org/officeDocument/2006/relationships/tags" Target="../tags/tag3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32.xml"/><Relationship Id="rId9" Type="http://schemas.openxmlformats.org/officeDocument/2006/relationships/image" Target="../media/image12.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34.xml"/><Relationship Id="rId7" Type="http://schemas.openxmlformats.org/officeDocument/2006/relationships/image" Target="../media/image8.emf"/><Relationship Id="rId2" Type="http://schemas.openxmlformats.org/officeDocument/2006/relationships/tags" Target="../tags/tag33.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35.xml"/><Relationship Id="rId9" Type="http://schemas.openxmlformats.org/officeDocument/2006/relationships/image" Target="../media/image12.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37.xml"/><Relationship Id="rId7" Type="http://schemas.openxmlformats.org/officeDocument/2006/relationships/image" Target="../media/image8.emf"/><Relationship Id="rId2" Type="http://schemas.openxmlformats.org/officeDocument/2006/relationships/tags" Target="../tags/tag36.xml"/><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image" Target="../media/image10.svg"/><Relationship Id="rId5" Type="http://schemas.openxmlformats.org/officeDocument/2006/relationships/slideMaster" Target="../slideMasters/slideMaster1.xml"/><Relationship Id="rId10" Type="http://schemas.openxmlformats.org/officeDocument/2006/relationships/image" Target="../media/image9.png"/><Relationship Id="rId4" Type="http://schemas.openxmlformats.org/officeDocument/2006/relationships/tags" Target="../tags/tag38.xml"/><Relationship Id="rId9"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40.xml"/><Relationship Id="rId7" Type="http://schemas.openxmlformats.org/officeDocument/2006/relationships/image" Target="../media/image8.emf"/><Relationship Id="rId2" Type="http://schemas.openxmlformats.org/officeDocument/2006/relationships/tags" Target="../tags/tag39.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41.xml"/><Relationship Id="rId9" Type="http://schemas.openxmlformats.org/officeDocument/2006/relationships/image" Target="../media/image12.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43.xml"/><Relationship Id="rId7" Type="http://schemas.openxmlformats.org/officeDocument/2006/relationships/image" Target="../media/image8.emf"/><Relationship Id="rId2" Type="http://schemas.openxmlformats.org/officeDocument/2006/relationships/tags" Target="../tags/tag42.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44.xml"/><Relationship Id="rId9"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46.xml"/><Relationship Id="rId7" Type="http://schemas.openxmlformats.org/officeDocument/2006/relationships/image" Target="../media/image8.emf"/><Relationship Id="rId2" Type="http://schemas.openxmlformats.org/officeDocument/2006/relationships/tags" Target="../tags/tag45.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image" Target="../media/image13.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9.xml"/><Relationship Id="rId7" Type="http://schemas.openxmlformats.org/officeDocument/2006/relationships/oleObject" Target="../embeddings/oleObject20.bin"/><Relationship Id="rId12" Type="http://schemas.openxmlformats.org/officeDocument/2006/relationships/image" Target="../media/image10.svg"/><Relationship Id="rId2" Type="http://schemas.openxmlformats.org/officeDocument/2006/relationships/tags" Target="../tags/tag48.xml"/><Relationship Id="rId1" Type="http://schemas.openxmlformats.org/officeDocument/2006/relationships/vmlDrawing" Target="../drawings/vmlDrawing20.vml"/><Relationship Id="rId6" Type="http://schemas.openxmlformats.org/officeDocument/2006/relationships/slideMaster" Target="../slideMasters/slideMaster1.xml"/><Relationship Id="rId11" Type="http://schemas.openxmlformats.org/officeDocument/2006/relationships/image" Target="../media/image9.png"/><Relationship Id="rId5" Type="http://schemas.openxmlformats.org/officeDocument/2006/relationships/tags" Target="../tags/tag51.xml"/><Relationship Id="rId10" Type="http://schemas.openxmlformats.org/officeDocument/2006/relationships/image" Target="../media/image14.png"/><Relationship Id="rId4" Type="http://schemas.openxmlformats.org/officeDocument/2006/relationships/tags" Target="../tags/tag50.xml"/><Relationship Id="rId9" Type="http://schemas.openxmlformats.org/officeDocument/2006/relationships/image" Target="../media/image11.jpeg"/></Relationships>
</file>

<file path=ppt/slideLayouts/_rels/slideLayout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7.xml"/><Relationship Id="rId7" Type="http://schemas.openxmlformats.org/officeDocument/2006/relationships/image" Target="../media/image3.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53.xml"/><Relationship Id="rId7" Type="http://schemas.openxmlformats.org/officeDocument/2006/relationships/image" Target="../media/image15.emf"/><Relationship Id="rId2" Type="http://schemas.openxmlformats.org/officeDocument/2006/relationships/tags" Target="../tags/tag5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54.xml"/><Relationship Id="rId9" Type="http://schemas.openxmlformats.org/officeDocument/2006/relationships/image" Target="../media/image16.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56.xml"/><Relationship Id="rId7" Type="http://schemas.openxmlformats.org/officeDocument/2006/relationships/image" Target="../media/image8.emf"/><Relationship Id="rId2" Type="http://schemas.openxmlformats.org/officeDocument/2006/relationships/tags" Target="../tags/tag55.xml"/><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14.png"/><Relationship Id="rId5" Type="http://schemas.openxmlformats.org/officeDocument/2006/relationships/slideMaster" Target="../slideMasters/slideMaster1.xml"/><Relationship Id="rId10" Type="http://schemas.openxmlformats.org/officeDocument/2006/relationships/image" Target="../media/image11.jpeg"/><Relationship Id="rId4" Type="http://schemas.openxmlformats.org/officeDocument/2006/relationships/tags" Target="../tags/tag57.xml"/><Relationship Id="rId9" Type="http://schemas.openxmlformats.org/officeDocument/2006/relationships/image" Target="../media/image10.sv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59.xml"/><Relationship Id="rId7" Type="http://schemas.openxmlformats.org/officeDocument/2006/relationships/image" Target="../media/image8.emf"/><Relationship Id="rId2" Type="http://schemas.openxmlformats.org/officeDocument/2006/relationships/tags" Target="../tags/tag58.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1.xml"/><Relationship Id="rId4" Type="http://schemas.openxmlformats.org/officeDocument/2006/relationships/tags" Target="../tags/tag60.xml"/><Relationship Id="rId9"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62.xml"/><Relationship Id="rId7" Type="http://schemas.openxmlformats.org/officeDocument/2006/relationships/image" Target="../media/image8.emf"/><Relationship Id="rId2" Type="http://schemas.openxmlformats.org/officeDocument/2006/relationships/tags" Target="../tags/tag61.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image" Target="../media/image14.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65.xml"/><Relationship Id="rId7" Type="http://schemas.openxmlformats.org/officeDocument/2006/relationships/image" Target="../media/image8.emf"/><Relationship Id="rId2" Type="http://schemas.openxmlformats.org/officeDocument/2006/relationships/tags" Target="../tags/tag64.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slideMaster" Target="../slideMasters/slideMaster1.xml"/><Relationship Id="rId4" Type="http://schemas.openxmlformats.org/officeDocument/2006/relationships/tags" Target="../tags/tag66.xml"/><Relationship Id="rId9"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68.xml"/><Relationship Id="rId7" Type="http://schemas.openxmlformats.org/officeDocument/2006/relationships/image" Target="../media/image8.emf"/><Relationship Id="rId2" Type="http://schemas.openxmlformats.org/officeDocument/2006/relationships/tags" Target="../tags/tag67.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1.xml"/><Relationship Id="rId4" Type="http://schemas.openxmlformats.org/officeDocument/2006/relationships/tags" Target="../tags/tag69.xml"/><Relationship Id="rId9" Type="http://schemas.openxmlformats.org/officeDocument/2006/relationships/image" Target="../media/image11.jpe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71.xml"/><Relationship Id="rId7" Type="http://schemas.openxmlformats.org/officeDocument/2006/relationships/image" Target="../media/image8.emf"/><Relationship Id="rId2" Type="http://schemas.openxmlformats.org/officeDocument/2006/relationships/tags" Target="../tags/tag70.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74.xml"/><Relationship Id="rId7" Type="http://schemas.openxmlformats.org/officeDocument/2006/relationships/image" Target="../media/image9.png"/><Relationship Id="rId2" Type="http://schemas.openxmlformats.org/officeDocument/2006/relationships/tags" Target="../tags/tag73.xml"/><Relationship Id="rId1" Type="http://schemas.openxmlformats.org/officeDocument/2006/relationships/vmlDrawing" Target="../drawings/vmlDrawing28.vml"/><Relationship Id="rId6" Type="http://schemas.openxmlformats.org/officeDocument/2006/relationships/image" Target="../media/image8.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76.xml"/><Relationship Id="rId7" Type="http://schemas.openxmlformats.org/officeDocument/2006/relationships/image" Target="../media/image11.jpeg"/><Relationship Id="rId2" Type="http://schemas.openxmlformats.org/officeDocument/2006/relationships/tags" Target="../tags/tag75.xml"/><Relationship Id="rId1" Type="http://schemas.openxmlformats.org/officeDocument/2006/relationships/vmlDrawing" Target="../drawings/vmlDrawing29.vml"/><Relationship Id="rId6" Type="http://schemas.openxmlformats.org/officeDocument/2006/relationships/image" Target="../media/image15.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5.jpe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77.xml"/><Relationship Id="rId1" Type="http://schemas.openxmlformats.org/officeDocument/2006/relationships/vmlDrawing" Target="../drawings/vmlDrawing3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0.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78.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79.xml"/><Relationship Id="rId1" Type="http://schemas.openxmlformats.org/officeDocument/2006/relationships/vmlDrawing" Target="../drawings/vmlDrawing31.vml"/><Relationship Id="rId6" Type="http://schemas.openxmlformats.org/officeDocument/2006/relationships/image" Target="../media/image9.png"/><Relationship Id="rId5" Type="http://schemas.openxmlformats.org/officeDocument/2006/relationships/image" Target="../media/image17.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80.xml"/><Relationship Id="rId1" Type="http://schemas.openxmlformats.org/officeDocument/2006/relationships/vmlDrawing" Target="../drawings/vmlDrawing32.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81.xml"/><Relationship Id="rId1" Type="http://schemas.openxmlformats.org/officeDocument/2006/relationships/vmlDrawing" Target="../drawings/vmlDrawing33.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83.xml"/><Relationship Id="rId7" Type="http://schemas.openxmlformats.org/officeDocument/2006/relationships/image" Target="../media/image3.jpeg"/><Relationship Id="rId2" Type="http://schemas.openxmlformats.org/officeDocument/2006/relationships/tags" Target="../tags/tag82.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85.xml"/><Relationship Id="rId7" Type="http://schemas.openxmlformats.org/officeDocument/2006/relationships/image" Target="../media/image3.jpeg"/><Relationship Id="rId2" Type="http://schemas.openxmlformats.org/officeDocument/2006/relationships/tags" Target="../tags/tag84.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7.xml"/><Relationship Id="rId7" Type="http://schemas.openxmlformats.org/officeDocument/2006/relationships/image" Target="../media/image5.jpeg"/><Relationship Id="rId2" Type="http://schemas.openxmlformats.org/officeDocument/2006/relationships/tags" Target="../tags/tag8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9.xml"/><Relationship Id="rId7" Type="http://schemas.openxmlformats.org/officeDocument/2006/relationships/image" Target="../media/image5.jpeg"/><Relationship Id="rId2" Type="http://schemas.openxmlformats.org/officeDocument/2006/relationships/tags" Target="../tags/tag88.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5.jpe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91.xml"/><Relationship Id="rId7" Type="http://schemas.openxmlformats.org/officeDocument/2006/relationships/image" Target="../media/image6.jpeg"/><Relationship Id="rId2" Type="http://schemas.openxmlformats.org/officeDocument/2006/relationships/tags" Target="../tags/tag90.xml"/><Relationship Id="rId1" Type="http://schemas.openxmlformats.org/officeDocument/2006/relationships/vmlDrawing" Target="../drawings/vmlDrawing38.vml"/><Relationship Id="rId6" Type="http://schemas.openxmlformats.org/officeDocument/2006/relationships/image" Target="../media/image2.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7.jpeg"/><Relationship Id="rId2" Type="http://schemas.openxmlformats.org/officeDocument/2006/relationships/tags" Target="../tags/tag92.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97.xml"/><Relationship Id="rId7" Type="http://schemas.openxmlformats.org/officeDocument/2006/relationships/image" Target="../media/image9.png"/><Relationship Id="rId2" Type="http://schemas.openxmlformats.org/officeDocument/2006/relationships/tags" Target="../tags/tag96.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99.xml"/><Relationship Id="rId7" Type="http://schemas.openxmlformats.org/officeDocument/2006/relationships/image" Target="../media/image9.png"/><Relationship Id="rId2" Type="http://schemas.openxmlformats.org/officeDocument/2006/relationships/tags" Target="../tags/tag98.xml"/><Relationship Id="rId1" Type="http://schemas.openxmlformats.org/officeDocument/2006/relationships/vmlDrawing" Target="../drawings/vmlDrawing42.vml"/><Relationship Id="rId6" Type="http://schemas.openxmlformats.org/officeDocument/2006/relationships/image" Target="../media/image8.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01.xml"/><Relationship Id="rId7" Type="http://schemas.openxmlformats.org/officeDocument/2006/relationships/image" Target="../media/image9.png"/><Relationship Id="rId2" Type="http://schemas.openxmlformats.org/officeDocument/2006/relationships/tags" Target="../tags/tag100.xml"/><Relationship Id="rId1" Type="http://schemas.openxmlformats.org/officeDocument/2006/relationships/vmlDrawing" Target="../drawings/vmlDrawing43.vml"/><Relationship Id="rId6" Type="http://schemas.openxmlformats.org/officeDocument/2006/relationships/image" Target="../media/image8.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03.xml"/><Relationship Id="rId7" Type="http://schemas.openxmlformats.org/officeDocument/2006/relationships/image" Target="../media/image9.png"/><Relationship Id="rId2" Type="http://schemas.openxmlformats.org/officeDocument/2006/relationships/tags" Target="../tags/tag102.xml"/><Relationship Id="rId1" Type="http://schemas.openxmlformats.org/officeDocument/2006/relationships/vmlDrawing" Target="../drawings/vmlDrawing44.vml"/><Relationship Id="rId6" Type="http://schemas.openxmlformats.org/officeDocument/2006/relationships/image" Target="../media/image8.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05.xml"/><Relationship Id="rId7" Type="http://schemas.openxmlformats.org/officeDocument/2006/relationships/image" Target="../media/image9.png"/><Relationship Id="rId2" Type="http://schemas.openxmlformats.org/officeDocument/2006/relationships/tags" Target="../tags/tag104.xml"/><Relationship Id="rId1" Type="http://schemas.openxmlformats.org/officeDocument/2006/relationships/vmlDrawing" Target="../drawings/vmlDrawing45.vml"/><Relationship Id="rId6" Type="http://schemas.openxmlformats.org/officeDocument/2006/relationships/image" Target="../media/image8.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07.xml"/><Relationship Id="rId7" Type="http://schemas.openxmlformats.org/officeDocument/2006/relationships/image" Target="../media/image8.emf"/><Relationship Id="rId2" Type="http://schemas.openxmlformats.org/officeDocument/2006/relationships/tags" Target="../tags/tag106.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slideMaster" Target="../slideMasters/slideMaster1.xml"/><Relationship Id="rId4" Type="http://schemas.openxmlformats.org/officeDocument/2006/relationships/tags" Target="../tags/tag108.xml"/><Relationship Id="rId9" Type="http://schemas.openxmlformats.org/officeDocument/2006/relationships/image" Target="../media/image12.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10.xml"/><Relationship Id="rId7" Type="http://schemas.openxmlformats.org/officeDocument/2006/relationships/image" Target="../media/image8.emf"/><Relationship Id="rId2" Type="http://schemas.openxmlformats.org/officeDocument/2006/relationships/tags" Target="../tags/tag109.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slideMaster" Target="../slideMasters/slideMaster1.xml"/><Relationship Id="rId4" Type="http://schemas.openxmlformats.org/officeDocument/2006/relationships/tags" Target="../tags/tag111.xml"/><Relationship Id="rId9" Type="http://schemas.openxmlformats.org/officeDocument/2006/relationships/image" Target="../media/image12.png"/></Relationships>
</file>

<file path=ppt/slideLayouts/_rels/slideLayout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13.xml"/><Relationship Id="rId7" Type="http://schemas.openxmlformats.org/officeDocument/2006/relationships/image" Target="../media/image6.jpe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13.xml"/><Relationship Id="rId7" Type="http://schemas.openxmlformats.org/officeDocument/2006/relationships/image" Target="../media/image8.emf"/><Relationship Id="rId2" Type="http://schemas.openxmlformats.org/officeDocument/2006/relationships/tags" Target="../tags/tag112.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slideMaster" Target="../slideMasters/slideMaster1.xml"/><Relationship Id="rId4" Type="http://schemas.openxmlformats.org/officeDocument/2006/relationships/tags" Target="../tags/tag114.xml"/><Relationship Id="rId9" Type="http://schemas.openxmlformats.org/officeDocument/2006/relationships/image" Target="../media/image12.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16.xml"/><Relationship Id="rId7" Type="http://schemas.openxmlformats.org/officeDocument/2006/relationships/image" Target="../media/image8.emf"/><Relationship Id="rId2" Type="http://schemas.openxmlformats.org/officeDocument/2006/relationships/tags" Target="../tags/tag115.xml"/><Relationship Id="rId1" Type="http://schemas.openxmlformats.org/officeDocument/2006/relationships/vmlDrawing" Target="../drawings/vmlDrawing49.vml"/><Relationship Id="rId6" Type="http://schemas.openxmlformats.org/officeDocument/2006/relationships/oleObject" Target="../embeddings/oleObject49.bin"/><Relationship Id="rId11" Type="http://schemas.openxmlformats.org/officeDocument/2006/relationships/image" Target="../media/image12.png"/><Relationship Id="rId5" Type="http://schemas.openxmlformats.org/officeDocument/2006/relationships/slideMaster" Target="../slideMasters/slideMaster1.xml"/><Relationship Id="rId10" Type="http://schemas.openxmlformats.org/officeDocument/2006/relationships/image" Target="../media/image10.svg"/><Relationship Id="rId4" Type="http://schemas.openxmlformats.org/officeDocument/2006/relationships/tags" Target="../tags/tag117.xml"/><Relationship Id="rId9" Type="http://schemas.openxmlformats.org/officeDocument/2006/relationships/image" Target="../media/image9.pn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19.xml"/><Relationship Id="rId7" Type="http://schemas.openxmlformats.org/officeDocument/2006/relationships/image" Target="../media/image8.emf"/><Relationship Id="rId2" Type="http://schemas.openxmlformats.org/officeDocument/2006/relationships/tags" Target="../tags/tag118.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slideMaster" Target="../slideMasters/slideMaster1.xml"/><Relationship Id="rId4" Type="http://schemas.openxmlformats.org/officeDocument/2006/relationships/tags" Target="../tags/tag120.xml"/><Relationship Id="rId9" Type="http://schemas.openxmlformats.org/officeDocument/2006/relationships/image" Target="../media/image12.pn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22.xml"/><Relationship Id="rId7" Type="http://schemas.openxmlformats.org/officeDocument/2006/relationships/image" Target="../media/image8.emf"/><Relationship Id="rId2" Type="http://schemas.openxmlformats.org/officeDocument/2006/relationships/tags" Target="../tags/tag121.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slideMaster" Target="../slideMasters/slideMaster1.xml"/><Relationship Id="rId4" Type="http://schemas.openxmlformats.org/officeDocument/2006/relationships/tags" Target="../tags/tag123.xml"/><Relationship Id="rId9" Type="http://schemas.openxmlformats.org/officeDocument/2006/relationships/image" Target="../media/image12.pn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25.xml"/><Relationship Id="rId7" Type="http://schemas.openxmlformats.org/officeDocument/2006/relationships/image" Target="../media/image15.emf"/><Relationship Id="rId2" Type="http://schemas.openxmlformats.org/officeDocument/2006/relationships/tags" Target="../tags/tag124.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slideMaster" Target="../slideMasters/slideMaster1.xml"/><Relationship Id="rId4" Type="http://schemas.openxmlformats.org/officeDocument/2006/relationships/tags" Target="../tags/tag126.xml"/><Relationship Id="rId9" Type="http://schemas.openxmlformats.org/officeDocument/2006/relationships/image" Target="../media/image13.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28.xml"/><Relationship Id="rId7" Type="http://schemas.openxmlformats.org/officeDocument/2006/relationships/image" Target="../media/image8.emf"/><Relationship Id="rId2" Type="http://schemas.openxmlformats.org/officeDocument/2006/relationships/tags" Target="../tags/tag127.xml"/><Relationship Id="rId1" Type="http://schemas.openxmlformats.org/officeDocument/2006/relationships/vmlDrawing" Target="../drawings/vmlDrawing53.vml"/><Relationship Id="rId6" Type="http://schemas.openxmlformats.org/officeDocument/2006/relationships/oleObject" Target="../embeddings/oleObject53.bin"/><Relationship Id="rId11" Type="http://schemas.openxmlformats.org/officeDocument/2006/relationships/image" Target="../media/image10.svg"/><Relationship Id="rId5" Type="http://schemas.openxmlformats.org/officeDocument/2006/relationships/slideMaster" Target="../slideMasters/slideMaster1.xml"/><Relationship Id="rId10" Type="http://schemas.openxmlformats.org/officeDocument/2006/relationships/image" Target="../media/image9.png"/><Relationship Id="rId4" Type="http://schemas.openxmlformats.org/officeDocument/2006/relationships/tags" Target="../tags/tag129.xml"/><Relationship Id="rId9" Type="http://schemas.openxmlformats.org/officeDocument/2006/relationships/image" Target="../media/image14.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31.xml"/><Relationship Id="rId7" Type="http://schemas.openxmlformats.org/officeDocument/2006/relationships/image" Target="../media/image8.emf"/><Relationship Id="rId2" Type="http://schemas.openxmlformats.org/officeDocument/2006/relationships/tags" Target="../tags/tag130.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slideMaster" Target="../slideMasters/slideMaster1.xml"/><Relationship Id="rId4" Type="http://schemas.openxmlformats.org/officeDocument/2006/relationships/tags" Target="../tags/tag132.xml"/><Relationship Id="rId9" Type="http://schemas.openxmlformats.org/officeDocument/2006/relationships/image" Target="../media/image16.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34.xml"/><Relationship Id="rId7" Type="http://schemas.openxmlformats.org/officeDocument/2006/relationships/image" Target="../media/image8.emf"/><Relationship Id="rId2" Type="http://schemas.openxmlformats.org/officeDocument/2006/relationships/tags" Target="../tags/tag133.xml"/><Relationship Id="rId1" Type="http://schemas.openxmlformats.org/officeDocument/2006/relationships/vmlDrawing" Target="../drawings/vmlDrawing55.vml"/><Relationship Id="rId6" Type="http://schemas.openxmlformats.org/officeDocument/2006/relationships/oleObject" Target="../embeddings/oleObject55.bin"/><Relationship Id="rId11" Type="http://schemas.openxmlformats.org/officeDocument/2006/relationships/image" Target="../media/image11.jpeg"/><Relationship Id="rId5" Type="http://schemas.openxmlformats.org/officeDocument/2006/relationships/slideMaster" Target="../slideMasters/slideMaster1.xml"/><Relationship Id="rId10" Type="http://schemas.openxmlformats.org/officeDocument/2006/relationships/image" Target="../media/image10.svg"/><Relationship Id="rId4" Type="http://schemas.openxmlformats.org/officeDocument/2006/relationships/tags" Target="../tags/tag135.xml"/><Relationship Id="rId9" Type="http://schemas.openxmlformats.org/officeDocument/2006/relationships/image" Target="../media/image9.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37.xml"/><Relationship Id="rId7" Type="http://schemas.openxmlformats.org/officeDocument/2006/relationships/image" Target="../media/image8.emf"/><Relationship Id="rId2" Type="http://schemas.openxmlformats.org/officeDocument/2006/relationships/tags" Target="../tags/tag136.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slideMaster" Target="../slideMasters/slideMaster1.xml"/><Relationship Id="rId4" Type="http://schemas.openxmlformats.org/officeDocument/2006/relationships/tags" Target="../tags/tag138.xml"/><Relationship Id="rId9" Type="http://schemas.openxmlformats.org/officeDocument/2006/relationships/image" Target="../media/image13.pn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40.xml"/><Relationship Id="rId7" Type="http://schemas.openxmlformats.org/officeDocument/2006/relationships/image" Target="../media/image8.emf"/><Relationship Id="rId2" Type="http://schemas.openxmlformats.org/officeDocument/2006/relationships/tags" Target="../tags/tag139.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slideMaster" Target="../slideMasters/slideMaster1.xml"/><Relationship Id="rId4" Type="http://schemas.openxmlformats.org/officeDocument/2006/relationships/tags" Target="../tags/tag141.xml"/><Relationship Id="rId9" Type="http://schemas.openxmlformats.org/officeDocument/2006/relationships/image" Target="../media/image14.pn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jpe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43.xml"/><Relationship Id="rId7" Type="http://schemas.openxmlformats.org/officeDocument/2006/relationships/image" Target="../media/image8.emf"/><Relationship Id="rId2" Type="http://schemas.openxmlformats.org/officeDocument/2006/relationships/tags" Target="../tags/tag142.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slideMaster" Target="../slideMasters/slideMaster1.xml"/><Relationship Id="rId4" Type="http://schemas.openxmlformats.org/officeDocument/2006/relationships/tags" Target="../tags/tag144.xml"/><Relationship Id="rId9" Type="http://schemas.openxmlformats.org/officeDocument/2006/relationships/image" Target="../media/image13.pn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46.xml"/><Relationship Id="rId7" Type="http://schemas.openxmlformats.org/officeDocument/2006/relationships/image" Target="../media/image8.emf"/><Relationship Id="rId2" Type="http://schemas.openxmlformats.org/officeDocument/2006/relationships/tags" Target="../tags/tag145.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slideMaster" Target="../slideMasters/slideMaster1.xml"/><Relationship Id="rId4" Type="http://schemas.openxmlformats.org/officeDocument/2006/relationships/tags" Target="../tags/tag147.xml"/><Relationship Id="rId9" Type="http://schemas.openxmlformats.org/officeDocument/2006/relationships/image" Target="../media/image14.png"/></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49.xml"/><Relationship Id="rId7" Type="http://schemas.openxmlformats.org/officeDocument/2006/relationships/image" Target="../media/image8.emf"/><Relationship Id="rId2" Type="http://schemas.openxmlformats.org/officeDocument/2006/relationships/tags" Target="../tags/tag148.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slideMaster" Target="../slideMasters/slideMaster1.xml"/><Relationship Id="rId4" Type="http://schemas.openxmlformats.org/officeDocument/2006/relationships/tags" Target="../tags/tag150.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52.xml"/><Relationship Id="rId7" Type="http://schemas.openxmlformats.org/officeDocument/2006/relationships/image" Target="../media/image9.png"/><Relationship Id="rId2" Type="http://schemas.openxmlformats.org/officeDocument/2006/relationships/tags" Target="../tags/tag151.xml"/><Relationship Id="rId1" Type="http://schemas.openxmlformats.org/officeDocument/2006/relationships/vmlDrawing" Target="../drawings/vmlDrawing61.vml"/><Relationship Id="rId6" Type="http://schemas.openxmlformats.org/officeDocument/2006/relationships/image" Target="../media/image8.emf"/><Relationship Id="rId5" Type="http://schemas.openxmlformats.org/officeDocument/2006/relationships/oleObject" Target="../embeddings/oleObject61.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54.xml"/><Relationship Id="rId7" Type="http://schemas.openxmlformats.org/officeDocument/2006/relationships/image" Target="../media/image11.jpeg"/><Relationship Id="rId2" Type="http://schemas.openxmlformats.org/officeDocument/2006/relationships/tags" Target="../tags/tag153.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56.xml"/><Relationship Id="rId7" Type="http://schemas.openxmlformats.org/officeDocument/2006/relationships/image" Target="../media/image11.jpeg"/><Relationship Id="rId2" Type="http://schemas.openxmlformats.org/officeDocument/2006/relationships/tags" Target="../tags/tag155.xml"/><Relationship Id="rId1" Type="http://schemas.openxmlformats.org/officeDocument/2006/relationships/vmlDrawing" Target="../drawings/vmlDrawing63.vml"/><Relationship Id="rId6" Type="http://schemas.openxmlformats.org/officeDocument/2006/relationships/image" Target="../media/image8.emf"/><Relationship Id="rId5" Type="http://schemas.openxmlformats.org/officeDocument/2006/relationships/oleObject" Target="../embeddings/oleObject63.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58.xml"/><Relationship Id="rId7" Type="http://schemas.openxmlformats.org/officeDocument/2006/relationships/image" Target="../media/image11.jpeg"/><Relationship Id="rId2" Type="http://schemas.openxmlformats.org/officeDocument/2006/relationships/tags" Target="../tags/tag157.xml"/><Relationship Id="rId1" Type="http://schemas.openxmlformats.org/officeDocument/2006/relationships/vmlDrawing" Target="../drawings/vmlDrawing64.vml"/><Relationship Id="rId6" Type="http://schemas.openxmlformats.org/officeDocument/2006/relationships/image" Target="../media/image8.emf"/><Relationship Id="rId5" Type="http://schemas.openxmlformats.org/officeDocument/2006/relationships/oleObject" Target="../embeddings/oleObject64.bin"/><Relationship Id="rId4"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59.xml"/><Relationship Id="rId1" Type="http://schemas.openxmlformats.org/officeDocument/2006/relationships/vmlDrawing" Target="../drawings/vmlDrawing6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65.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60.xml"/><Relationship Id="rId1" Type="http://schemas.openxmlformats.org/officeDocument/2006/relationships/vmlDrawing" Target="../drawings/vmlDrawing66.vml"/><Relationship Id="rId6" Type="http://schemas.openxmlformats.org/officeDocument/2006/relationships/image" Target="../media/image9.png"/><Relationship Id="rId5" Type="http://schemas.openxmlformats.org/officeDocument/2006/relationships/image" Target="../media/image17.emf"/><Relationship Id="rId4" Type="http://schemas.openxmlformats.org/officeDocument/2006/relationships/oleObject" Target="../embeddings/oleObject66.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61.xml"/><Relationship Id="rId1" Type="http://schemas.openxmlformats.org/officeDocument/2006/relationships/vmlDrawing" Target="../drawings/vmlDrawing67.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67.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62.xml"/><Relationship Id="rId1" Type="http://schemas.openxmlformats.org/officeDocument/2006/relationships/vmlDrawing" Target="../drawings/vmlDrawing6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64.xml"/><Relationship Id="rId7" Type="http://schemas.openxmlformats.org/officeDocument/2006/relationships/image" Target="../media/image1.emf"/><Relationship Id="rId2" Type="http://schemas.openxmlformats.org/officeDocument/2006/relationships/tags" Target="../tags/tag163.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slideMaster" Target="../slideMasters/slideMaster1.xml"/><Relationship Id="rId4" Type="http://schemas.openxmlformats.org/officeDocument/2006/relationships/tags" Target="../tags/tag165.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67.xml"/><Relationship Id="rId7" Type="http://schemas.openxmlformats.org/officeDocument/2006/relationships/image" Target="../media/image11.jpeg"/><Relationship Id="rId2" Type="http://schemas.openxmlformats.org/officeDocument/2006/relationships/tags" Target="../tags/tag166.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image" Target="../media/image11.jpeg"/><Relationship Id="rId2" Type="http://schemas.openxmlformats.org/officeDocument/2006/relationships/tags" Target="../tags/tag168.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71.xml"/><Relationship Id="rId7" Type="http://schemas.openxmlformats.org/officeDocument/2006/relationships/image" Target="../media/image11.jpeg"/><Relationship Id="rId2" Type="http://schemas.openxmlformats.org/officeDocument/2006/relationships/tags" Target="../tags/tag170.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10" Type="http://schemas.openxmlformats.org/officeDocument/2006/relationships/image" Target="../media/image10.svg"/><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73.xml"/><Relationship Id="rId7" Type="http://schemas.openxmlformats.org/officeDocument/2006/relationships/image" Target="../media/image9.png"/><Relationship Id="rId2" Type="http://schemas.openxmlformats.org/officeDocument/2006/relationships/tags" Target="../tags/tag172.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74.xml"/><Relationship Id="rId1" Type="http://schemas.openxmlformats.org/officeDocument/2006/relationships/vmlDrawing" Target="../drawings/vmlDrawing74.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75.xml"/><Relationship Id="rId1" Type="http://schemas.openxmlformats.org/officeDocument/2006/relationships/vmlDrawing" Target="../drawings/vmlDrawing75.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9.xml"/><Relationship Id="rId7"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8.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77.xml"/><Relationship Id="rId7" Type="http://schemas.openxmlformats.org/officeDocument/2006/relationships/image" Target="../media/image11.jpeg"/><Relationship Id="rId2" Type="http://schemas.openxmlformats.org/officeDocument/2006/relationships/tags" Target="../tags/tag176.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76.bin"/><Relationship Id="rId10" Type="http://schemas.openxmlformats.org/officeDocument/2006/relationships/image" Target="../media/image10.svg"/><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79.xml"/><Relationship Id="rId7" Type="http://schemas.openxmlformats.org/officeDocument/2006/relationships/image" Target="../media/image11.jpeg"/><Relationship Id="rId2" Type="http://schemas.openxmlformats.org/officeDocument/2006/relationships/tags" Target="../tags/tag178.xml"/><Relationship Id="rId1" Type="http://schemas.openxmlformats.org/officeDocument/2006/relationships/vmlDrawing" Target="../drawings/vmlDrawing77.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21.xml"/><Relationship Id="rId7" Type="http://schemas.openxmlformats.org/officeDocument/2006/relationships/image" Target="../media/image9.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67030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1C54F24B-2251-49AA-BA45-1EAD53472F04}"/>
              </a:ext>
            </a:extLst>
          </p:cNvPr>
          <p:cNvPicPr>
            <a:picLocks noChangeAspect="1"/>
          </p:cNvPicPr>
          <p:nvPr userDrawn="1"/>
        </p:nvPicPr>
        <p:blipFill>
          <a:blip r:embed="rId7">
            <a:extLst>
              <a:ext uri="{BEBA8EAE-BF5A-486C-A8C5-ECC9F3942E4B}">
                <a14:imgProps xmlns:a14="http://schemas.microsoft.com/office/drawing/2010/main">
                  <a14:imgLayer r:embed="rId8">
                    <a14:imgEffect>
                      <a14:colorTemperature colorTemp="11200"/>
                    </a14:imgEffect>
                  </a14:imgLayer>
                </a14:imgProps>
              </a:ext>
            </a:extLst>
          </a:blip>
          <a:stretch>
            <a:fillRect/>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71C02377-276C-49B2-BE23-0112E35E3E57}"/>
              </a:ext>
            </a:extLst>
          </p:cNvPr>
          <p:cNvSpPr/>
          <p:nvPr userDrawn="1"/>
        </p:nvSpPr>
        <p:spPr>
          <a:xfrm>
            <a:off x="1" y="2012954"/>
            <a:ext cx="6857999" cy="3669029"/>
          </a:xfrm>
          <a:prstGeom prst="rect">
            <a:avLst/>
          </a:prstGeom>
          <a:solidFill>
            <a:srgbClr val="000000">
              <a:alpha val="88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7" name="Picture 16" descr="Text&#10;&#10;Description automatically generated">
            <a:extLst>
              <a:ext uri="{FF2B5EF4-FFF2-40B4-BE49-F238E27FC236}">
                <a16:creationId xmlns:a16="http://schemas.microsoft.com/office/drawing/2014/main" id="{A3270A9F-8C65-4902-B9F6-D4A022D1F7CC}"/>
              </a:ext>
            </a:extLst>
          </p:cNvPr>
          <p:cNvPicPr>
            <a:picLocks noChangeAspect="1"/>
          </p:cNvPicPr>
          <p:nvPr userDrawn="1"/>
        </p:nvPicPr>
        <p:blipFill rotWithShape="1">
          <a:blip r:embed="rId9">
            <a:clrChange>
              <a:clrFrom>
                <a:srgbClr val="040707"/>
              </a:clrFrom>
              <a:clrTo>
                <a:srgbClr val="040707">
                  <a:alpha val="0"/>
                </a:srgbClr>
              </a:clrTo>
            </a:clrChange>
          </a:blip>
          <a:srcRect r="1718" b="51704"/>
          <a:stretch/>
        </p:blipFill>
        <p:spPr>
          <a:xfrm>
            <a:off x="376108" y="2528856"/>
            <a:ext cx="3413477" cy="1513600"/>
          </a:xfrm>
          <a:prstGeom prst="rect">
            <a:avLst/>
          </a:prstGeom>
        </p:spPr>
      </p:pic>
      <p:sp>
        <p:nvSpPr>
          <p:cNvPr id="19" name="Rectangle 18">
            <a:extLst>
              <a:ext uri="{FF2B5EF4-FFF2-40B4-BE49-F238E27FC236}">
                <a16:creationId xmlns:a16="http://schemas.microsoft.com/office/drawing/2014/main" id="{600A81B6-75C6-404D-B72D-6A25A22A0FA7}"/>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873500"/>
            <a:ext cx="6037392" cy="1303020"/>
          </a:xfrm>
          <a:prstGeom prst="rect">
            <a:avLst/>
          </a:prstGeom>
        </p:spPr>
        <p:txBody>
          <a:bodyPr anchor="t">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9344639" y="626193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D87D93D-C714-4725-B025-4299225DC2B6}"/>
              </a:ext>
            </a:extLst>
          </p:cNvPr>
          <p:cNvGraphicFramePr>
            <a:graphicFrameLocks noChangeAspect="1"/>
          </p:cNvGraphicFramePr>
          <p:nvPr userDrawn="1">
            <p:custDataLst>
              <p:tags r:id="rId2"/>
            </p:custDataLst>
            <p:extLst>
              <p:ext uri="{D42A27DB-BD31-4B8C-83A1-F6EECF244321}">
                <p14:modId xmlns:p14="http://schemas.microsoft.com/office/powerpoint/2010/main" val="2269684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F2C3C1B-97ED-4332-A5A5-D8777D22DF67}"/>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7" name="Graphic 6">
            <a:extLst>
              <a:ext uri="{FF2B5EF4-FFF2-40B4-BE49-F238E27FC236}">
                <a16:creationId xmlns:a16="http://schemas.microsoft.com/office/drawing/2014/main" id="{698C6BC4-A6AD-4F3A-9F47-7232D6F87DCB}"/>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D8FFC59-4FB4-4B70-B838-12419AB05FED}"/>
              </a:ext>
            </a:extLst>
          </p:cNvPr>
          <p:cNvGraphicFramePr>
            <a:graphicFrameLocks noChangeAspect="1"/>
          </p:cNvGraphicFramePr>
          <p:nvPr userDrawn="1">
            <p:custDataLst>
              <p:tags r:id="rId2"/>
            </p:custDataLst>
            <p:extLst>
              <p:ext uri="{D42A27DB-BD31-4B8C-83A1-F6EECF244321}">
                <p14:modId xmlns:p14="http://schemas.microsoft.com/office/powerpoint/2010/main" val="3558725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A0C79A9-8B24-4E90-94DA-3721827E861B}"/>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0" name="Picture 9">
            <a:extLst>
              <a:ext uri="{FF2B5EF4-FFF2-40B4-BE49-F238E27FC236}">
                <a16:creationId xmlns:a16="http://schemas.microsoft.com/office/drawing/2014/main" id="{BFD6D521-B04A-4327-9917-15294CBD0A48}"/>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3" name="Overlay">
            <a:extLst>
              <a:ext uri="{FF2B5EF4-FFF2-40B4-BE49-F238E27FC236}">
                <a16:creationId xmlns:a16="http://schemas.microsoft.com/office/drawing/2014/main" id="{8A062ED3-CE63-4951-B77B-D6727A904343}"/>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06CC76-5B60-4504-B5B4-A6E7565515F2}"/>
              </a:ext>
            </a:extLst>
          </p:cNvPr>
          <p:cNvGraphicFramePr>
            <a:graphicFrameLocks noChangeAspect="1"/>
          </p:cNvGraphicFramePr>
          <p:nvPr userDrawn="1">
            <p:custDataLst>
              <p:tags r:id="rId2"/>
            </p:custDataLst>
            <p:extLst>
              <p:ext uri="{D42A27DB-BD31-4B8C-83A1-F6EECF244321}">
                <p14:modId xmlns:p14="http://schemas.microsoft.com/office/powerpoint/2010/main" val="329243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74A32A-A11E-4C1E-BB2E-BDF9A64F68C2}"/>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6" name="Picture 5">
            <a:extLst>
              <a:ext uri="{FF2B5EF4-FFF2-40B4-BE49-F238E27FC236}">
                <a16:creationId xmlns:a16="http://schemas.microsoft.com/office/drawing/2014/main" id="{F215D737-B755-4BAC-BDAF-9CE57E2BA642}"/>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9" name="Overlay">
            <a:extLst>
              <a:ext uri="{FF2B5EF4-FFF2-40B4-BE49-F238E27FC236}">
                <a16:creationId xmlns:a16="http://schemas.microsoft.com/office/drawing/2014/main" id="{50B4677C-858F-4253-B838-82953794E3B1}"/>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2BB8E6-FE5C-4A11-B568-5106AB1D95D2}"/>
              </a:ext>
            </a:extLst>
          </p:cNvPr>
          <p:cNvGraphicFramePr>
            <a:graphicFrameLocks noChangeAspect="1"/>
          </p:cNvGraphicFramePr>
          <p:nvPr userDrawn="1">
            <p:custDataLst>
              <p:tags r:id="rId2"/>
            </p:custDataLst>
            <p:extLst>
              <p:ext uri="{D42A27DB-BD31-4B8C-83A1-F6EECF244321}">
                <p14:modId xmlns:p14="http://schemas.microsoft.com/office/powerpoint/2010/main" val="805036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276C202-CB1D-47F6-B275-E5090E426FB4}"/>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541A4B94-F16E-4411-AC48-F0CB13975C73}"/>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4690E79D-E845-40C4-A9CA-3136812E6F8D}"/>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6" name="Picture 15"/>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23DAC0-7996-4BC4-AC68-32094B8D57D4}"/>
              </a:ext>
            </a:extLst>
          </p:cNvPr>
          <p:cNvGraphicFramePr>
            <a:graphicFrameLocks noChangeAspect="1"/>
          </p:cNvGraphicFramePr>
          <p:nvPr userDrawn="1">
            <p:custDataLst>
              <p:tags r:id="rId2"/>
            </p:custDataLst>
            <p:extLst>
              <p:ext uri="{D42A27DB-BD31-4B8C-83A1-F6EECF244321}">
                <p14:modId xmlns:p14="http://schemas.microsoft.com/office/powerpoint/2010/main" val="3523331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2D4E9E5-5206-4BDC-AF17-C01CC3B6E27A}"/>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13B60AA9-EB74-427C-B94F-DF072521C83C}"/>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67BEA811-F2A7-4EB0-A0E7-3C176C376D09}"/>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833617-B117-47E4-BC4D-F4D2841E19AC}"/>
              </a:ext>
            </a:extLst>
          </p:cNvPr>
          <p:cNvGraphicFramePr>
            <a:graphicFrameLocks noChangeAspect="1"/>
          </p:cNvGraphicFramePr>
          <p:nvPr userDrawn="1">
            <p:custDataLst>
              <p:tags r:id="rId2"/>
            </p:custDataLst>
            <p:extLst>
              <p:ext uri="{D42A27DB-BD31-4B8C-83A1-F6EECF244321}">
                <p14:modId xmlns:p14="http://schemas.microsoft.com/office/powerpoint/2010/main" val="315444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B27BAEF-38ED-4E2D-A996-26AAF6901B39}"/>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B4BABAC7-7AD7-46CD-A995-2FFDCF58E519}"/>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7" name="Overlay">
            <a:extLst>
              <a:ext uri="{FF2B5EF4-FFF2-40B4-BE49-F238E27FC236}">
                <a16:creationId xmlns:a16="http://schemas.microsoft.com/office/drawing/2014/main" id="{31DF97A0-DFBC-4523-8AD8-F6D8CAA5D9B2}"/>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pic>
        <p:nvPicPr>
          <p:cNvPr id="14" name="Graphic 13">
            <a:extLst>
              <a:ext uri="{FF2B5EF4-FFF2-40B4-BE49-F238E27FC236}">
                <a16:creationId xmlns:a16="http://schemas.microsoft.com/office/drawing/2014/main" id="{C27DDD3E-F58B-4C81-AEE6-D43844BAA4F0}"/>
              </a:ext>
            </a:extLst>
          </p:cNvPr>
          <p:cNvPicPr>
            <a:picLocks noChangeAspect="1"/>
          </p:cNvPicPr>
          <p:nvPr userDrawn="1"/>
        </p:nvPicPr>
        <p:blipFill rotWithShape="1">
          <a:blip r:embed="rId10">
            <a:extLst>
              <a:ext uri="{96DAC541-7B7A-43D3-8B79-37D633B846F1}">
                <asvg:svgBlip xmlns:asvg="http://schemas.microsoft.com/office/drawing/2016/SVG/main" r:embed="rId11"/>
              </a:ext>
            </a:extLst>
          </a:blip>
          <a:srcRect l="37363" t="43832" r="15615" b="3675"/>
          <a:stretch/>
        </p:blipFill>
        <p:spPr>
          <a:xfrm rot="5400000">
            <a:off x="4698999" y="-635000"/>
            <a:ext cx="6858000" cy="8127999"/>
          </a:xfrm>
          <a:prstGeom prst="rect">
            <a:avLst/>
          </a:prstGeom>
        </p:spPr>
      </p:pic>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11FFFF9-1337-4FB6-9F03-026FC56BFA8E}"/>
              </a:ext>
            </a:extLst>
          </p:cNvPr>
          <p:cNvGraphicFramePr>
            <a:graphicFrameLocks noChangeAspect="1"/>
          </p:cNvGraphicFramePr>
          <p:nvPr userDrawn="1">
            <p:custDataLst>
              <p:tags r:id="rId2"/>
            </p:custDataLst>
            <p:extLst>
              <p:ext uri="{D42A27DB-BD31-4B8C-83A1-F6EECF244321}">
                <p14:modId xmlns:p14="http://schemas.microsoft.com/office/powerpoint/2010/main" val="185886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E7CFFD-F58A-4998-9400-1C37D0E44369}"/>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DC4A3C50-F147-4FC3-88FD-5757C6C5E5E6}"/>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8" name="Overlay">
            <a:extLst>
              <a:ext uri="{FF2B5EF4-FFF2-40B4-BE49-F238E27FC236}">
                <a16:creationId xmlns:a16="http://schemas.microsoft.com/office/drawing/2014/main" id="{A63A41F3-AC7D-4F6E-8925-F5CF5136F1A2}"/>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1" name="Picture 10"/>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6572CD-0A1E-4E82-B768-0BEC5EB70FE8}"/>
              </a:ext>
            </a:extLst>
          </p:cNvPr>
          <p:cNvGraphicFramePr>
            <a:graphicFrameLocks noChangeAspect="1"/>
          </p:cNvGraphicFramePr>
          <p:nvPr userDrawn="1">
            <p:custDataLst>
              <p:tags r:id="rId2"/>
            </p:custDataLst>
            <p:extLst>
              <p:ext uri="{D42A27DB-BD31-4B8C-83A1-F6EECF244321}">
                <p14:modId xmlns:p14="http://schemas.microsoft.com/office/powerpoint/2010/main" val="2126563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5544CE0-6BAA-40A0-9EEB-7C197D01E8FF}"/>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7" name="Picture 16">
            <a:extLst>
              <a:ext uri="{FF2B5EF4-FFF2-40B4-BE49-F238E27FC236}">
                <a16:creationId xmlns:a16="http://schemas.microsoft.com/office/drawing/2014/main" id="{88A4953B-43EF-45A4-9AC8-3C089CC940ED}"/>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8" name="Overlay">
            <a:extLst>
              <a:ext uri="{FF2B5EF4-FFF2-40B4-BE49-F238E27FC236}">
                <a16:creationId xmlns:a16="http://schemas.microsoft.com/office/drawing/2014/main" id="{CDFD3F24-2222-461A-BD08-5FFB73D2B920}"/>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9" name="Picture 8"/>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3ED114-FC6E-4FB8-ADC6-D243F8AAD090}"/>
              </a:ext>
            </a:extLst>
          </p:cNvPr>
          <p:cNvGraphicFramePr>
            <a:graphicFrameLocks noChangeAspect="1"/>
          </p:cNvGraphicFramePr>
          <p:nvPr userDrawn="1">
            <p:custDataLst>
              <p:tags r:id="rId2"/>
            </p:custDataLst>
            <p:extLst>
              <p:ext uri="{D42A27DB-BD31-4B8C-83A1-F6EECF244321}">
                <p14:modId xmlns:p14="http://schemas.microsoft.com/office/powerpoint/2010/main" val="3408008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77B0AB-6273-48C4-A585-6EC49B1B32F7}"/>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A6064ED0-8779-45D3-A688-8FE8EAA6B6ED}"/>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3" name="Overlay">
            <a:extLst>
              <a:ext uri="{FF2B5EF4-FFF2-40B4-BE49-F238E27FC236}">
                <a16:creationId xmlns:a16="http://schemas.microsoft.com/office/drawing/2014/main" id="{2F3D7F8D-668A-4B05-BC01-ED53104EA848}"/>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0D66CD-E5A3-41A7-9276-DBA0CEBA73AB}"/>
              </a:ext>
            </a:extLst>
          </p:cNvPr>
          <p:cNvGraphicFramePr>
            <a:graphicFrameLocks noChangeAspect="1"/>
          </p:cNvGraphicFramePr>
          <p:nvPr userDrawn="1">
            <p:custDataLst>
              <p:tags r:id="rId2"/>
            </p:custDataLst>
            <p:extLst>
              <p:ext uri="{D42A27DB-BD31-4B8C-83A1-F6EECF244321}">
                <p14:modId xmlns:p14="http://schemas.microsoft.com/office/powerpoint/2010/main" val="1068835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7" imgW="415" imgH="416" progId="TCLayout.ActiveDocument.1">
                  <p:embed/>
                </p:oleObj>
              </mc:Choice>
              <mc:Fallback>
                <p:oleObj name="think-cell Slide" r:id="rId7" imgW="415" imgH="41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78B473-51B4-49D5-B325-7C4FC18F7279}"/>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2" name="Picture 11">
            <a:extLst>
              <a:ext uri="{FF2B5EF4-FFF2-40B4-BE49-F238E27FC236}">
                <a16:creationId xmlns:a16="http://schemas.microsoft.com/office/drawing/2014/main" id="{0E01F911-70E8-453F-9FAF-C632F3A28897}"/>
              </a:ext>
            </a:extLst>
          </p:cNvPr>
          <p:cNvPicPr>
            <a:picLocks noChangeAspect="1"/>
          </p:cNvPicPr>
          <p:nvPr userDrawn="1"/>
        </p:nvPicPr>
        <p:blipFill>
          <a:blip r:embed="rId9"/>
          <a:srcRect r="66467"/>
          <a:stretch>
            <a:fillRect/>
          </a:stretch>
        </p:blipFill>
        <p:spPr>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p:spPr>
      </p:pic>
      <p:sp>
        <p:nvSpPr>
          <p:cNvPr id="18" name="Overlay">
            <a:extLst>
              <a:ext uri="{FF2B5EF4-FFF2-40B4-BE49-F238E27FC236}">
                <a16:creationId xmlns:a16="http://schemas.microsoft.com/office/drawing/2014/main" id="{A07F78D3-D9F5-442F-86CD-171E6D887FD5}"/>
              </a:ext>
            </a:extLst>
          </p:cNvPr>
          <p:cNvSpPr/>
          <p:nvPr userDrawn="1">
            <p:custDataLst>
              <p:tags r:id="rId4"/>
            </p:custDataLst>
          </p:nvPr>
        </p:nvSpPr>
        <p:spPr>
          <a:xfrm>
            <a:off x="0" y="0"/>
            <a:ext cx="4088312" cy="6858000"/>
          </a:xfrm>
          <a:prstGeom prst="homePlate">
            <a:avLst>
              <a:gd name="adj" fmla="val 19868"/>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10">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 name="Rectangle 1" hidden="1">
            <a:extLst>
              <a:ext uri="{FF2B5EF4-FFF2-40B4-BE49-F238E27FC236}">
                <a16:creationId xmlns:a16="http://schemas.microsoft.com/office/drawing/2014/main" id="{23740FA9-ABDA-432B-A342-00BDBAE2787F}"/>
              </a:ext>
            </a:extLst>
          </p:cNvPr>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Graphic 10">
            <a:extLst>
              <a:ext uri="{FF2B5EF4-FFF2-40B4-BE49-F238E27FC236}">
                <a16:creationId xmlns:a16="http://schemas.microsoft.com/office/drawing/2014/main" id="{F2D4B6E2-CFC4-4A82-AF43-3F0E4150C2DE}"/>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l="37363" t="43832" r="15615"/>
          <a:stretch/>
        </p:blipFill>
        <p:spPr>
          <a:xfrm rot="5400000">
            <a:off x="4414443" y="-919556"/>
            <a:ext cx="6858000" cy="8697111"/>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791741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42887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1C54F24B-2251-49AA-BA45-1EAD53472F04}"/>
              </a:ext>
            </a:extLst>
          </p:cNvPr>
          <p:cNvPicPr>
            <a:picLocks noChangeAspect="1"/>
          </p:cNvPicPr>
          <p:nvPr userDrawn="1"/>
        </p:nvPicPr>
        <p:blipFill>
          <a:blip r:embed="rId7">
            <a:extLst>
              <a:ext uri="{BEBA8EAE-BF5A-486C-A8C5-ECC9F3942E4B}">
                <a14:imgProps xmlns:a14="http://schemas.microsoft.com/office/drawing/2010/main">
                  <a14:imgLayer r:embed="rId8">
                    <a14:imgEffect>
                      <a14:colorTemperature colorTemp="11200"/>
                    </a14:imgEffect>
                  </a14:imgLayer>
                </a14:imgProps>
              </a:ext>
            </a:extLst>
          </a:blip>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8B418CF-D336-4274-B0FF-6B18F96DAE92}"/>
              </a:ext>
            </a:extLst>
          </p:cNvPr>
          <p:cNvSpPr/>
          <p:nvPr userDrawn="1"/>
        </p:nvSpPr>
        <p:spPr>
          <a:xfrm>
            <a:off x="1" y="0"/>
            <a:ext cx="12191999" cy="5681983"/>
          </a:xfrm>
          <a:prstGeom prst="rect">
            <a:avLst/>
          </a:prstGeom>
          <a:solidFill>
            <a:srgbClr val="000000">
              <a:alpha val="83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7" name="Picture 16" descr="Text&#10;&#10;Description automatically generated">
            <a:extLst>
              <a:ext uri="{FF2B5EF4-FFF2-40B4-BE49-F238E27FC236}">
                <a16:creationId xmlns:a16="http://schemas.microsoft.com/office/drawing/2014/main" id="{A3270A9F-8C65-4902-B9F6-D4A022D1F7CC}"/>
              </a:ext>
            </a:extLst>
          </p:cNvPr>
          <p:cNvPicPr>
            <a:picLocks noChangeAspect="1"/>
          </p:cNvPicPr>
          <p:nvPr userDrawn="1"/>
        </p:nvPicPr>
        <p:blipFill rotWithShape="1">
          <a:blip r:embed="rId9">
            <a:clrChange>
              <a:clrFrom>
                <a:srgbClr val="040707"/>
              </a:clrFrom>
              <a:clrTo>
                <a:srgbClr val="040707">
                  <a:alpha val="0"/>
                </a:srgbClr>
              </a:clrTo>
            </a:clrChange>
          </a:blip>
          <a:srcRect r="1718" b="51704"/>
          <a:stretch/>
        </p:blipFill>
        <p:spPr>
          <a:xfrm>
            <a:off x="376108" y="2528856"/>
            <a:ext cx="3413477" cy="1513600"/>
          </a:xfrm>
          <a:prstGeom prst="rect">
            <a:avLst/>
          </a:prstGeom>
        </p:spPr>
      </p:pic>
      <p:sp>
        <p:nvSpPr>
          <p:cNvPr id="19" name="Rectangle 18">
            <a:extLst>
              <a:ext uri="{FF2B5EF4-FFF2-40B4-BE49-F238E27FC236}">
                <a16:creationId xmlns:a16="http://schemas.microsoft.com/office/drawing/2014/main" id="{600A81B6-75C6-404D-B72D-6A25A22A0FA7}"/>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873500"/>
            <a:ext cx="6037392" cy="1303020"/>
          </a:xfrm>
          <a:prstGeom prst="rect">
            <a:avLst/>
          </a:prstGeom>
        </p:spPr>
        <p:txBody>
          <a:bodyPr anchor="t">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626193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306751532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049889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5" name="think-cell Slide" r:id="rId6" imgW="324" imgH="324" progId="TCLayout.ActiveDocument.1">
                  <p:embed/>
                </p:oleObj>
              </mc:Choice>
              <mc:Fallback>
                <p:oleObj name="think-cell Slide" r:id="rId6" imgW="324" imgH="32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240552D-66C8-4BB9-AAC1-3A66AFD05320}"/>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20C1C6F4-D232-4283-8F7F-BA39C6F0D608}"/>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6" name="Overlay">
            <a:extLst>
              <a:ext uri="{FF2B5EF4-FFF2-40B4-BE49-F238E27FC236}">
                <a16:creationId xmlns:a16="http://schemas.microsoft.com/office/drawing/2014/main" id="{E3E07FAF-C072-4B84-A872-6D3ADF6B4A71}"/>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BE449AA-AD7A-4CFE-B763-1DD2C9C93934}"/>
              </a:ext>
            </a:extLst>
          </p:cNvPr>
          <p:cNvGraphicFramePr>
            <a:graphicFrameLocks noChangeAspect="1"/>
          </p:cNvGraphicFramePr>
          <p:nvPr userDrawn="1">
            <p:custDataLst>
              <p:tags r:id="rId2"/>
            </p:custDataLst>
            <p:extLst>
              <p:ext uri="{D42A27DB-BD31-4B8C-83A1-F6EECF244321}">
                <p14:modId xmlns:p14="http://schemas.microsoft.com/office/powerpoint/2010/main" val="263957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ECBE440-6ADA-4D74-8FB4-F50B047F8D98}"/>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Graphic 9">
            <a:extLst>
              <a:ext uri="{FF2B5EF4-FFF2-40B4-BE49-F238E27FC236}">
                <a16:creationId xmlns:a16="http://schemas.microsoft.com/office/drawing/2014/main" id="{4937F524-AF21-4775-8BF6-5C8731ECD778}"/>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37363" t="43832" r="15615" b="7858"/>
          <a:stretch/>
        </p:blipFill>
        <p:spPr>
          <a:xfrm rot="5400000">
            <a:off x="5022849" y="-311150"/>
            <a:ext cx="6858000" cy="7480299"/>
          </a:xfrm>
          <a:prstGeom prst="rect">
            <a:avLst/>
          </a:prstGeom>
        </p:spPr>
      </p:pic>
      <p:pic>
        <p:nvPicPr>
          <p:cNvPr id="12" name="Picture 11">
            <a:extLst>
              <a:ext uri="{FF2B5EF4-FFF2-40B4-BE49-F238E27FC236}">
                <a16:creationId xmlns:a16="http://schemas.microsoft.com/office/drawing/2014/main" id="{CEFBC1DB-9E37-4F7D-9184-9F73751A449E}"/>
              </a:ext>
            </a:extLst>
          </p:cNvPr>
          <p:cNvPicPr>
            <a:picLocks noChangeAspect="1"/>
          </p:cNvPicPr>
          <p:nvPr userDrawn="1"/>
        </p:nvPicPr>
        <p:blipFill>
          <a:blip r:embed="rId10"/>
          <a:srcRect r="55488"/>
          <a:stretch>
            <a:fillRect/>
          </a:stretch>
        </p:blipFill>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p:spPr>
      </p:pic>
      <p:sp>
        <p:nvSpPr>
          <p:cNvPr id="15" name="Overlay">
            <a:extLst>
              <a:ext uri="{FF2B5EF4-FFF2-40B4-BE49-F238E27FC236}">
                <a16:creationId xmlns:a16="http://schemas.microsoft.com/office/drawing/2014/main" id="{675A464E-B43F-476C-84E7-934A3F229950}"/>
              </a:ext>
            </a:extLst>
          </p:cNvPr>
          <p:cNvSpPr/>
          <p:nvPr userDrawn="1">
            <p:custDataLst>
              <p:tags r:id="rId4"/>
            </p:custDataLst>
          </p:nvPr>
        </p:nvSpPr>
        <p:spPr>
          <a:xfrm>
            <a:off x="1" y="0"/>
            <a:ext cx="5426920" cy="6858000"/>
          </a:xfrm>
          <a:prstGeom prst="homePlate">
            <a:avLst>
              <a:gd name="adj" fmla="val 13259"/>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11">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741921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B83252-F806-4C56-8E44-34D6F2F6442A}"/>
              </a:ext>
            </a:extLst>
          </p:cNvPr>
          <p:cNvGraphicFramePr>
            <a:graphicFrameLocks noChangeAspect="1"/>
          </p:cNvGraphicFramePr>
          <p:nvPr userDrawn="1">
            <p:custDataLst>
              <p:tags r:id="rId2"/>
            </p:custDataLst>
            <p:extLst>
              <p:ext uri="{D42A27DB-BD31-4B8C-83A1-F6EECF244321}">
                <p14:modId xmlns:p14="http://schemas.microsoft.com/office/powerpoint/2010/main" val="3501267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2FBFCC6-93D9-4E8D-ADCE-CC2B604FE3A4}"/>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77FA41CD-5FFD-46A5-8B8F-7034AD01FC06}"/>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B8DD737A-8297-4BFF-BCFC-2F43BEEBAF1F}"/>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2E09274-F7D2-4D93-A116-CBBBDD802CF5}"/>
              </a:ext>
            </a:extLst>
          </p:cNvPr>
          <p:cNvGraphicFramePr>
            <a:graphicFrameLocks noChangeAspect="1"/>
          </p:cNvGraphicFramePr>
          <p:nvPr userDrawn="1">
            <p:custDataLst>
              <p:tags r:id="rId2"/>
            </p:custDataLst>
            <p:extLst>
              <p:ext uri="{D42A27DB-BD31-4B8C-83A1-F6EECF244321}">
                <p14:modId xmlns:p14="http://schemas.microsoft.com/office/powerpoint/2010/main" val="4040835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7"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25E3AD-3A07-40DC-A34E-F777C30C825B}"/>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C1539C56-5E4A-4FC1-A8A6-161B620ACD8F}"/>
              </a:ext>
            </a:extLst>
          </p:cNvPr>
          <p:cNvPicPr>
            <a:picLocks noChangeAspect="1"/>
          </p:cNvPicPr>
          <p:nvPr userDrawn="1"/>
        </p:nvPicPr>
        <p:blipFill>
          <a:blip r:embed="rId8"/>
          <a:srcRect r="47806"/>
          <a:stretch>
            <a:fillRect/>
          </a:stretch>
        </p:blipFill>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p:spPr>
      </p:pic>
      <p:sp>
        <p:nvSpPr>
          <p:cNvPr id="15" name="Overlay">
            <a:extLst>
              <a:ext uri="{FF2B5EF4-FFF2-40B4-BE49-F238E27FC236}">
                <a16:creationId xmlns:a16="http://schemas.microsoft.com/office/drawing/2014/main" id="{650E545F-78F9-4EDF-B4EB-3A3F22CB9A85}"/>
              </a:ext>
            </a:extLst>
          </p:cNvPr>
          <p:cNvSpPr/>
          <p:nvPr userDrawn="1">
            <p:custDataLst>
              <p:tags r:id="rId4"/>
            </p:custDataLst>
          </p:nvPr>
        </p:nvSpPr>
        <p:spPr>
          <a:xfrm>
            <a:off x="0" y="0"/>
            <a:ext cx="6363546" cy="6858000"/>
          </a:xfrm>
          <a:prstGeom prst="homePlate">
            <a:avLst>
              <a:gd name="adj" fmla="val 13478"/>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9">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C10947-EF57-481A-8934-D17DA9F6CB5F}"/>
              </a:ext>
            </a:extLst>
          </p:cNvPr>
          <p:cNvGraphicFramePr>
            <a:graphicFrameLocks noChangeAspect="1"/>
          </p:cNvGraphicFramePr>
          <p:nvPr userDrawn="1">
            <p:custDataLst>
              <p:tags r:id="rId2"/>
            </p:custDataLst>
            <p:extLst>
              <p:ext uri="{D42A27DB-BD31-4B8C-83A1-F6EECF244321}">
                <p14:modId xmlns:p14="http://schemas.microsoft.com/office/powerpoint/2010/main" val="4288046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1"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C59D4E7-7952-4A05-A95C-DED7E87EAF11}"/>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81F65FA2-1964-4072-8770-C90C3230A209}"/>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7" name="Overlay">
            <a:extLst>
              <a:ext uri="{FF2B5EF4-FFF2-40B4-BE49-F238E27FC236}">
                <a16:creationId xmlns:a16="http://schemas.microsoft.com/office/drawing/2014/main" id="{759DB691-E0DC-4DB6-9C18-F924FC5B9EA0}"/>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683A73-7FF5-4721-AA82-2228E011ADF3}"/>
              </a:ext>
            </a:extLst>
          </p:cNvPr>
          <p:cNvGraphicFramePr>
            <a:graphicFrameLocks noChangeAspect="1"/>
          </p:cNvGraphicFramePr>
          <p:nvPr userDrawn="1">
            <p:custDataLst>
              <p:tags r:id="rId2"/>
            </p:custDataLst>
            <p:extLst>
              <p:ext uri="{D42A27DB-BD31-4B8C-83A1-F6EECF244321}">
                <p14:modId xmlns:p14="http://schemas.microsoft.com/office/powerpoint/2010/main" val="3793126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5"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6915D5-8560-48B2-A2F0-605830AE6FC8}"/>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3" name="Picture 12">
            <a:extLst>
              <a:ext uri="{FF2B5EF4-FFF2-40B4-BE49-F238E27FC236}">
                <a16:creationId xmlns:a16="http://schemas.microsoft.com/office/drawing/2014/main" id="{61C160A4-3562-4A13-9DED-94A0DDAC9D11}"/>
              </a:ext>
            </a:extLst>
          </p:cNvPr>
          <p:cNvPicPr>
            <a:picLocks noChangeAspect="1"/>
          </p:cNvPicPr>
          <p:nvPr userDrawn="1"/>
        </p:nvPicPr>
        <p:blipFill>
          <a:blip r:embed="rId9"/>
          <a:srcRect r="30723"/>
          <a:stretch>
            <a:fillRect/>
          </a:stretch>
        </p:blipFill>
        <p:spPr>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p:spPr>
      </p:pic>
      <p:sp>
        <p:nvSpPr>
          <p:cNvPr id="14" name="Overlay">
            <a:extLst>
              <a:ext uri="{FF2B5EF4-FFF2-40B4-BE49-F238E27FC236}">
                <a16:creationId xmlns:a16="http://schemas.microsoft.com/office/drawing/2014/main" id="{1E84B03E-98BB-4429-9F61-F5EA8DB7D68E}"/>
              </a:ext>
            </a:extLst>
          </p:cNvPr>
          <p:cNvSpPr/>
          <p:nvPr userDrawn="1">
            <p:custDataLst>
              <p:tags r:id="rId4"/>
            </p:custDataLst>
          </p:nvPr>
        </p:nvSpPr>
        <p:spPr>
          <a:xfrm>
            <a:off x="1" y="0"/>
            <a:ext cx="8446239" cy="6858000"/>
          </a:xfrm>
          <a:prstGeom prst="homePlate">
            <a:avLst>
              <a:gd name="adj" fmla="val 11481"/>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3698657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882FEA-1ADA-4073-A3E1-34E87033E61F}"/>
              </a:ext>
            </a:extLst>
          </p:cNvPr>
          <p:cNvGraphicFramePr>
            <a:graphicFrameLocks noChangeAspect="1"/>
          </p:cNvGraphicFramePr>
          <p:nvPr userDrawn="1">
            <p:custDataLst>
              <p:tags r:id="rId2"/>
            </p:custDataLst>
            <p:extLst>
              <p:ext uri="{D42A27DB-BD31-4B8C-83A1-F6EECF244321}">
                <p14:modId xmlns:p14="http://schemas.microsoft.com/office/powerpoint/2010/main" val="278401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9"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9E80DB1-4664-4C76-B667-D6D26D857B34}"/>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Picture 6">
            <a:extLst>
              <a:ext uri="{FF2B5EF4-FFF2-40B4-BE49-F238E27FC236}">
                <a16:creationId xmlns:a16="http://schemas.microsoft.com/office/drawing/2014/main" id="{5CF255C7-158A-4D96-BF96-F7CE7E4AB312}"/>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1" name="Overlay">
            <a:extLst>
              <a:ext uri="{FF2B5EF4-FFF2-40B4-BE49-F238E27FC236}">
                <a16:creationId xmlns:a16="http://schemas.microsoft.com/office/drawing/2014/main" id="{C94C96CA-B920-4DC8-A86B-8BF2F7715700}"/>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EE3A5B-686A-41BD-B1BF-57EB181B77D8}"/>
              </a:ext>
            </a:extLst>
          </p:cNvPr>
          <p:cNvGraphicFramePr>
            <a:graphicFrameLocks noChangeAspect="1"/>
          </p:cNvGraphicFramePr>
          <p:nvPr userDrawn="1">
            <p:custDataLst>
              <p:tags r:id="rId2"/>
            </p:custDataLst>
            <p:extLst>
              <p:ext uri="{D42A27DB-BD31-4B8C-83A1-F6EECF244321}">
                <p14:modId xmlns:p14="http://schemas.microsoft.com/office/powerpoint/2010/main" val="2890855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0CB8E3-58FD-4903-9E28-D14FC62368C8}"/>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8" name="Graphic 7">
            <a:extLst>
              <a:ext uri="{FF2B5EF4-FFF2-40B4-BE49-F238E27FC236}">
                <a16:creationId xmlns:a16="http://schemas.microsoft.com/office/drawing/2014/main" id="{D56D5615-AB43-4269-AE79-B27597BA81AF}"/>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936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7"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896A90C3-CE5D-44AA-A5C5-DC2F94A0F2F0}"/>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9" name="Overlay">
            <a:extLst>
              <a:ext uri="{FF2B5EF4-FFF2-40B4-BE49-F238E27FC236}">
                <a16:creationId xmlns:a16="http://schemas.microsoft.com/office/drawing/2014/main" id="{A4FD99CB-8535-47D0-BCF0-7D5CDCBA4D4B}"/>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8">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05538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E419EA9E-EB50-4D99-8ADC-8666EDCE20DC}"/>
              </a:ext>
            </a:extLst>
          </p:cNvPr>
          <p:cNvPicPr>
            <a:picLocks noChangeAspect="1"/>
          </p:cNvPicPr>
          <p:nvPr userDrawn="1"/>
        </p:nvPicPr>
        <p:blipFill>
          <a:blip r:embed="rId7"/>
          <a:stretch>
            <a:fillRect/>
          </a:stretch>
        </p:blipFill>
        <p:spPr>
          <a:xfrm>
            <a:off x="-1" y="0"/>
            <a:ext cx="12208043" cy="6890084"/>
          </a:xfrm>
          <a:prstGeom prst="rect">
            <a:avLst/>
          </a:prstGeom>
        </p:spPr>
      </p:pic>
      <p:sp>
        <p:nvSpPr>
          <p:cNvPr id="14" name="Rectangle 13">
            <a:extLst>
              <a:ext uri="{FF2B5EF4-FFF2-40B4-BE49-F238E27FC236}">
                <a16:creationId xmlns:a16="http://schemas.microsoft.com/office/drawing/2014/main" id="{DC814D9F-016B-45D9-BB90-91E8B3F44D81}"/>
              </a:ext>
            </a:extLst>
          </p:cNvPr>
          <p:cNvSpPr/>
          <p:nvPr userDrawn="1"/>
        </p:nvSpPr>
        <p:spPr>
          <a:xfrm>
            <a:off x="0" y="1482789"/>
            <a:ext cx="7459580" cy="4678299"/>
          </a:xfrm>
          <a:prstGeom prst="rect">
            <a:avLst/>
          </a:prstGeom>
          <a:solidFill>
            <a:srgbClr val="000000">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491990"/>
            <a:ext cx="6037392" cy="822960"/>
          </a:xfrm>
          <a:prstGeom prst="rect">
            <a:avLst/>
          </a:prstGeom>
        </p:spPr>
        <p:txBody>
          <a:bodyPr anchor="ctr">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11" name="Rectangle 10">
            <a:extLst>
              <a:ext uri="{FF2B5EF4-FFF2-40B4-BE49-F238E27FC236}">
                <a16:creationId xmlns:a16="http://schemas.microsoft.com/office/drawing/2014/main" id="{4C918202-8024-40C5-8742-5F8294D03FD5}"/>
              </a:ext>
            </a:extLst>
          </p:cNvPr>
          <p:cNvSpPr/>
          <p:nvPr userDrawn="1"/>
        </p:nvSpPr>
        <p:spPr>
          <a:xfrm flipH="1">
            <a:off x="-1" y="3491990"/>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descr="Text&#10;&#10;Description automatically generated">
            <a:extLst>
              <a:ext uri="{FF2B5EF4-FFF2-40B4-BE49-F238E27FC236}">
                <a16:creationId xmlns:a16="http://schemas.microsoft.com/office/drawing/2014/main" id="{623BF0C3-98E7-4B98-A189-744E448AEC5E}"/>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239455" y="1694350"/>
            <a:ext cx="3346384" cy="1483850"/>
          </a:xfrm>
          <a:prstGeom prst="rect">
            <a:avLst/>
          </a:prstGeom>
        </p:spPr>
      </p:pic>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549220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90106506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8069A88-F35A-4BF2-9016-8B72C443D124}"/>
              </a:ext>
            </a:extLst>
          </p:cNvPr>
          <p:cNvGraphicFramePr>
            <a:graphicFrameLocks noChangeAspect="1"/>
          </p:cNvGraphicFramePr>
          <p:nvPr userDrawn="1">
            <p:custDataLst>
              <p:tags r:id="rId2"/>
            </p:custDataLst>
            <p:extLst>
              <p:ext uri="{D42A27DB-BD31-4B8C-83A1-F6EECF244321}">
                <p14:modId xmlns:p14="http://schemas.microsoft.com/office/powerpoint/2010/main" val="331643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5"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92C3FD3E-9FAB-4C73-91B4-A881881A9F57}"/>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pic>
        <p:nvPicPr>
          <p:cNvPr id="6" name="Picture 5">
            <a:extLst>
              <a:ext uri="{FF2B5EF4-FFF2-40B4-BE49-F238E27FC236}">
                <a16:creationId xmlns:a16="http://schemas.microsoft.com/office/drawing/2014/main" id="{FF3DBB54-6E3D-4C6F-BE7C-C3189EB235E0}"/>
              </a:ext>
            </a:extLst>
          </p:cNvPr>
          <p:cNvPicPr>
            <a:picLocks noChangeAspect="1"/>
          </p:cNvPicPr>
          <p:nvPr userDrawn="1"/>
        </p:nvPicPr>
        <p:blipFill>
          <a:blip r:embed="rId3"/>
          <a:stretch>
            <a:fillRect/>
          </a:stretch>
        </p:blipFill>
        <p:spPr>
          <a:xfrm>
            <a:off x="-2" y="0"/>
            <a:ext cx="12192000" cy="6858000"/>
          </a:xfrm>
          <a:prstGeom prst="rect">
            <a:avLst/>
          </a:prstGeom>
        </p:spPr>
      </p:pic>
      <p:sp>
        <p:nvSpPr>
          <p:cNvPr id="10" name="Overlay">
            <a:extLst>
              <a:ext uri="{FF2B5EF4-FFF2-40B4-BE49-F238E27FC236}">
                <a16:creationId xmlns:a16="http://schemas.microsoft.com/office/drawing/2014/main" id="{BA31C702-0D52-4944-B362-3A77A304A37B}"/>
              </a:ext>
            </a:extLst>
          </p:cNvPr>
          <p:cNvSpPr/>
          <p:nvPr userDrawn="1">
            <p:custDataLst>
              <p:tags r:id="rId1"/>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0977B4A-8430-4CA8-88F2-26FB1E386D19}"/>
              </a:ext>
            </a:extLst>
          </p:cNvPr>
          <p:cNvGraphicFramePr>
            <a:graphicFrameLocks noChangeAspect="1"/>
          </p:cNvGraphicFramePr>
          <p:nvPr userDrawn="1">
            <p:custDataLst>
              <p:tags r:id="rId2"/>
            </p:custDataLst>
            <p:extLst>
              <p:ext uri="{D42A27DB-BD31-4B8C-83A1-F6EECF244321}">
                <p14:modId xmlns:p14="http://schemas.microsoft.com/office/powerpoint/2010/main" val="33829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437EC905-344F-4CF8-AAA5-B4E37FB62431}"/>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7"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36FE0BF0-6D1D-4FB0-B7FD-3FD6265C5D18}"/>
              </a:ext>
            </a:extLst>
          </p:cNvPr>
          <p:cNvPicPr>
            <a:picLocks noChangeAspect="1"/>
          </p:cNvPicPr>
          <p:nvPr userDrawn="1"/>
        </p:nvPicPr>
        <p:blipFill>
          <a:blip r:embed="rId6">
            <a:extLst>
              <a:ext uri="{BEBA8EAE-BF5A-486C-A8C5-ECC9F3942E4B}">
                <a14:imgProps xmlns:a14="http://schemas.microsoft.com/office/drawing/2010/main">
                  <a14:imgLayer r:embed="rId7">
                    <a14:imgEffect>
                      <a14:colorTemperature colorTemp="11200"/>
                    </a14:imgEffect>
                  </a14:imgLayer>
                </a14:imgProps>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78D10DCD-B12E-43FF-9681-9F850DFE75BF}"/>
              </a:ext>
            </a:extLst>
          </p:cNvPr>
          <p:cNvSpPr/>
          <p:nvPr userDrawn="1"/>
        </p:nvSpPr>
        <p:spPr>
          <a:xfrm>
            <a:off x="-1" y="0"/>
            <a:ext cx="12192000" cy="6858000"/>
          </a:xfrm>
          <a:prstGeom prst="rect">
            <a:avLst/>
          </a:prstGeom>
          <a:solidFill>
            <a:srgbClr val="000000">
              <a:alpha val="6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descr="Text&#10;&#10;Description automatically generated">
            <a:extLst>
              <a:ext uri="{FF2B5EF4-FFF2-40B4-BE49-F238E27FC236}">
                <a16:creationId xmlns:a16="http://schemas.microsoft.com/office/drawing/2014/main" id="{7AF55CC9-F084-4EDF-BAB8-76C2EFCBDB5E}"/>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261808" y="2775944"/>
            <a:ext cx="5041845" cy="2235649"/>
          </a:xfrm>
          <a:prstGeom prst="rect">
            <a:avLst/>
          </a:prstGeom>
        </p:spPr>
      </p:pic>
      <p:sp>
        <p:nvSpPr>
          <p:cNvPr id="13" name="Rectangle 12">
            <a:extLst>
              <a:ext uri="{FF2B5EF4-FFF2-40B4-BE49-F238E27FC236}">
                <a16:creationId xmlns:a16="http://schemas.microsoft.com/office/drawing/2014/main" id="{45A3192E-5E01-4AA8-B2DD-60DA744E7BAC}"/>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610566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1"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7B39A0A3-F4B3-4EC4-B252-E6AE427AB3D0}"/>
              </a:ext>
            </a:extLst>
          </p:cNvPr>
          <p:cNvPicPr>
            <a:picLocks noChangeAspect="1"/>
          </p:cNvPicPr>
          <p:nvPr userDrawn="1"/>
        </p:nvPicPr>
        <p:blipFill>
          <a:blip r:embed="rId6"/>
          <a:stretch>
            <a:fillRect/>
          </a:stretch>
        </p:blipFill>
        <p:spPr>
          <a:xfrm>
            <a:off x="-1" y="0"/>
            <a:ext cx="12208043" cy="6890084"/>
          </a:xfrm>
          <a:prstGeom prst="rect">
            <a:avLst/>
          </a:prstGeom>
        </p:spPr>
      </p:pic>
      <p:sp>
        <p:nvSpPr>
          <p:cNvPr id="8" name="Rectangle 7">
            <a:extLst>
              <a:ext uri="{FF2B5EF4-FFF2-40B4-BE49-F238E27FC236}">
                <a16:creationId xmlns:a16="http://schemas.microsoft.com/office/drawing/2014/main" id="{46AF1CEC-60FF-4796-886B-67ADF2A1AA8E}"/>
              </a:ext>
            </a:extLst>
          </p:cNvPr>
          <p:cNvSpPr/>
          <p:nvPr userDrawn="1"/>
        </p:nvSpPr>
        <p:spPr>
          <a:xfrm>
            <a:off x="-1" y="-13587"/>
            <a:ext cx="12208043" cy="6871587"/>
          </a:xfrm>
          <a:prstGeom prst="rect">
            <a:avLst/>
          </a:prstGeom>
          <a:solidFill>
            <a:srgbClr val="000000">
              <a:alpha val="6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9" name="Picture 8" descr="Text&#10;&#10;Description automatically generated">
            <a:extLst>
              <a:ext uri="{FF2B5EF4-FFF2-40B4-BE49-F238E27FC236}">
                <a16:creationId xmlns:a16="http://schemas.microsoft.com/office/drawing/2014/main" id="{412E933E-ADAA-4BE1-A903-CA4947028C44}"/>
              </a:ext>
            </a:extLst>
          </p:cNvPr>
          <p:cNvPicPr>
            <a:picLocks noChangeAspect="1"/>
          </p:cNvPicPr>
          <p:nvPr userDrawn="1"/>
        </p:nvPicPr>
        <p:blipFill rotWithShape="1">
          <a:blip r:embed="rId7">
            <a:clrChange>
              <a:clrFrom>
                <a:srgbClr val="040707"/>
              </a:clrFrom>
              <a:clrTo>
                <a:srgbClr val="040707">
                  <a:alpha val="0"/>
                </a:srgbClr>
              </a:clrTo>
            </a:clrChange>
          </a:blip>
          <a:srcRect r="1718" b="51704"/>
          <a:stretch/>
        </p:blipFill>
        <p:spPr>
          <a:xfrm>
            <a:off x="53262" y="3003326"/>
            <a:ext cx="5041845" cy="2235649"/>
          </a:xfrm>
          <a:prstGeom prst="rect">
            <a:avLst/>
          </a:prstGeom>
        </p:spPr>
      </p:pic>
    </p:spTree>
    <p:extLst>
      <p:ext uri="{BB962C8B-B14F-4D97-AF65-F5344CB8AC3E}">
        <p14:creationId xmlns:p14="http://schemas.microsoft.com/office/powerpoint/2010/main" val="148956140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02672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9"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a:extLst>
              <a:ext uri="{FF2B5EF4-FFF2-40B4-BE49-F238E27FC236}">
                <a16:creationId xmlns:a16="http://schemas.microsoft.com/office/drawing/2014/main" id="{F8AD192A-B366-4929-9E83-CC82FE747446}"/>
              </a:ext>
            </a:extLst>
          </p:cNvPr>
          <p:cNvPicPr>
            <a:picLocks noChangeAspect="1"/>
          </p:cNvPicPr>
          <p:nvPr userDrawn="1"/>
        </p:nvPicPr>
        <p:blipFill>
          <a:blip r:embed="rId7">
            <a:extLst>
              <a:ext uri="{BEBA8EAE-BF5A-486C-A8C5-ECC9F3942E4B}">
                <a14:imgProps xmlns:a14="http://schemas.microsoft.com/office/drawing/2010/main">
                  <a14:imgLayer r:embed="rId8">
                    <a14:imgEffect>
                      <a14:colorTemperature colorTemp="11200"/>
                    </a14:imgEffect>
                  </a14:imgLayer>
                </a14:imgProps>
              </a:ext>
            </a:extLst>
          </a:blip>
          <a:stretch>
            <a:fillRect/>
          </a:stretch>
        </p:blipFill>
        <p:spPr>
          <a:xfrm>
            <a:off x="0" y="0"/>
            <a:ext cx="12192000" cy="6858000"/>
          </a:xfrm>
          <a:prstGeom prst="rect">
            <a:avLst/>
          </a:prstGeom>
        </p:spPr>
      </p:pic>
      <p:sp>
        <p:nvSpPr>
          <p:cNvPr id="17" name="Rectangle 16">
            <a:extLst>
              <a:ext uri="{FF2B5EF4-FFF2-40B4-BE49-F238E27FC236}">
                <a16:creationId xmlns:a16="http://schemas.microsoft.com/office/drawing/2014/main" id="{59920E68-2A7F-4959-85AC-BBC959263806}"/>
              </a:ext>
            </a:extLst>
          </p:cNvPr>
          <p:cNvSpPr/>
          <p:nvPr userDrawn="1"/>
        </p:nvSpPr>
        <p:spPr>
          <a:xfrm>
            <a:off x="1" y="2012954"/>
            <a:ext cx="6857999" cy="3669029"/>
          </a:xfrm>
          <a:prstGeom prst="rect">
            <a:avLst/>
          </a:prstGeom>
          <a:solidFill>
            <a:srgbClr val="000000">
              <a:alpha val="88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9" name="Picture 18" descr="Text&#10;&#10;Description automatically generated">
            <a:extLst>
              <a:ext uri="{FF2B5EF4-FFF2-40B4-BE49-F238E27FC236}">
                <a16:creationId xmlns:a16="http://schemas.microsoft.com/office/drawing/2014/main" id="{61ED11D6-C6AE-4BBF-99D1-426ACB58F6CB}"/>
              </a:ext>
            </a:extLst>
          </p:cNvPr>
          <p:cNvPicPr>
            <a:picLocks noChangeAspect="1"/>
          </p:cNvPicPr>
          <p:nvPr userDrawn="1"/>
        </p:nvPicPr>
        <p:blipFill rotWithShape="1">
          <a:blip r:embed="rId9">
            <a:clrChange>
              <a:clrFrom>
                <a:srgbClr val="040707"/>
              </a:clrFrom>
              <a:clrTo>
                <a:srgbClr val="040707">
                  <a:alpha val="0"/>
                </a:srgbClr>
              </a:clrTo>
            </a:clrChange>
          </a:blip>
          <a:srcRect r="1718" b="51704"/>
          <a:stretch/>
        </p:blipFill>
        <p:spPr>
          <a:xfrm>
            <a:off x="376108" y="2528856"/>
            <a:ext cx="3413477" cy="1513600"/>
          </a:xfrm>
          <a:prstGeom prst="rect">
            <a:avLst/>
          </a:prstGeom>
        </p:spPr>
      </p:pic>
      <p:sp>
        <p:nvSpPr>
          <p:cNvPr id="23" name="Rectangle 22">
            <a:extLst>
              <a:ext uri="{FF2B5EF4-FFF2-40B4-BE49-F238E27FC236}">
                <a16:creationId xmlns:a16="http://schemas.microsoft.com/office/drawing/2014/main" id="{B9F768F7-874F-4DFF-B14F-13D7416C9DEE}"/>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4" name="Title 1">
            <a:extLst>
              <a:ext uri="{FF2B5EF4-FFF2-40B4-BE49-F238E27FC236}">
                <a16:creationId xmlns:a16="http://schemas.microsoft.com/office/drawing/2014/main" id="{3CD14146-E533-4542-8F01-155821D09F11}"/>
              </a:ext>
            </a:extLst>
          </p:cNvPr>
          <p:cNvSpPr>
            <a:spLocks noGrp="1"/>
          </p:cNvSpPr>
          <p:nvPr>
            <p:ph type="ctrTitle" hasCustomPrompt="1"/>
          </p:nvPr>
        </p:nvSpPr>
        <p:spPr bwMode="ltGray">
          <a:xfrm>
            <a:off x="719008" y="3873500"/>
            <a:ext cx="6037392" cy="1303020"/>
          </a:xfrm>
          <a:prstGeom prst="rect">
            <a:avLst/>
          </a:prstGeom>
        </p:spPr>
        <p:txBody>
          <a:bodyPr anchor="t">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25" name="Text Placeholder 6">
            <a:extLst>
              <a:ext uri="{FF2B5EF4-FFF2-40B4-BE49-F238E27FC236}">
                <a16:creationId xmlns:a16="http://schemas.microsoft.com/office/drawing/2014/main" id="{563A8A67-F252-4EB9-94B8-E60211B2ED88}"/>
              </a:ext>
            </a:extLst>
          </p:cNvPr>
          <p:cNvSpPr>
            <a:spLocks noGrp="1"/>
          </p:cNvSpPr>
          <p:nvPr>
            <p:ph type="body" sz="quarter" idx="12" hasCustomPrompt="1"/>
          </p:nvPr>
        </p:nvSpPr>
        <p:spPr bwMode="black">
          <a:xfrm>
            <a:off x="9344639" y="626193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43586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1C54F24B-2251-49AA-BA45-1EAD53472F04}"/>
              </a:ext>
            </a:extLst>
          </p:cNvPr>
          <p:cNvPicPr>
            <a:picLocks noChangeAspect="1"/>
          </p:cNvPicPr>
          <p:nvPr userDrawn="1"/>
        </p:nvPicPr>
        <p:blipFill>
          <a:blip r:embed="rId7">
            <a:extLst>
              <a:ext uri="{BEBA8EAE-BF5A-486C-A8C5-ECC9F3942E4B}">
                <a14:imgProps xmlns:a14="http://schemas.microsoft.com/office/drawing/2010/main">
                  <a14:imgLayer r:embed="rId8">
                    <a14:imgEffect>
                      <a14:colorTemperature colorTemp="11200"/>
                    </a14:imgEffect>
                  </a14:imgLayer>
                </a14:imgProps>
              </a:ext>
            </a:extLst>
          </a:blip>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8B418CF-D336-4274-B0FF-6B18F96DAE92}"/>
              </a:ext>
            </a:extLst>
          </p:cNvPr>
          <p:cNvSpPr/>
          <p:nvPr userDrawn="1"/>
        </p:nvSpPr>
        <p:spPr>
          <a:xfrm>
            <a:off x="1" y="0"/>
            <a:ext cx="12191999" cy="5681983"/>
          </a:xfrm>
          <a:prstGeom prst="rect">
            <a:avLst/>
          </a:prstGeom>
          <a:solidFill>
            <a:srgbClr val="000000">
              <a:alpha val="83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7" name="Picture 16" descr="Text&#10;&#10;Description automatically generated">
            <a:extLst>
              <a:ext uri="{FF2B5EF4-FFF2-40B4-BE49-F238E27FC236}">
                <a16:creationId xmlns:a16="http://schemas.microsoft.com/office/drawing/2014/main" id="{A3270A9F-8C65-4902-B9F6-D4A022D1F7CC}"/>
              </a:ext>
            </a:extLst>
          </p:cNvPr>
          <p:cNvPicPr>
            <a:picLocks noChangeAspect="1"/>
          </p:cNvPicPr>
          <p:nvPr userDrawn="1"/>
        </p:nvPicPr>
        <p:blipFill rotWithShape="1">
          <a:blip r:embed="rId9">
            <a:clrChange>
              <a:clrFrom>
                <a:srgbClr val="040707"/>
              </a:clrFrom>
              <a:clrTo>
                <a:srgbClr val="040707">
                  <a:alpha val="0"/>
                </a:srgbClr>
              </a:clrTo>
            </a:clrChange>
          </a:blip>
          <a:srcRect r="1718" b="51704"/>
          <a:stretch/>
        </p:blipFill>
        <p:spPr>
          <a:xfrm>
            <a:off x="376108" y="2528856"/>
            <a:ext cx="3413477" cy="1513600"/>
          </a:xfrm>
          <a:prstGeom prst="rect">
            <a:avLst/>
          </a:prstGeom>
        </p:spPr>
      </p:pic>
      <p:sp>
        <p:nvSpPr>
          <p:cNvPr id="19" name="Rectangle 18">
            <a:extLst>
              <a:ext uri="{FF2B5EF4-FFF2-40B4-BE49-F238E27FC236}">
                <a16:creationId xmlns:a16="http://schemas.microsoft.com/office/drawing/2014/main" id="{600A81B6-75C6-404D-B72D-6A25A22A0FA7}"/>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873500"/>
            <a:ext cx="6037392" cy="1303020"/>
          </a:xfrm>
          <a:prstGeom prst="rect">
            <a:avLst/>
          </a:prstGeom>
        </p:spPr>
        <p:txBody>
          <a:bodyPr anchor="t">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626193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19359235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95991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E419EA9E-EB50-4D99-8ADC-8666EDCE20DC}"/>
              </a:ext>
            </a:extLst>
          </p:cNvPr>
          <p:cNvPicPr>
            <a:picLocks noChangeAspect="1"/>
          </p:cNvPicPr>
          <p:nvPr userDrawn="1"/>
        </p:nvPicPr>
        <p:blipFill>
          <a:blip r:embed="rId7"/>
          <a:stretch>
            <a:fillRect/>
          </a:stretch>
        </p:blipFill>
        <p:spPr>
          <a:xfrm>
            <a:off x="-1" y="0"/>
            <a:ext cx="12208043" cy="6890084"/>
          </a:xfrm>
          <a:prstGeom prst="rect">
            <a:avLst/>
          </a:prstGeom>
        </p:spPr>
      </p:pic>
      <p:sp>
        <p:nvSpPr>
          <p:cNvPr id="14" name="Rectangle 13">
            <a:extLst>
              <a:ext uri="{FF2B5EF4-FFF2-40B4-BE49-F238E27FC236}">
                <a16:creationId xmlns:a16="http://schemas.microsoft.com/office/drawing/2014/main" id="{DC814D9F-016B-45D9-BB90-91E8B3F44D81}"/>
              </a:ext>
            </a:extLst>
          </p:cNvPr>
          <p:cNvSpPr/>
          <p:nvPr userDrawn="1"/>
        </p:nvSpPr>
        <p:spPr>
          <a:xfrm>
            <a:off x="0" y="1482789"/>
            <a:ext cx="7459580" cy="4678299"/>
          </a:xfrm>
          <a:prstGeom prst="rect">
            <a:avLst/>
          </a:prstGeom>
          <a:solidFill>
            <a:srgbClr val="000000">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491990"/>
            <a:ext cx="6037392" cy="822960"/>
          </a:xfrm>
          <a:prstGeom prst="rect">
            <a:avLst/>
          </a:prstGeom>
        </p:spPr>
        <p:txBody>
          <a:bodyPr anchor="ctr">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11" name="Rectangle 10">
            <a:extLst>
              <a:ext uri="{FF2B5EF4-FFF2-40B4-BE49-F238E27FC236}">
                <a16:creationId xmlns:a16="http://schemas.microsoft.com/office/drawing/2014/main" id="{4C918202-8024-40C5-8742-5F8294D03FD5}"/>
              </a:ext>
            </a:extLst>
          </p:cNvPr>
          <p:cNvSpPr/>
          <p:nvPr userDrawn="1"/>
        </p:nvSpPr>
        <p:spPr>
          <a:xfrm flipH="1">
            <a:off x="-1" y="3491990"/>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descr="Text&#10;&#10;Description automatically generated">
            <a:extLst>
              <a:ext uri="{FF2B5EF4-FFF2-40B4-BE49-F238E27FC236}">
                <a16:creationId xmlns:a16="http://schemas.microsoft.com/office/drawing/2014/main" id="{623BF0C3-98E7-4B98-A189-744E448AEC5E}"/>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239455" y="1694350"/>
            <a:ext cx="3346384" cy="1483850"/>
          </a:xfrm>
          <a:prstGeom prst="rect">
            <a:avLst/>
          </a:prstGeom>
        </p:spPr>
      </p:pic>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549220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34091168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_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93102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E419EA9E-EB50-4D99-8ADC-8666EDCE20DC}"/>
              </a:ext>
            </a:extLst>
          </p:cNvPr>
          <p:cNvPicPr>
            <a:picLocks noChangeAspect="1"/>
          </p:cNvPicPr>
          <p:nvPr userDrawn="1"/>
        </p:nvPicPr>
        <p:blipFill>
          <a:blip r:embed="rId7"/>
          <a:stretch>
            <a:fillRect/>
          </a:stretch>
        </p:blipFill>
        <p:spPr>
          <a:xfrm>
            <a:off x="-1" y="0"/>
            <a:ext cx="12208043" cy="6890084"/>
          </a:xfrm>
          <a:prstGeom prst="rect">
            <a:avLst/>
          </a:prstGeom>
        </p:spPr>
      </p:pic>
      <p:sp>
        <p:nvSpPr>
          <p:cNvPr id="13" name="Rectangle 12">
            <a:extLst>
              <a:ext uri="{FF2B5EF4-FFF2-40B4-BE49-F238E27FC236}">
                <a16:creationId xmlns:a16="http://schemas.microsoft.com/office/drawing/2014/main" id="{0E8C20C0-AEFC-41EA-B163-CB841ECBE913}"/>
              </a:ext>
            </a:extLst>
          </p:cNvPr>
          <p:cNvSpPr/>
          <p:nvPr userDrawn="1"/>
        </p:nvSpPr>
        <p:spPr>
          <a:xfrm>
            <a:off x="-16043" y="0"/>
            <a:ext cx="12208043" cy="5529943"/>
          </a:xfrm>
          <a:prstGeom prst="rect">
            <a:avLst/>
          </a:prstGeom>
          <a:solidFill>
            <a:srgbClr val="000000">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491990"/>
            <a:ext cx="6037392" cy="822960"/>
          </a:xfrm>
          <a:prstGeom prst="rect">
            <a:avLst/>
          </a:prstGeom>
        </p:spPr>
        <p:txBody>
          <a:bodyPr anchor="ctr">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11" name="Rectangle 10">
            <a:extLst>
              <a:ext uri="{FF2B5EF4-FFF2-40B4-BE49-F238E27FC236}">
                <a16:creationId xmlns:a16="http://schemas.microsoft.com/office/drawing/2014/main" id="{4C918202-8024-40C5-8742-5F8294D03FD5}"/>
              </a:ext>
            </a:extLst>
          </p:cNvPr>
          <p:cNvSpPr/>
          <p:nvPr userDrawn="1"/>
        </p:nvSpPr>
        <p:spPr>
          <a:xfrm flipH="1">
            <a:off x="-1" y="3491990"/>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descr="Text&#10;&#10;Description automatically generated">
            <a:extLst>
              <a:ext uri="{FF2B5EF4-FFF2-40B4-BE49-F238E27FC236}">
                <a16:creationId xmlns:a16="http://schemas.microsoft.com/office/drawing/2014/main" id="{623BF0C3-98E7-4B98-A189-744E448AEC5E}"/>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239455" y="1694350"/>
            <a:ext cx="3346384" cy="1483850"/>
          </a:xfrm>
          <a:prstGeom prst="rect">
            <a:avLst/>
          </a:prstGeom>
        </p:spPr>
      </p:pic>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6100528"/>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319749137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25740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E419EA9E-EB50-4D99-8ADC-8666EDCE20DC}"/>
              </a:ext>
            </a:extLst>
          </p:cNvPr>
          <p:cNvPicPr>
            <a:picLocks noChangeAspect="1"/>
          </p:cNvPicPr>
          <p:nvPr userDrawn="1"/>
        </p:nvPicPr>
        <p:blipFill>
          <a:blip r:embed="rId7"/>
          <a:stretch>
            <a:fillRect/>
          </a:stretch>
        </p:blipFill>
        <p:spPr>
          <a:xfrm>
            <a:off x="-1" y="0"/>
            <a:ext cx="12208043" cy="6890084"/>
          </a:xfrm>
          <a:prstGeom prst="rect">
            <a:avLst/>
          </a:prstGeom>
        </p:spPr>
      </p:pic>
      <p:sp>
        <p:nvSpPr>
          <p:cNvPr id="13" name="Rectangle 12">
            <a:extLst>
              <a:ext uri="{FF2B5EF4-FFF2-40B4-BE49-F238E27FC236}">
                <a16:creationId xmlns:a16="http://schemas.microsoft.com/office/drawing/2014/main" id="{0E8C20C0-AEFC-41EA-B163-CB841ECBE913}"/>
              </a:ext>
            </a:extLst>
          </p:cNvPr>
          <p:cNvSpPr/>
          <p:nvPr userDrawn="1"/>
        </p:nvSpPr>
        <p:spPr>
          <a:xfrm>
            <a:off x="-16043" y="0"/>
            <a:ext cx="12208043" cy="5529943"/>
          </a:xfrm>
          <a:prstGeom prst="rect">
            <a:avLst/>
          </a:prstGeom>
          <a:solidFill>
            <a:srgbClr val="000000">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719008" y="3491990"/>
            <a:ext cx="6037392" cy="822960"/>
          </a:xfrm>
          <a:prstGeom prst="rect">
            <a:avLst/>
          </a:prstGeom>
        </p:spPr>
        <p:txBody>
          <a:bodyPr anchor="ctr">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a:t>Title in Title Case</a:t>
            </a:r>
          </a:p>
        </p:txBody>
      </p:sp>
      <p:sp>
        <p:nvSpPr>
          <p:cNvPr id="11" name="Rectangle 10">
            <a:extLst>
              <a:ext uri="{FF2B5EF4-FFF2-40B4-BE49-F238E27FC236}">
                <a16:creationId xmlns:a16="http://schemas.microsoft.com/office/drawing/2014/main" id="{4C918202-8024-40C5-8742-5F8294D03FD5}"/>
              </a:ext>
            </a:extLst>
          </p:cNvPr>
          <p:cNvSpPr/>
          <p:nvPr userDrawn="1"/>
        </p:nvSpPr>
        <p:spPr>
          <a:xfrm flipH="1">
            <a:off x="-1" y="3491990"/>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descr="Text&#10;&#10;Description automatically generated">
            <a:extLst>
              <a:ext uri="{FF2B5EF4-FFF2-40B4-BE49-F238E27FC236}">
                <a16:creationId xmlns:a16="http://schemas.microsoft.com/office/drawing/2014/main" id="{623BF0C3-98E7-4B98-A189-744E448AEC5E}"/>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239455" y="1694350"/>
            <a:ext cx="3346384" cy="1483850"/>
          </a:xfrm>
          <a:prstGeom prst="rect">
            <a:avLst/>
          </a:prstGeom>
        </p:spPr>
      </p:pic>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6100528"/>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40264125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4_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34307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3A39AEA0-2E69-4739-B268-4E17AAFCB76D}"/>
              </a:ext>
            </a:extLst>
          </p:cNvPr>
          <p:cNvSpPr/>
          <p:nvPr userDrawn="1"/>
        </p:nvSpPr>
        <p:spPr>
          <a:xfrm>
            <a:off x="0" y="4146977"/>
            <a:ext cx="12192000" cy="2711023"/>
          </a:xfrm>
          <a:prstGeom prst="rect">
            <a:avLst/>
          </a:prstGeom>
          <a:solidFill>
            <a:srgbClr val="0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5" name="Picture 14">
            <a:extLst>
              <a:ext uri="{FF2B5EF4-FFF2-40B4-BE49-F238E27FC236}">
                <a16:creationId xmlns:a16="http://schemas.microsoft.com/office/drawing/2014/main" id="{AFFEB9A6-4F0E-4AB7-B6C6-B3884B163F6C}"/>
              </a:ext>
            </a:extLst>
          </p:cNvPr>
          <p:cNvPicPr>
            <a:picLocks noChangeAspect="1"/>
          </p:cNvPicPr>
          <p:nvPr userDrawn="1"/>
        </p:nvPicPr>
        <p:blipFill>
          <a:blip r:embed="rId7">
            <a:extLst>
              <a:ext uri="{BEBA8EAE-BF5A-486C-A8C5-ECC9F3942E4B}">
                <a14:imgProps xmlns:a14="http://schemas.microsoft.com/office/drawing/2010/main">
                  <a14:imgLayer r:embed="rId8">
                    <a14:imgEffect>
                      <a14:colorTemperature colorTemp="11200"/>
                    </a14:imgEffect>
                  </a14:imgLayer>
                </a14:imgProps>
              </a:ext>
            </a:extLst>
          </a:blip>
          <a:stretch>
            <a:fillRect/>
          </a:stretch>
        </p:blipFill>
        <p:spPr>
          <a:xfrm>
            <a:off x="0" y="-5923"/>
            <a:ext cx="12192000" cy="4152900"/>
          </a:xfrm>
          <a:prstGeom prst="rect">
            <a:avLst/>
          </a:prstGeom>
        </p:spPr>
      </p:pic>
      <p:sp>
        <p:nvSpPr>
          <p:cNvPr id="27" name="Title 1"/>
          <p:cNvSpPr>
            <a:spLocks noGrp="1"/>
          </p:cNvSpPr>
          <p:nvPr>
            <p:ph type="ctrTitle" hasCustomPrompt="1"/>
          </p:nvPr>
        </p:nvSpPr>
        <p:spPr bwMode="ltGray">
          <a:xfrm>
            <a:off x="628649" y="4575067"/>
            <a:ext cx="10934700" cy="430887"/>
          </a:xfrm>
          <a:prstGeom prst="rect">
            <a:avLst/>
          </a:prstGeom>
        </p:spPr>
        <p:txBody>
          <a:bodyPr anchor="ctr">
            <a:noAutofit/>
          </a:bodyPr>
          <a:lstStyle>
            <a:lvl1pPr algn="l">
              <a:lnSpc>
                <a:spcPct val="93000"/>
              </a:lnSpc>
              <a:defRPr sz="2400" baseline="0">
                <a:solidFill>
                  <a:schemeClr val="bg1"/>
                </a:solidFill>
                <a:latin typeface="+mj-lt"/>
                <a:sym typeface="Trebuchet MS" panose="020B0603020202020204" pitchFamily="34" charset="0"/>
              </a:defRPr>
            </a:lvl1pPr>
          </a:lstStyle>
          <a:p>
            <a:r>
              <a:rPr lang="en-US"/>
              <a:t>Title in Title Case</a:t>
            </a:r>
          </a:p>
        </p:txBody>
      </p:sp>
      <p:sp>
        <p:nvSpPr>
          <p:cNvPr id="17" name="TextBox 16">
            <a:extLst>
              <a:ext uri="{FF2B5EF4-FFF2-40B4-BE49-F238E27FC236}">
                <a16:creationId xmlns:a16="http://schemas.microsoft.com/office/drawing/2014/main" id="{796312CE-C289-4BB0-B832-04733478C47D}"/>
              </a:ext>
            </a:extLst>
          </p:cNvPr>
          <p:cNvSpPr txBox="1"/>
          <p:nvPr userDrawn="1"/>
        </p:nvSpPr>
        <p:spPr>
          <a:xfrm>
            <a:off x="628649" y="3152004"/>
            <a:ext cx="169302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6000">
                <a:solidFill>
                  <a:schemeClr val="bg1"/>
                </a:solidFill>
                <a:cs typeface="Henderson BCG Mod" panose="02060703040403060203" pitchFamily="18" charset="0"/>
              </a:rPr>
              <a:t>01</a:t>
            </a:r>
          </a:p>
        </p:txBody>
      </p:sp>
      <p:sp>
        <p:nvSpPr>
          <p:cNvPr id="18" name="Rectangle 17">
            <a:extLst>
              <a:ext uri="{FF2B5EF4-FFF2-40B4-BE49-F238E27FC236}">
                <a16:creationId xmlns:a16="http://schemas.microsoft.com/office/drawing/2014/main" id="{BC333491-99AB-423C-B006-B73425B0423A}"/>
              </a:ext>
            </a:extLst>
          </p:cNvPr>
          <p:cNvSpPr/>
          <p:nvPr userDrawn="1"/>
        </p:nvSpPr>
        <p:spPr>
          <a:xfrm rot="5400000" flipH="1">
            <a:off x="685800" y="3452685"/>
            <a:ext cx="182880" cy="155448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198194075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5_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93958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0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719C14DC-995F-43D8-964D-BD81E1911DDA}"/>
              </a:ext>
            </a:extLst>
          </p:cNvPr>
          <p:cNvPicPr>
            <a:picLocks noChangeAspect="1"/>
          </p:cNvPicPr>
          <p:nvPr userDrawn="1"/>
        </p:nvPicPr>
        <p:blipFill>
          <a:blip r:embed="rId7"/>
          <a:stretch>
            <a:fillRect/>
          </a:stretch>
        </p:blipFill>
        <p:spPr>
          <a:xfrm>
            <a:off x="0" y="17249"/>
            <a:ext cx="12192000" cy="4160520"/>
          </a:xfrm>
          <a:prstGeom prst="rect">
            <a:avLst/>
          </a:prstGeom>
        </p:spPr>
      </p:pic>
      <p:sp>
        <p:nvSpPr>
          <p:cNvPr id="14" name="Rectangle 13">
            <a:extLst>
              <a:ext uri="{FF2B5EF4-FFF2-40B4-BE49-F238E27FC236}">
                <a16:creationId xmlns:a16="http://schemas.microsoft.com/office/drawing/2014/main" id="{3A39AEA0-2E69-4739-B268-4E17AAFCB76D}"/>
              </a:ext>
            </a:extLst>
          </p:cNvPr>
          <p:cNvSpPr/>
          <p:nvPr userDrawn="1"/>
        </p:nvSpPr>
        <p:spPr>
          <a:xfrm>
            <a:off x="0" y="4146977"/>
            <a:ext cx="12192000" cy="2711023"/>
          </a:xfrm>
          <a:prstGeom prst="rect">
            <a:avLst/>
          </a:prstGeom>
          <a:solidFill>
            <a:srgbClr val="0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628649" y="4575067"/>
            <a:ext cx="10934700" cy="430887"/>
          </a:xfrm>
          <a:prstGeom prst="rect">
            <a:avLst/>
          </a:prstGeom>
        </p:spPr>
        <p:txBody>
          <a:bodyPr anchor="ctr">
            <a:noAutofit/>
          </a:bodyPr>
          <a:lstStyle>
            <a:lvl1pPr algn="l">
              <a:lnSpc>
                <a:spcPct val="93000"/>
              </a:lnSpc>
              <a:defRPr sz="2400" baseline="0">
                <a:solidFill>
                  <a:schemeClr val="bg1"/>
                </a:solidFill>
                <a:latin typeface="+mj-lt"/>
                <a:sym typeface="Trebuchet MS" panose="020B0603020202020204" pitchFamily="34" charset="0"/>
              </a:defRPr>
            </a:lvl1pPr>
          </a:lstStyle>
          <a:p>
            <a:r>
              <a:rPr lang="en-US"/>
              <a:t>Title in Title Case</a:t>
            </a:r>
          </a:p>
        </p:txBody>
      </p:sp>
      <p:sp>
        <p:nvSpPr>
          <p:cNvPr id="17" name="TextBox 16">
            <a:extLst>
              <a:ext uri="{FF2B5EF4-FFF2-40B4-BE49-F238E27FC236}">
                <a16:creationId xmlns:a16="http://schemas.microsoft.com/office/drawing/2014/main" id="{796312CE-C289-4BB0-B832-04733478C47D}"/>
              </a:ext>
            </a:extLst>
          </p:cNvPr>
          <p:cNvSpPr txBox="1"/>
          <p:nvPr userDrawn="1"/>
        </p:nvSpPr>
        <p:spPr>
          <a:xfrm>
            <a:off x="628649" y="3152004"/>
            <a:ext cx="169302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6000">
                <a:solidFill>
                  <a:schemeClr val="bg1"/>
                </a:solidFill>
                <a:cs typeface="Henderson BCG Mod" panose="02060703040403060203" pitchFamily="18" charset="0"/>
              </a:rPr>
              <a:t>02</a:t>
            </a:r>
          </a:p>
        </p:txBody>
      </p:sp>
      <p:sp>
        <p:nvSpPr>
          <p:cNvPr id="18" name="Rectangle 17">
            <a:extLst>
              <a:ext uri="{FF2B5EF4-FFF2-40B4-BE49-F238E27FC236}">
                <a16:creationId xmlns:a16="http://schemas.microsoft.com/office/drawing/2014/main" id="{BC333491-99AB-423C-B006-B73425B0423A}"/>
              </a:ext>
            </a:extLst>
          </p:cNvPr>
          <p:cNvSpPr/>
          <p:nvPr userDrawn="1"/>
        </p:nvSpPr>
        <p:spPr>
          <a:xfrm rot="5400000" flipH="1">
            <a:off x="685800" y="3452685"/>
            <a:ext cx="182880" cy="155448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167191530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E574F8-F3D9-4C21-9ACE-187BFA459F32}"/>
              </a:ext>
            </a:extLst>
          </p:cNvPr>
          <p:cNvGraphicFramePr>
            <a:graphicFrameLocks noChangeAspect="1"/>
          </p:cNvGraphicFramePr>
          <p:nvPr userDrawn="1">
            <p:custDataLst>
              <p:tags r:id="rId2"/>
            </p:custDataLst>
            <p:extLst>
              <p:ext uri="{D42A27DB-BD31-4B8C-83A1-F6EECF244321}">
                <p14:modId xmlns:p14="http://schemas.microsoft.com/office/powerpoint/2010/main" val="2879861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3"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CD17AC3-AC0C-4396-BC13-E2EC7DD532A8}"/>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E574F8-F3D9-4C21-9ACE-187BFA459F32}"/>
              </a:ext>
            </a:extLst>
          </p:cNvPr>
          <p:cNvGraphicFramePr>
            <a:graphicFrameLocks noChangeAspect="1"/>
          </p:cNvGraphicFramePr>
          <p:nvPr userDrawn="1">
            <p:custDataLst>
              <p:tags r:id="rId2"/>
            </p:custDataLst>
            <p:extLst>
              <p:ext uri="{D42A27DB-BD31-4B8C-83A1-F6EECF244321}">
                <p14:modId xmlns:p14="http://schemas.microsoft.com/office/powerpoint/2010/main" val="2283927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7"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0E574F8-F3D9-4C21-9ACE-187BFA459F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CD17AC3-AC0C-4396-BC13-E2EC7DD532A8}"/>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6" name="Graphic 5">
            <a:extLst>
              <a:ext uri="{FF2B5EF4-FFF2-40B4-BE49-F238E27FC236}">
                <a16:creationId xmlns:a16="http://schemas.microsoft.com/office/drawing/2014/main" id="{E6B818F7-67AA-4DE3-A569-6E37FE512720}"/>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55665590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4880DCD-F53B-4363-AA03-C9E003376135}"/>
              </a:ext>
            </a:extLst>
          </p:cNvPr>
          <p:cNvGraphicFramePr>
            <a:graphicFrameLocks noChangeAspect="1"/>
          </p:cNvGraphicFramePr>
          <p:nvPr userDrawn="1">
            <p:custDataLst>
              <p:tags r:id="rId2"/>
            </p:custDataLst>
            <p:extLst>
              <p:ext uri="{D42A27DB-BD31-4B8C-83A1-F6EECF244321}">
                <p14:modId xmlns:p14="http://schemas.microsoft.com/office/powerpoint/2010/main" val="2449717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1"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9A108-16D7-4964-9F47-EE01131AD76E}"/>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5" name="Graphic 4">
            <a:extLst>
              <a:ext uri="{FF2B5EF4-FFF2-40B4-BE49-F238E27FC236}">
                <a16:creationId xmlns:a16="http://schemas.microsoft.com/office/drawing/2014/main" id="{6CB34635-C3C2-4E50-94B2-34C997880D25}"/>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chemeClr val="tx2"/>
                </a:solidFill>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solidFill>
                  <a:schemeClr val="tx2"/>
                </a:solidFill>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AA432F-A32D-4E94-8F71-73DECCE1F6C7}"/>
              </a:ext>
            </a:extLst>
          </p:cNvPr>
          <p:cNvGraphicFramePr>
            <a:graphicFrameLocks noChangeAspect="1"/>
          </p:cNvGraphicFramePr>
          <p:nvPr userDrawn="1">
            <p:custDataLst>
              <p:tags r:id="rId2"/>
            </p:custDataLst>
            <p:extLst>
              <p:ext uri="{D42A27DB-BD31-4B8C-83A1-F6EECF244321}">
                <p14:modId xmlns:p14="http://schemas.microsoft.com/office/powerpoint/2010/main" val="124355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5"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83F3B2E-258C-48BD-A20E-707C03BE9096}"/>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pic>
        <p:nvPicPr>
          <p:cNvPr id="10" name="Graphic 9">
            <a:extLst>
              <a:ext uri="{FF2B5EF4-FFF2-40B4-BE49-F238E27FC236}">
                <a16:creationId xmlns:a16="http://schemas.microsoft.com/office/drawing/2014/main" id="{AD63DB26-4C92-4D68-94D1-9B600529619E}"/>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01C1F2-5C7A-4457-926E-4C4F6E7631D2}"/>
              </a:ext>
            </a:extLst>
          </p:cNvPr>
          <p:cNvGraphicFramePr>
            <a:graphicFrameLocks noChangeAspect="1"/>
          </p:cNvGraphicFramePr>
          <p:nvPr userDrawn="1">
            <p:custDataLst>
              <p:tags r:id="rId2"/>
            </p:custDataLst>
            <p:extLst>
              <p:ext uri="{D42A27DB-BD31-4B8C-83A1-F6EECF244321}">
                <p14:modId xmlns:p14="http://schemas.microsoft.com/office/powerpoint/2010/main" val="1416896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29"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F1378B7-6FDD-420B-807D-589A75A983F7}"/>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Graphic 6">
            <a:extLst>
              <a:ext uri="{FF2B5EF4-FFF2-40B4-BE49-F238E27FC236}">
                <a16:creationId xmlns:a16="http://schemas.microsoft.com/office/drawing/2014/main" id="{DCAC2CC1-626B-4C82-B9CD-3A288DECD085}"/>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0B2BB5-FA78-4AC3-A5EC-04D91C99E18D}"/>
              </a:ext>
            </a:extLst>
          </p:cNvPr>
          <p:cNvGraphicFramePr>
            <a:graphicFrameLocks noChangeAspect="1"/>
          </p:cNvGraphicFramePr>
          <p:nvPr userDrawn="1">
            <p:custDataLst>
              <p:tags r:id="rId2"/>
            </p:custDataLst>
            <p:extLst>
              <p:ext uri="{D42A27DB-BD31-4B8C-83A1-F6EECF244321}">
                <p14:modId xmlns:p14="http://schemas.microsoft.com/office/powerpoint/2010/main" val="4022335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3"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F0EE5F-63BC-4260-B167-7A49DA2C36FB}"/>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5" name="Graphic 4">
            <a:extLst>
              <a:ext uri="{FF2B5EF4-FFF2-40B4-BE49-F238E27FC236}">
                <a16:creationId xmlns:a16="http://schemas.microsoft.com/office/drawing/2014/main" id="{5F7D9331-EFF6-4D29-923A-AA79C62FA938}"/>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831DE2-8CFA-4099-B211-EC504319C905}"/>
              </a:ext>
            </a:extLst>
          </p:cNvPr>
          <p:cNvGraphicFramePr>
            <a:graphicFrameLocks noChangeAspect="1"/>
          </p:cNvGraphicFramePr>
          <p:nvPr userDrawn="1">
            <p:custDataLst>
              <p:tags r:id="rId2"/>
            </p:custDataLst>
            <p:extLst>
              <p:ext uri="{D42A27DB-BD31-4B8C-83A1-F6EECF244321}">
                <p14:modId xmlns:p14="http://schemas.microsoft.com/office/powerpoint/2010/main" val="535234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7"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4481D90-2F73-43D5-8ACC-3DDACFA64C95}"/>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3661E428-55DE-4BB2-B03D-F6D5B0DD184F}"/>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3" name="Overlay">
            <a:extLst>
              <a:ext uri="{FF2B5EF4-FFF2-40B4-BE49-F238E27FC236}">
                <a16:creationId xmlns:a16="http://schemas.microsoft.com/office/drawing/2014/main" id="{DA23AC88-CE5A-4884-AFC2-163B3DAD285C}"/>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D10983-72EA-4433-91AF-69E7C586FBEC}"/>
              </a:ext>
            </a:extLst>
          </p:cNvPr>
          <p:cNvGraphicFramePr>
            <a:graphicFrameLocks noChangeAspect="1"/>
          </p:cNvGraphicFramePr>
          <p:nvPr userDrawn="1">
            <p:custDataLst>
              <p:tags r:id="rId2"/>
            </p:custDataLst>
            <p:extLst>
              <p:ext uri="{D42A27DB-BD31-4B8C-83A1-F6EECF244321}">
                <p14:modId xmlns:p14="http://schemas.microsoft.com/office/powerpoint/2010/main" val="3245427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1"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1BAAAAE-93FE-4F47-828F-91BA29824D3A}"/>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89FFA903-0763-442E-B86D-97457370037E}"/>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3" name="Overlay">
            <a:extLst>
              <a:ext uri="{FF2B5EF4-FFF2-40B4-BE49-F238E27FC236}">
                <a16:creationId xmlns:a16="http://schemas.microsoft.com/office/drawing/2014/main" id="{3B0B1E50-479F-4825-BA7C-6D22BBE4270C}"/>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29657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3A39AEA0-2E69-4739-B268-4E17AAFCB76D}"/>
              </a:ext>
            </a:extLst>
          </p:cNvPr>
          <p:cNvSpPr/>
          <p:nvPr userDrawn="1"/>
        </p:nvSpPr>
        <p:spPr>
          <a:xfrm>
            <a:off x="0" y="4146977"/>
            <a:ext cx="12192000" cy="2711023"/>
          </a:xfrm>
          <a:prstGeom prst="rect">
            <a:avLst/>
          </a:prstGeom>
          <a:solidFill>
            <a:srgbClr val="0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5" name="Picture 14">
            <a:extLst>
              <a:ext uri="{FF2B5EF4-FFF2-40B4-BE49-F238E27FC236}">
                <a16:creationId xmlns:a16="http://schemas.microsoft.com/office/drawing/2014/main" id="{AFFEB9A6-4F0E-4AB7-B6C6-B3884B163F6C}"/>
              </a:ext>
            </a:extLst>
          </p:cNvPr>
          <p:cNvPicPr>
            <a:picLocks noChangeAspect="1"/>
          </p:cNvPicPr>
          <p:nvPr userDrawn="1"/>
        </p:nvPicPr>
        <p:blipFill>
          <a:blip r:embed="rId7">
            <a:extLst>
              <a:ext uri="{BEBA8EAE-BF5A-486C-A8C5-ECC9F3942E4B}">
                <a14:imgProps xmlns:a14="http://schemas.microsoft.com/office/drawing/2010/main">
                  <a14:imgLayer r:embed="rId8">
                    <a14:imgEffect>
                      <a14:colorTemperature colorTemp="11200"/>
                    </a14:imgEffect>
                  </a14:imgLayer>
                </a14:imgProps>
              </a:ext>
            </a:extLst>
          </a:blip>
          <a:stretch>
            <a:fillRect/>
          </a:stretch>
        </p:blipFill>
        <p:spPr>
          <a:xfrm>
            <a:off x="0" y="-5923"/>
            <a:ext cx="12192000" cy="4152900"/>
          </a:xfrm>
          <a:prstGeom prst="rect">
            <a:avLst/>
          </a:prstGeom>
        </p:spPr>
      </p:pic>
      <p:sp>
        <p:nvSpPr>
          <p:cNvPr id="27" name="Title 1"/>
          <p:cNvSpPr>
            <a:spLocks noGrp="1"/>
          </p:cNvSpPr>
          <p:nvPr>
            <p:ph type="ctrTitle" hasCustomPrompt="1"/>
          </p:nvPr>
        </p:nvSpPr>
        <p:spPr bwMode="ltGray">
          <a:xfrm>
            <a:off x="628649" y="4575067"/>
            <a:ext cx="10934700" cy="430887"/>
          </a:xfrm>
          <a:prstGeom prst="rect">
            <a:avLst/>
          </a:prstGeom>
        </p:spPr>
        <p:txBody>
          <a:bodyPr anchor="ctr">
            <a:noAutofit/>
          </a:bodyPr>
          <a:lstStyle>
            <a:lvl1pPr algn="l">
              <a:lnSpc>
                <a:spcPct val="93000"/>
              </a:lnSpc>
              <a:defRPr sz="2400" baseline="0">
                <a:solidFill>
                  <a:schemeClr val="bg1"/>
                </a:solidFill>
                <a:latin typeface="+mj-lt"/>
                <a:sym typeface="Trebuchet MS" panose="020B0603020202020204" pitchFamily="34" charset="0"/>
              </a:defRPr>
            </a:lvl1pPr>
          </a:lstStyle>
          <a:p>
            <a:r>
              <a:rPr lang="en-US"/>
              <a:t>Title in Title Case</a:t>
            </a:r>
          </a:p>
        </p:txBody>
      </p:sp>
      <p:sp>
        <p:nvSpPr>
          <p:cNvPr id="17" name="TextBox 16">
            <a:extLst>
              <a:ext uri="{FF2B5EF4-FFF2-40B4-BE49-F238E27FC236}">
                <a16:creationId xmlns:a16="http://schemas.microsoft.com/office/drawing/2014/main" id="{796312CE-C289-4BB0-B832-04733478C47D}"/>
              </a:ext>
            </a:extLst>
          </p:cNvPr>
          <p:cNvSpPr txBox="1"/>
          <p:nvPr userDrawn="1"/>
        </p:nvSpPr>
        <p:spPr>
          <a:xfrm>
            <a:off x="628649" y="3152004"/>
            <a:ext cx="169302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6000">
                <a:solidFill>
                  <a:schemeClr val="bg1"/>
                </a:solidFill>
                <a:cs typeface="Henderson BCG Mod" panose="02060703040403060203" pitchFamily="18" charset="0"/>
              </a:rPr>
              <a:t>01</a:t>
            </a:r>
          </a:p>
        </p:txBody>
      </p:sp>
      <p:sp>
        <p:nvSpPr>
          <p:cNvPr id="18" name="Rectangle 17">
            <a:extLst>
              <a:ext uri="{FF2B5EF4-FFF2-40B4-BE49-F238E27FC236}">
                <a16:creationId xmlns:a16="http://schemas.microsoft.com/office/drawing/2014/main" id="{BC333491-99AB-423C-B006-B73425B0423A}"/>
              </a:ext>
            </a:extLst>
          </p:cNvPr>
          <p:cNvSpPr/>
          <p:nvPr userDrawn="1"/>
        </p:nvSpPr>
        <p:spPr>
          <a:xfrm rot="5400000" flipH="1">
            <a:off x="685800" y="3452685"/>
            <a:ext cx="182880" cy="155448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2021522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BCA66B5-3225-4D14-A1D6-6009EB57FE11}"/>
              </a:ext>
            </a:extLst>
          </p:cNvPr>
          <p:cNvGraphicFramePr>
            <a:graphicFrameLocks noChangeAspect="1"/>
          </p:cNvGraphicFramePr>
          <p:nvPr userDrawn="1">
            <p:custDataLst>
              <p:tags r:id="rId2"/>
            </p:custDataLst>
            <p:extLst>
              <p:ext uri="{D42A27DB-BD31-4B8C-83A1-F6EECF244321}">
                <p14:modId xmlns:p14="http://schemas.microsoft.com/office/powerpoint/2010/main" val="423017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5"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AD32F10-BFBF-4958-8367-CD6E9CE39F27}"/>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5F119905-A778-47E0-85C3-A3CFCC7AF970}"/>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4" name="Overlay">
            <a:extLst>
              <a:ext uri="{FF2B5EF4-FFF2-40B4-BE49-F238E27FC236}">
                <a16:creationId xmlns:a16="http://schemas.microsoft.com/office/drawing/2014/main" id="{DB3D1E55-AC38-46B4-8263-43E324B06697}"/>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6" name="Picture 15"/>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8DD9CB-940B-431A-B994-1D8D12847FF5}"/>
              </a:ext>
            </a:extLst>
          </p:cNvPr>
          <p:cNvGraphicFramePr>
            <a:graphicFrameLocks noChangeAspect="1"/>
          </p:cNvGraphicFramePr>
          <p:nvPr userDrawn="1">
            <p:custDataLst>
              <p:tags r:id="rId2"/>
            </p:custDataLst>
            <p:extLst>
              <p:ext uri="{D42A27DB-BD31-4B8C-83A1-F6EECF244321}">
                <p14:modId xmlns:p14="http://schemas.microsoft.com/office/powerpoint/2010/main" val="117831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49"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3AFE9A-B350-47CF-BD06-456FD279C2C0}"/>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23EA3D6F-550C-4D31-8785-42409DBB5ED4}"/>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DCF794B5-A979-4843-AC10-00A98783E12A}"/>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pic>
        <p:nvPicPr>
          <p:cNvPr id="11" name="Graphic 10">
            <a:extLst>
              <a:ext uri="{FF2B5EF4-FFF2-40B4-BE49-F238E27FC236}">
                <a16:creationId xmlns:a16="http://schemas.microsoft.com/office/drawing/2014/main" id="{886B7C1B-69C8-42D3-B2FD-5CCE1FAC74C6}"/>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37363" t="43832" r="15615" b="3840"/>
          <a:stretch/>
        </p:blipFill>
        <p:spPr>
          <a:xfrm rot="5400000">
            <a:off x="4711699" y="-622300"/>
            <a:ext cx="6858000" cy="8102599"/>
          </a:xfrm>
          <a:prstGeom prst="rect">
            <a:avLst/>
          </a:prstGeom>
        </p:spPr>
      </p:pic>
      <p:pic>
        <p:nvPicPr>
          <p:cNvPr id="23" name="Picture 22"/>
          <p:cNvPicPr>
            <a:picLocks noChangeAspect="1"/>
          </p:cNvPicPr>
          <p:nvPr userDrawn="1"/>
        </p:nvPicPr>
        <p:blipFill rotWithShape="1">
          <a:blip r:embed="rId11">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0570CE-8353-4C23-B7A7-40AD3FEAB6FB}"/>
              </a:ext>
            </a:extLst>
          </p:cNvPr>
          <p:cNvGraphicFramePr>
            <a:graphicFrameLocks noChangeAspect="1"/>
          </p:cNvGraphicFramePr>
          <p:nvPr userDrawn="1">
            <p:custDataLst>
              <p:tags r:id="rId2"/>
            </p:custDataLst>
            <p:extLst>
              <p:ext uri="{D42A27DB-BD31-4B8C-83A1-F6EECF244321}">
                <p14:modId xmlns:p14="http://schemas.microsoft.com/office/powerpoint/2010/main" val="3065962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3"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35FC93F-B4E4-4DB9-B095-7F86CCC37CDE}"/>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a:extLst>
              <a:ext uri="{FF2B5EF4-FFF2-40B4-BE49-F238E27FC236}">
                <a16:creationId xmlns:a16="http://schemas.microsoft.com/office/drawing/2014/main" id="{33B9A828-918B-48AF-B5C9-309F5B158F7A}"/>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9" name="Overlay">
            <a:extLst>
              <a:ext uri="{FF2B5EF4-FFF2-40B4-BE49-F238E27FC236}">
                <a16:creationId xmlns:a16="http://schemas.microsoft.com/office/drawing/2014/main" id="{B3232610-7ED9-4842-AD67-85C140B7EAA7}"/>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B2B6B50-ADB2-4C58-A097-3324CDEEADB4}"/>
              </a:ext>
            </a:extLst>
          </p:cNvPr>
          <p:cNvGraphicFramePr>
            <a:graphicFrameLocks noChangeAspect="1"/>
          </p:cNvGraphicFramePr>
          <p:nvPr userDrawn="1">
            <p:custDataLst>
              <p:tags r:id="rId2"/>
            </p:custDataLst>
            <p:extLst>
              <p:ext uri="{D42A27DB-BD31-4B8C-83A1-F6EECF244321}">
                <p14:modId xmlns:p14="http://schemas.microsoft.com/office/powerpoint/2010/main" val="1536175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7"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3E1C6FF-E548-464E-82D1-2B01BF97600D}"/>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7" name="Picture 16">
            <a:extLst>
              <a:ext uri="{FF2B5EF4-FFF2-40B4-BE49-F238E27FC236}">
                <a16:creationId xmlns:a16="http://schemas.microsoft.com/office/drawing/2014/main" id="{93741D63-9146-408E-8173-2590D59CA67D}"/>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8" name="Overlay">
            <a:extLst>
              <a:ext uri="{FF2B5EF4-FFF2-40B4-BE49-F238E27FC236}">
                <a16:creationId xmlns:a16="http://schemas.microsoft.com/office/drawing/2014/main" id="{E359B5DB-6EEB-4CA8-B11C-C4BA425C1F0F}"/>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506695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1" name="think-cell Slide" r:id="rId6" imgW="324" imgH="324" progId="TCLayout.ActiveDocument.1">
                  <p:embed/>
                </p:oleObj>
              </mc:Choice>
              <mc:Fallback>
                <p:oleObj name="think-cell Slide" r:id="rId6" imgW="324" imgH="32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9D1803-DD6C-47EA-925F-5C664DF4D81B}"/>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5" name="Picture 14">
            <a:extLst>
              <a:ext uri="{FF2B5EF4-FFF2-40B4-BE49-F238E27FC236}">
                <a16:creationId xmlns:a16="http://schemas.microsoft.com/office/drawing/2014/main" id="{B68D9E5F-7F9D-43CD-99C5-CF5AEFDA4FFB}"/>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6" name="Overlay">
            <a:extLst>
              <a:ext uri="{FF2B5EF4-FFF2-40B4-BE49-F238E27FC236}">
                <a16:creationId xmlns:a16="http://schemas.microsoft.com/office/drawing/2014/main" id="{B0B0919C-4FFD-4344-A198-C0B2B3E0E517}"/>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83FDF4-1C13-4432-9614-B86791DD55AF}"/>
              </a:ext>
            </a:extLst>
          </p:cNvPr>
          <p:cNvGraphicFramePr>
            <a:graphicFrameLocks noChangeAspect="1"/>
          </p:cNvGraphicFramePr>
          <p:nvPr userDrawn="1">
            <p:custDataLst>
              <p:tags r:id="rId2"/>
            </p:custDataLst>
            <p:extLst>
              <p:ext uri="{D42A27DB-BD31-4B8C-83A1-F6EECF244321}">
                <p14:modId xmlns:p14="http://schemas.microsoft.com/office/powerpoint/2010/main" val="2097479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5"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7EFFFD8-506B-4111-855B-60D73BE4AA91}"/>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2" name="Picture 11">
            <a:extLst>
              <a:ext uri="{FF2B5EF4-FFF2-40B4-BE49-F238E27FC236}">
                <a16:creationId xmlns:a16="http://schemas.microsoft.com/office/drawing/2014/main" id="{1D50770D-8939-4921-9B43-5BCF0D856040}"/>
              </a:ext>
            </a:extLst>
          </p:cNvPr>
          <p:cNvPicPr>
            <a:picLocks noChangeAspect="1"/>
          </p:cNvPicPr>
          <p:nvPr userDrawn="1"/>
        </p:nvPicPr>
        <p:blipFill>
          <a:blip r:embed="rId8"/>
          <a:srcRect l="13" t="19" r="66455"/>
          <a:stretch>
            <a:fillRect/>
          </a:stretch>
        </p:blipFill>
        <p:spPr>
          <a:xfrm>
            <a:off x="1524" y="1310"/>
            <a:ext cx="4088312" cy="6856690"/>
          </a:xfrm>
          <a:custGeom>
            <a:avLst/>
            <a:gdLst>
              <a:gd name="connsiteX0" fmla="*/ 0 w 4088312"/>
              <a:gd name="connsiteY0" fmla="*/ 0 h 6856690"/>
              <a:gd name="connsiteX1" fmla="*/ 3264933 w 4088312"/>
              <a:gd name="connsiteY1" fmla="*/ 0 h 6856690"/>
              <a:gd name="connsiteX2" fmla="*/ 4088312 w 4088312"/>
              <a:gd name="connsiteY2" fmla="*/ 3429000 h 6856690"/>
              <a:gd name="connsiteX3" fmla="*/ 3265248 w 4088312"/>
              <a:gd name="connsiteY3" fmla="*/ 6856690 h 6856690"/>
              <a:gd name="connsiteX4" fmla="*/ 0 w 4088312"/>
              <a:gd name="connsiteY4" fmla="*/ 6856690 h 685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6690">
                <a:moveTo>
                  <a:pt x="0" y="0"/>
                </a:moveTo>
                <a:lnTo>
                  <a:pt x="3264933" y="0"/>
                </a:lnTo>
                <a:lnTo>
                  <a:pt x="4088312" y="3429000"/>
                </a:lnTo>
                <a:lnTo>
                  <a:pt x="3265248" y="6856690"/>
                </a:lnTo>
                <a:lnTo>
                  <a:pt x="0" y="6856690"/>
                </a:lnTo>
                <a:close/>
              </a:path>
            </a:pathLst>
          </a:custGeom>
        </p:spPr>
      </p:pic>
      <p:sp>
        <p:nvSpPr>
          <p:cNvPr id="13" name="Overlay">
            <a:extLst>
              <a:ext uri="{FF2B5EF4-FFF2-40B4-BE49-F238E27FC236}">
                <a16:creationId xmlns:a16="http://schemas.microsoft.com/office/drawing/2014/main" id="{8E09979B-F2DF-498E-BF53-BB5C633022A3}"/>
              </a:ext>
            </a:extLst>
          </p:cNvPr>
          <p:cNvSpPr/>
          <p:nvPr userDrawn="1">
            <p:custDataLst>
              <p:tags r:id="rId4"/>
            </p:custDataLst>
          </p:nvPr>
        </p:nvSpPr>
        <p:spPr>
          <a:xfrm>
            <a:off x="1524" y="1310"/>
            <a:ext cx="4088312" cy="6856690"/>
          </a:xfrm>
          <a:prstGeom prst="homePlate">
            <a:avLst>
              <a:gd name="adj" fmla="val 19557"/>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9">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0" name="Graphic 9">
            <a:extLst>
              <a:ext uri="{FF2B5EF4-FFF2-40B4-BE49-F238E27FC236}">
                <a16:creationId xmlns:a16="http://schemas.microsoft.com/office/drawing/2014/main" id="{0E1A7035-7D3A-4CBC-AC28-937F538451B5}"/>
              </a:ext>
            </a:extLst>
          </p:cNvPr>
          <p:cNvPicPr>
            <a:picLocks noChangeAspect="1"/>
          </p:cNvPicPr>
          <p:nvPr userDrawn="1"/>
        </p:nvPicPr>
        <p:blipFill rotWithShape="1">
          <a:blip r:embed="rId10">
            <a:extLst>
              <a:ext uri="{96DAC541-7B7A-43D3-8B79-37D633B846F1}">
                <asvg:svgBlip xmlns:asvg="http://schemas.microsoft.com/office/drawing/2016/SVG/main" r:embed="rId11"/>
              </a:ext>
            </a:extLst>
          </a:blip>
          <a:srcRect l="37363" t="43832" r="15615"/>
          <a:stretch/>
        </p:blipFill>
        <p:spPr>
          <a:xfrm rot="5400000">
            <a:off x="4414443" y="-919556"/>
            <a:ext cx="6858000" cy="8697111"/>
          </a:xfrm>
          <a:prstGeom prst="rect">
            <a:avLst/>
          </a:prstGeom>
        </p:spPr>
      </p:pic>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979161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BFC38E-B4F4-4414-99C8-D0CDC41EF374}"/>
              </a:ext>
            </a:extLst>
          </p:cNvPr>
          <p:cNvGraphicFramePr>
            <a:graphicFrameLocks noChangeAspect="1"/>
          </p:cNvGraphicFramePr>
          <p:nvPr userDrawn="1">
            <p:custDataLst>
              <p:tags r:id="rId2"/>
            </p:custDataLst>
            <p:extLst>
              <p:ext uri="{D42A27DB-BD31-4B8C-83A1-F6EECF244321}">
                <p14:modId xmlns:p14="http://schemas.microsoft.com/office/powerpoint/2010/main" val="1203685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69"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21DF92-5E54-45DF-BF9C-563BD06949E6}"/>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DF2A79C2-53BB-4402-B909-B0F6E1B88A75}"/>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4" name="Overlay">
            <a:extLst>
              <a:ext uri="{FF2B5EF4-FFF2-40B4-BE49-F238E27FC236}">
                <a16:creationId xmlns:a16="http://schemas.microsoft.com/office/drawing/2014/main" id="{7A6ABB71-BAF7-4BBB-A0C6-CF779B47E099}"/>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8A03568-8C1E-4D1B-B53D-974C98D9E051}"/>
              </a:ext>
            </a:extLst>
          </p:cNvPr>
          <p:cNvGraphicFramePr>
            <a:graphicFrameLocks noChangeAspect="1"/>
          </p:cNvGraphicFramePr>
          <p:nvPr userDrawn="1">
            <p:custDataLst>
              <p:tags r:id="rId2"/>
            </p:custDataLst>
            <p:extLst>
              <p:ext uri="{D42A27DB-BD31-4B8C-83A1-F6EECF244321}">
                <p14:modId xmlns:p14="http://schemas.microsoft.com/office/powerpoint/2010/main" val="2146398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3"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1AFDECB-0DAE-4848-8638-7A18013A448A}"/>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0" name="Graphic 9">
            <a:extLst>
              <a:ext uri="{FF2B5EF4-FFF2-40B4-BE49-F238E27FC236}">
                <a16:creationId xmlns:a16="http://schemas.microsoft.com/office/drawing/2014/main" id="{55CF3AB4-A533-430B-8130-0030529B47B7}"/>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37363" t="43832" r="15615"/>
          <a:stretch/>
        </p:blipFill>
        <p:spPr>
          <a:xfrm rot="5400000">
            <a:off x="4414443" y="-919556"/>
            <a:ext cx="6858000" cy="8697111"/>
          </a:xfrm>
          <a:prstGeom prst="rect">
            <a:avLst/>
          </a:prstGeom>
        </p:spPr>
      </p:pic>
      <p:pic>
        <p:nvPicPr>
          <p:cNvPr id="11" name="Picture 10">
            <a:extLst>
              <a:ext uri="{FF2B5EF4-FFF2-40B4-BE49-F238E27FC236}">
                <a16:creationId xmlns:a16="http://schemas.microsoft.com/office/drawing/2014/main" id="{BDADF549-360D-4CAF-9973-D8A7FE3039DB}"/>
              </a:ext>
            </a:extLst>
          </p:cNvPr>
          <p:cNvPicPr>
            <a:picLocks noChangeAspect="1"/>
          </p:cNvPicPr>
          <p:nvPr userDrawn="1"/>
        </p:nvPicPr>
        <p:blipFill>
          <a:blip r:embed="rId11"/>
          <a:srcRect r="55488"/>
          <a:stretch>
            <a:fillRect/>
          </a:stretch>
        </p:blipFill>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p:spPr>
      </p:pic>
      <p:sp>
        <p:nvSpPr>
          <p:cNvPr id="17" name="Overlay">
            <a:extLst>
              <a:ext uri="{FF2B5EF4-FFF2-40B4-BE49-F238E27FC236}">
                <a16:creationId xmlns:a16="http://schemas.microsoft.com/office/drawing/2014/main" id="{19E3E548-BBBD-4611-9AB2-B1D2736E6B9F}"/>
              </a:ext>
            </a:extLst>
          </p:cNvPr>
          <p:cNvSpPr/>
          <p:nvPr userDrawn="1">
            <p:custDataLst>
              <p:tags r:id="rId4"/>
            </p:custDataLst>
          </p:nvPr>
        </p:nvSpPr>
        <p:spPr>
          <a:xfrm>
            <a:off x="1" y="0"/>
            <a:ext cx="5426920" cy="6858000"/>
          </a:xfrm>
          <a:prstGeom prst="homePlate">
            <a:avLst>
              <a:gd name="adj" fmla="val 13025"/>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5893568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7828F9F-9D82-4291-9BA0-C13038588EB6}"/>
              </a:ext>
            </a:extLst>
          </p:cNvPr>
          <p:cNvGraphicFramePr>
            <a:graphicFrameLocks noChangeAspect="1"/>
          </p:cNvGraphicFramePr>
          <p:nvPr userDrawn="1">
            <p:custDataLst>
              <p:tags r:id="rId2"/>
            </p:custDataLst>
            <p:extLst>
              <p:ext uri="{D42A27DB-BD31-4B8C-83A1-F6EECF244321}">
                <p14:modId xmlns:p14="http://schemas.microsoft.com/office/powerpoint/2010/main" val="41315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7"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CB08409-D5E8-45E3-B86A-4DEC26567D21}"/>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3F0E43A4-042E-4B53-B724-5521C6914274}"/>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4" name="Overlay">
            <a:extLst>
              <a:ext uri="{FF2B5EF4-FFF2-40B4-BE49-F238E27FC236}">
                <a16:creationId xmlns:a16="http://schemas.microsoft.com/office/drawing/2014/main" id="{C6053E5F-A0FB-4533-AC20-8806FC5C4B0E}"/>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chemeClr val="tx2"/>
                </a:solidFill>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B6DB0D-D75A-4B12-A278-F40BF9E23EEB}"/>
              </a:ext>
            </a:extLst>
          </p:cNvPr>
          <p:cNvGraphicFramePr>
            <a:graphicFrameLocks noChangeAspect="1"/>
          </p:cNvGraphicFramePr>
          <p:nvPr userDrawn="1">
            <p:custDataLst>
              <p:tags r:id="rId2"/>
            </p:custDataLst>
            <p:extLst>
              <p:ext uri="{D42A27DB-BD31-4B8C-83A1-F6EECF244321}">
                <p14:modId xmlns:p14="http://schemas.microsoft.com/office/powerpoint/2010/main" val="1506835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1"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7C47DBC-7BF6-4382-8736-C5AB9C64768E}"/>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E36BEFBA-7680-4E43-B87B-4A038E3F2F16}"/>
              </a:ext>
            </a:extLst>
          </p:cNvPr>
          <p:cNvPicPr>
            <a:picLocks noChangeAspect="1"/>
          </p:cNvPicPr>
          <p:nvPr userDrawn="1"/>
        </p:nvPicPr>
        <p:blipFill>
          <a:blip r:embed="rId8"/>
          <a:srcRect r="47806"/>
          <a:stretch>
            <a:fillRect/>
          </a:stretch>
        </p:blipFill>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p:spPr>
      </p:pic>
      <p:sp>
        <p:nvSpPr>
          <p:cNvPr id="16" name="Overlay">
            <a:extLst>
              <a:ext uri="{FF2B5EF4-FFF2-40B4-BE49-F238E27FC236}">
                <a16:creationId xmlns:a16="http://schemas.microsoft.com/office/drawing/2014/main" id="{E13A233A-15BF-4EFA-8126-CC6A34C84AD4}"/>
              </a:ext>
            </a:extLst>
          </p:cNvPr>
          <p:cNvSpPr/>
          <p:nvPr userDrawn="1">
            <p:custDataLst>
              <p:tags r:id="rId4"/>
            </p:custDataLst>
          </p:nvPr>
        </p:nvSpPr>
        <p:spPr>
          <a:xfrm>
            <a:off x="0" y="0"/>
            <a:ext cx="6363546" cy="6858000"/>
          </a:xfrm>
          <a:prstGeom prst="homePlate">
            <a:avLst>
              <a:gd name="adj" fmla="val 13079"/>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89040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719C14DC-995F-43D8-964D-BD81E1911DDA}"/>
              </a:ext>
            </a:extLst>
          </p:cNvPr>
          <p:cNvPicPr>
            <a:picLocks noChangeAspect="1"/>
          </p:cNvPicPr>
          <p:nvPr userDrawn="1"/>
        </p:nvPicPr>
        <p:blipFill>
          <a:blip r:embed="rId7"/>
          <a:stretch>
            <a:fillRect/>
          </a:stretch>
        </p:blipFill>
        <p:spPr>
          <a:xfrm>
            <a:off x="0" y="17249"/>
            <a:ext cx="12192000" cy="4160520"/>
          </a:xfrm>
          <a:prstGeom prst="rect">
            <a:avLst/>
          </a:prstGeom>
        </p:spPr>
      </p:pic>
      <p:sp>
        <p:nvSpPr>
          <p:cNvPr id="14" name="Rectangle 13">
            <a:extLst>
              <a:ext uri="{FF2B5EF4-FFF2-40B4-BE49-F238E27FC236}">
                <a16:creationId xmlns:a16="http://schemas.microsoft.com/office/drawing/2014/main" id="{3A39AEA0-2E69-4739-B268-4E17AAFCB76D}"/>
              </a:ext>
            </a:extLst>
          </p:cNvPr>
          <p:cNvSpPr/>
          <p:nvPr userDrawn="1"/>
        </p:nvSpPr>
        <p:spPr>
          <a:xfrm>
            <a:off x="0" y="4146977"/>
            <a:ext cx="12192000" cy="2711023"/>
          </a:xfrm>
          <a:prstGeom prst="rect">
            <a:avLst/>
          </a:prstGeom>
          <a:solidFill>
            <a:srgbClr val="0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7" name="Title 1"/>
          <p:cNvSpPr>
            <a:spLocks noGrp="1"/>
          </p:cNvSpPr>
          <p:nvPr>
            <p:ph type="ctrTitle" hasCustomPrompt="1"/>
          </p:nvPr>
        </p:nvSpPr>
        <p:spPr bwMode="ltGray">
          <a:xfrm>
            <a:off x="628649" y="4575067"/>
            <a:ext cx="10934700" cy="430887"/>
          </a:xfrm>
          <a:prstGeom prst="rect">
            <a:avLst/>
          </a:prstGeom>
        </p:spPr>
        <p:txBody>
          <a:bodyPr anchor="ctr">
            <a:noAutofit/>
          </a:bodyPr>
          <a:lstStyle>
            <a:lvl1pPr algn="l">
              <a:lnSpc>
                <a:spcPct val="93000"/>
              </a:lnSpc>
              <a:defRPr sz="2400" baseline="0">
                <a:solidFill>
                  <a:schemeClr val="bg1"/>
                </a:solidFill>
                <a:latin typeface="+mj-lt"/>
                <a:sym typeface="Trebuchet MS" panose="020B0603020202020204" pitchFamily="34" charset="0"/>
              </a:defRPr>
            </a:lvl1pPr>
          </a:lstStyle>
          <a:p>
            <a:r>
              <a:rPr lang="en-US"/>
              <a:t>Title in Title Case</a:t>
            </a:r>
          </a:p>
        </p:txBody>
      </p:sp>
      <p:sp>
        <p:nvSpPr>
          <p:cNvPr id="17" name="TextBox 16">
            <a:extLst>
              <a:ext uri="{FF2B5EF4-FFF2-40B4-BE49-F238E27FC236}">
                <a16:creationId xmlns:a16="http://schemas.microsoft.com/office/drawing/2014/main" id="{796312CE-C289-4BB0-B832-04733478C47D}"/>
              </a:ext>
            </a:extLst>
          </p:cNvPr>
          <p:cNvSpPr txBox="1"/>
          <p:nvPr userDrawn="1"/>
        </p:nvSpPr>
        <p:spPr>
          <a:xfrm>
            <a:off x="628649" y="3152004"/>
            <a:ext cx="169302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6000">
                <a:solidFill>
                  <a:schemeClr val="bg1"/>
                </a:solidFill>
                <a:cs typeface="Henderson BCG Mod" panose="02060703040403060203" pitchFamily="18" charset="0"/>
              </a:rPr>
              <a:t>02</a:t>
            </a:r>
          </a:p>
        </p:txBody>
      </p:sp>
      <p:sp>
        <p:nvSpPr>
          <p:cNvPr id="18" name="Rectangle 17">
            <a:extLst>
              <a:ext uri="{FF2B5EF4-FFF2-40B4-BE49-F238E27FC236}">
                <a16:creationId xmlns:a16="http://schemas.microsoft.com/office/drawing/2014/main" id="{BC333491-99AB-423C-B006-B73425B0423A}"/>
              </a:ext>
            </a:extLst>
          </p:cNvPr>
          <p:cNvSpPr/>
          <p:nvPr userDrawn="1"/>
        </p:nvSpPr>
        <p:spPr>
          <a:xfrm rot="5400000" flipH="1">
            <a:off x="685800" y="3452685"/>
            <a:ext cx="182880" cy="155448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228528427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6F43BA-B582-4575-9AF1-366C83B8580B}"/>
              </a:ext>
            </a:extLst>
          </p:cNvPr>
          <p:cNvGraphicFramePr>
            <a:graphicFrameLocks noChangeAspect="1"/>
          </p:cNvGraphicFramePr>
          <p:nvPr userDrawn="1">
            <p:custDataLst>
              <p:tags r:id="rId2"/>
            </p:custDataLst>
            <p:extLst>
              <p:ext uri="{D42A27DB-BD31-4B8C-83A1-F6EECF244321}">
                <p14:modId xmlns:p14="http://schemas.microsoft.com/office/powerpoint/2010/main" val="2408464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5"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9F075E2-642E-4325-9E66-4930EFEDBC36}"/>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C0FBDA20-C9DC-490C-B1AF-42F96353E628}"/>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6" name="Overlay">
            <a:extLst>
              <a:ext uri="{FF2B5EF4-FFF2-40B4-BE49-F238E27FC236}">
                <a16:creationId xmlns:a16="http://schemas.microsoft.com/office/drawing/2014/main" id="{39A16FE0-C37D-4E2D-877C-84FB5D36C2BA}"/>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E8EFCA-0E21-4B49-B34E-BC35016B178D}"/>
              </a:ext>
            </a:extLst>
          </p:cNvPr>
          <p:cNvGraphicFramePr>
            <a:graphicFrameLocks noChangeAspect="1"/>
          </p:cNvGraphicFramePr>
          <p:nvPr userDrawn="1">
            <p:custDataLst>
              <p:tags r:id="rId2"/>
            </p:custDataLst>
            <p:extLst>
              <p:ext uri="{D42A27DB-BD31-4B8C-83A1-F6EECF244321}">
                <p14:modId xmlns:p14="http://schemas.microsoft.com/office/powerpoint/2010/main" val="1870925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89"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3E3434-BBCC-4475-8477-FF9EB1965B5A}"/>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4D6136C3-1D16-4A7C-8BC5-58B7CEF66A43}"/>
              </a:ext>
            </a:extLst>
          </p:cNvPr>
          <p:cNvPicPr>
            <a:picLocks noChangeAspect="1"/>
          </p:cNvPicPr>
          <p:nvPr userDrawn="1"/>
        </p:nvPicPr>
        <p:blipFill>
          <a:blip r:embed="rId8"/>
          <a:srcRect r="30723"/>
          <a:stretch>
            <a:fillRect/>
          </a:stretch>
        </p:blipFill>
        <p:spPr>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p:spPr>
      </p:pic>
      <p:sp>
        <p:nvSpPr>
          <p:cNvPr id="13" name="Overlay">
            <a:extLst>
              <a:ext uri="{FF2B5EF4-FFF2-40B4-BE49-F238E27FC236}">
                <a16:creationId xmlns:a16="http://schemas.microsoft.com/office/drawing/2014/main" id="{5EDC5827-1340-42CE-99BF-F086005D193A}"/>
              </a:ext>
            </a:extLst>
          </p:cNvPr>
          <p:cNvSpPr/>
          <p:nvPr userDrawn="1">
            <p:custDataLst>
              <p:tags r:id="rId4"/>
            </p:custDataLst>
          </p:nvPr>
        </p:nvSpPr>
        <p:spPr>
          <a:xfrm>
            <a:off x="1" y="0"/>
            <a:ext cx="8446239" cy="6858000"/>
          </a:xfrm>
          <a:prstGeom prst="homePlate">
            <a:avLst>
              <a:gd name="adj" fmla="val 11852"/>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9">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3258E0-E680-40B2-B152-E8DEDB6012ED}"/>
              </a:ext>
            </a:extLst>
          </p:cNvPr>
          <p:cNvGraphicFramePr>
            <a:graphicFrameLocks noChangeAspect="1"/>
          </p:cNvGraphicFramePr>
          <p:nvPr userDrawn="1">
            <p:custDataLst>
              <p:tags r:id="rId2"/>
            </p:custDataLst>
            <p:extLst>
              <p:ext uri="{D42A27DB-BD31-4B8C-83A1-F6EECF244321}">
                <p14:modId xmlns:p14="http://schemas.microsoft.com/office/powerpoint/2010/main" val="2708348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3"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D0900A-DB23-4781-BC80-DBE2D7D853D8}"/>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2" name="Picture 11">
            <a:extLst>
              <a:ext uri="{FF2B5EF4-FFF2-40B4-BE49-F238E27FC236}">
                <a16:creationId xmlns:a16="http://schemas.microsoft.com/office/drawing/2014/main" id="{CCA7D341-F309-4F0A-A1EC-D9FA3D2ED85F}"/>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3" name="Overlay">
            <a:extLst>
              <a:ext uri="{FF2B5EF4-FFF2-40B4-BE49-F238E27FC236}">
                <a16:creationId xmlns:a16="http://schemas.microsoft.com/office/drawing/2014/main" id="{7E9916CF-26D4-47DA-9B75-B86E995805A3}"/>
              </a:ext>
            </a:extLst>
          </p:cNvPr>
          <p:cNvSpPr/>
          <p:nvPr userDrawn="1">
            <p:custDataLst>
              <p:tags r:id="rId4"/>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D0DCA1-102F-45A7-9826-5EB7EE404555}"/>
              </a:ext>
            </a:extLst>
          </p:cNvPr>
          <p:cNvGraphicFramePr>
            <a:graphicFrameLocks noChangeAspect="1"/>
          </p:cNvGraphicFramePr>
          <p:nvPr userDrawn="1">
            <p:custDataLst>
              <p:tags r:id="rId2"/>
            </p:custDataLst>
            <p:extLst>
              <p:ext uri="{D42A27DB-BD31-4B8C-83A1-F6EECF244321}">
                <p14:modId xmlns:p14="http://schemas.microsoft.com/office/powerpoint/2010/main" val="4018848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7"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CA53465-CD2F-448E-BCD4-A411B2476B90}"/>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0" name="Graphic 9">
            <a:extLst>
              <a:ext uri="{FF2B5EF4-FFF2-40B4-BE49-F238E27FC236}">
                <a16:creationId xmlns:a16="http://schemas.microsoft.com/office/drawing/2014/main" id="{9EEC48D4-A87E-489F-A3BA-25639ADD1340}"/>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71767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1"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6E0533C-DD8A-4DD3-ABA2-0A72E64194B6}"/>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9" name="Overlay">
            <a:extLst>
              <a:ext uri="{FF2B5EF4-FFF2-40B4-BE49-F238E27FC236}">
                <a16:creationId xmlns:a16="http://schemas.microsoft.com/office/drawing/2014/main" id="{7FFC4AF9-A300-44F1-94B0-949D0CD0EB66}"/>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8">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4A23369-6267-4380-BAB2-B35B122C16ED}"/>
              </a:ext>
            </a:extLst>
          </p:cNvPr>
          <p:cNvGraphicFramePr>
            <a:graphicFrameLocks noChangeAspect="1"/>
          </p:cNvGraphicFramePr>
          <p:nvPr userDrawn="1">
            <p:custDataLst>
              <p:tags r:id="rId2"/>
            </p:custDataLst>
            <p:extLst>
              <p:ext uri="{D42A27DB-BD31-4B8C-83A1-F6EECF244321}">
                <p14:modId xmlns:p14="http://schemas.microsoft.com/office/powerpoint/2010/main" val="1772777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09"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690D6AC5-78D8-45EA-B8CA-2F2B4CDE3720}"/>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59F4385F-A29B-4A13-9F40-7EC2AF0421D4}"/>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5DED99-0FCE-46CB-A425-7ED72701001B}"/>
              </a:ext>
            </a:extLst>
          </p:cNvPr>
          <p:cNvGraphicFramePr>
            <a:graphicFrameLocks noChangeAspect="1"/>
          </p:cNvGraphicFramePr>
          <p:nvPr userDrawn="1">
            <p:custDataLst>
              <p:tags r:id="rId2"/>
            </p:custDataLst>
            <p:extLst>
              <p:ext uri="{D42A27DB-BD31-4B8C-83A1-F6EECF244321}">
                <p14:modId xmlns:p14="http://schemas.microsoft.com/office/powerpoint/2010/main" val="3699333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3"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5A09E7A9-25F8-438F-AA54-097986F364AD}"/>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0" name="Overlay">
            <a:extLst>
              <a:ext uri="{FF2B5EF4-FFF2-40B4-BE49-F238E27FC236}">
                <a16:creationId xmlns:a16="http://schemas.microsoft.com/office/drawing/2014/main" id="{C20056AA-F681-4888-8C37-AD918DDD3D75}"/>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82AC34-7719-402F-8A19-D09055839ABA}"/>
              </a:ext>
            </a:extLst>
          </p:cNvPr>
          <p:cNvGraphicFramePr>
            <a:graphicFrameLocks noChangeAspect="1"/>
          </p:cNvGraphicFramePr>
          <p:nvPr userDrawn="1">
            <p:custDataLst>
              <p:tags r:id="rId2"/>
            </p:custDataLst>
            <p:extLst>
              <p:ext uri="{D42A27DB-BD31-4B8C-83A1-F6EECF244321}">
                <p14:modId xmlns:p14="http://schemas.microsoft.com/office/powerpoint/2010/main" val="2329519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7"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952778ED-EC5B-451F-B4B6-C3D0D52EC95F}"/>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99D07A-555B-4D8D-8202-C0E345450830}"/>
              </a:ext>
            </a:extLst>
          </p:cNvPr>
          <p:cNvGraphicFramePr>
            <a:graphicFrameLocks noChangeAspect="1"/>
          </p:cNvGraphicFramePr>
          <p:nvPr userDrawn="1">
            <p:custDataLst>
              <p:tags r:id="rId2"/>
            </p:custDataLst>
            <p:extLst>
              <p:ext uri="{D42A27DB-BD31-4B8C-83A1-F6EECF244321}">
                <p14:modId xmlns:p14="http://schemas.microsoft.com/office/powerpoint/2010/main" val="2367586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DAC76571-C0CC-45E2-B4DF-281DFF268A84}"/>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CD4FC4-6968-483A-90C0-A48FAB106002}"/>
              </a:ext>
            </a:extLst>
          </p:cNvPr>
          <p:cNvGraphicFramePr>
            <a:graphicFrameLocks noChangeAspect="1"/>
          </p:cNvGraphicFramePr>
          <p:nvPr userDrawn="1">
            <p:custDataLst>
              <p:tags r:id="rId2"/>
            </p:custDataLst>
            <p:extLst>
              <p:ext uri="{D42A27DB-BD31-4B8C-83A1-F6EECF244321}">
                <p14:modId xmlns:p14="http://schemas.microsoft.com/office/powerpoint/2010/main" val="385087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E5578D-7649-43A9-9984-103171FEDB8A}"/>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5"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91B7A6F0-D389-48F1-AAEE-4E7C1340F4B9}"/>
              </a:ext>
            </a:extLst>
          </p:cNvPr>
          <p:cNvPicPr>
            <a:picLocks noChangeAspect="1"/>
          </p:cNvPicPr>
          <p:nvPr userDrawn="1"/>
        </p:nvPicPr>
        <p:blipFill>
          <a:blip r:embed="rId6">
            <a:extLst>
              <a:ext uri="{BEBA8EAE-BF5A-486C-A8C5-ECC9F3942E4B}">
                <a14:imgProps xmlns:a14="http://schemas.microsoft.com/office/drawing/2010/main">
                  <a14:imgLayer r:embed="rId7">
                    <a14:imgEffect>
                      <a14:colorTemperature colorTemp="11200"/>
                    </a14:imgEffect>
                  </a14:imgLayer>
                </a14:imgProps>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4B042359-1EF6-43C3-925D-00F6F5606EDA}"/>
              </a:ext>
            </a:extLst>
          </p:cNvPr>
          <p:cNvSpPr/>
          <p:nvPr userDrawn="1"/>
        </p:nvSpPr>
        <p:spPr>
          <a:xfrm>
            <a:off x="-1" y="0"/>
            <a:ext cx="12192000" cy="6858000"/>
          </a:xfrm>
          <a:prstGeom prst="rect">
            <a:avLst/>
          </a:prstGeom>
          <a:solidFill>
            <a:srgbClr val="000000">
              <a:alpha val="6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descr="Text&#10;&#10;Description automatically generated">
            <a:extLst>
              <a:ext uri="{FF2B5EF4-FFF2-40B4-BE49-F238E27FC236}">
                <a16:creationId xmlns:a16="http://schemas.microsoft.com/office/drawing/2014/main" id="{64809D0D-9FE5-4FE1-BD07-1E1D9A97FA1A}"/>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261808" y="2775944"/>
            <a:ext cx="5041845" cy="2235649"/>
          </a:xfrm>
          <a:prstGeom prst="rect">
            <a:avLst/>
          </a:prstGeom>
        </p:spPr>
      </p:pic>
      <p:sp>
        <p:nvSpPr>
          <p:cNvPr id="13" name="Rectangle 12">
            <a:extLst>
              <a:ext uri="{FF2B5EF4-FFF2-40B4-BE49-F238E27FC236}">
                <a16:creationId xmlns:a16="http://schemas.microsoft.com/office/drawing/2014/main" id="{413F3245-DA7C-4CDD-9F5F-0C6C183F339B}"/>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1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07419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29"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0DCB426D-00A3-4D69-B954-511F90530F51}"/>
              </a:ext>
            </a:extLst>
          </p:cNvPr>
          <p:cNvPicPr>
            <a:picLocks noChangeAspect="1"/>
          </p:cNvPicPr>
          <p:nvPr userDrawn="1"/>
        </p:nvPicPr>
        <p:blipFill>
          <a:blip r:embed="rId6"/>
          <a:stretch>
            <a:fillRect/>
          </a:stretch>
        </p:blipFill>
        <p:spPr>
          <a:xfrm>
            <a:off x="-1" y="0"/>
            <a:ext cx="12208043" cy="6890084"/>
          </a:xfrm>
          <a:prstGeom prst="rect">
            <a:avLst/>
          </a:prstGeom>
        </p:spPr>
      </p:pic>
      <p:sp>
        <p:nvSpPr>
          <p:cNvPr id="9" name="Rectangle 8">
            <a:extLst>
              <a:ext uri="{FF2B5EF4-FFF2-40B4-BE49-F238E27FC236}">
                <a16:creationId xmlns:a16="http://schemas.microsoft.com/office/drawing/2014/main" id="{F8CDF4CF-360C-4399-BE3B-8CC7CA1D35D2}"/>
              </a:ext>
            </a:extLst>
          </p:cNvPr>
          <p:cNvSpPr/>
          <p:nvPr userDrawn="1"/>
        </p:nvSpPr>
        <p:spPr>
          <a:xfrm>
            <a:off x="-1" y="-13587"/>
            <a:ext cx="12208043" cy="6871587"/>
          </a:xfrm>
          <a:prstGeom prst="rect">
            <a:avLst/>
          </a:prstGeom>
          <a:solidFill>
            <a:srgbClr val="000000">
              <a:alpha val="6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0" name="Picture 9" descr="Text&#10;&#10;Description automatically generated">
            <a:extLst>
              <a:ext uri="{FF2B5EF4-FFF2-40B4-BE49-F238E27FC236}">
                <a16:creationId xmlns:a16="http://schemas.microsoft.com/office/drawing/2014/main" id="{6BCA901B-0297-4F9A-A445-86BF620DF36D}"/>
              </a:ext>
            </a:extLst>
          </p:cNvPr>
          <p:cNvPicPr>
            <a:picLocks noChangeAspect="1"/>
          </p:cNvPicPr>
          <p:nvPr userDrawn="1"/>
        </p:nvPicPr>
        <p:blipFill rotWithShape="1">
          <a:blip r:embed="rId7">
            <a:clrChange>
              <a:clrFrom>
                <a:srgbClr val="040707"/>
              </a:clrFrom>
              <a:clrTo>
                <a:srgbClr val="040707">
                  <a:alpha val="0"/>
                </a:srgbClr>
              </a:clrTo>
            </a:clrChange>
          </a:blip>
          <a:srcRect r="1718" b="51704"/>
          <a:stretch/>
        </p:blipFill>
        <p:spPr>
          <a:xfrm>
            <a:off x="53262" y="3003326"/>
            <a:ext cx="5041845" cy="2235649"/>
          </a:xfrm>
          <a:prstGeom prst="rect">
            <a:avLst/>
          </a:prstGeom>
        </p:spPr>
      </p:pic>
    </p:spTree>
    <p:extLst>
      <p:ext uri="{BB962C8B-B14F-4D97-AF65-F5344CB8AC3E}">
        <p14:creationId xmlns:p14="http://schemas.microsoft.com/office/powerpoint/2010/main" val="6594448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10000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77"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103F3696-5C99-48F2-A92E-339FEF538746}"/>
              </a:ext>
            </a:extLst>
          </p:cNvPr>
          <p:cNvPicPr>
            <a:picLocks noChangeAspect="1"/>
          </p:cNvPicPr>
          <p:nvPr userDrawn="1"/>
        </p:nvPicPr>
        <p:blipFill>
          <a:blip r:embed="rId8"/>
          <a:stretch>
            <a:fillRect/>
          </a:stretch>
        </p:blipFill>
        <p:spPr>
          <a:xfrm>
            <a:off x="-2" y="0"/>
            <a:ext cx="12192000" cy="6858000"/>
          </a:xfrm>
          <a:prstGeom prst="rect">
            <a:avLst/>
          </a:prstGeom>
        </p:spPr>
      </p:pic>
      <p:sp>
        <p:nvSpPr>
          <p:cNvPr id="14" name="Overlay">
            <a:extLst>
              <a:ext uri="{FF2B5EF4-FFF2-40B4-BE49-F238E27FC236}">
                <a16:creationId xmlns:a16="http://schemas.microsoft.com/office/drawing/2014/main" id="{0B873776-7DFA-4966-A19C-A7E8BED8FC58}"/>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4"/>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62793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0BF250A5-4BC3-4667-8931-E0FC7797AC4E}"/>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1" name="Overlay">
            <a:extLst>
              <a:ext uri="{FF2B5EF4-FFF2-40B4-BE49-F238E27FC236}">
                <a16:creationId xmlns:a16="http://schemas.microsoft.com/office/drawing/2014/main" id="{74B95AEE-9507-4168-8312-D131D3B468CB}"/>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85060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265965-8C85-4414-A3E5-EBD1DD25BE4C}"/>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1" name="Overlay">
            <a:extLst>
              <a:ext uri="{FF2B5EF4-FFF2-40B4-BE49-F238E27FC236}">
                <a16:creationId xmlns:a16="http://schemas.microsoft.com/office/drawing/2014/main" id="{97C964AD-FA0D-491C-B2F5-CFB443487C10}"/>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65152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2602C396-E5DD-4EB1-A5A7-448F0D1E8034}"/>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1" name="Overlay">
            <a:extLst>
              <a:ext uri="{FF2B5EF4-FFF2-40B4-BE49-F238E27FC236}">
                <a16:creationId xmlns:a16="http://schemas.microsoft.com/office/drawing/2014/main" id="{D8AFA4C7-5C9B-4810-B18E-DC6D6D00B5D5}"/>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pic>
        <p:nvPicPr>
          <p:cNvPr id="12" name="Graphic 11">
            <a:extLst>
              <a:ext uri="{FF2B5EF4-FFF2-40B4-BE49-F238E27FC236}">
                <a16:creationId xmlns:a16="http://schemas.microsoft.com/office/drawing/2014/main" id="{9D5618C0-C151-408B-B3F9-96F2AFA2DB59}"/>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37363" t="43832" r="15615" b="3675"/>
          <a:stretch/>
        </p:blipFill>
        <p:spPr>
          <a:xfrm rot="5400000">
            <a:off x="4698999" y="-635000"/>
            <a:ext cx="6858000" cy="8127999"/>
          </a:xfrm>
          <a:prstGeom prst="rect">
            <a:avLst/>
          </a:prstGeom>
        </p:spPr>
      </p:pic>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415208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7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EB03F537-EEE5-41B1-B64A-E3B8A570ACDE}"/>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331259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8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1933747B-4AC1-43C3-BA8C-1B8F3F0F5C64}"/>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50035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2E23CE98-5A45-44D5-B21A-CE2C70359AE1}"/>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CD4FC4-6968-483A-90C0-A48FAB106002}"/>
              </a:ext>
            </a:extLst>
          </p:cNvPr>
          <p:cNvGraphicFramePr>
            <a:graphicFrameLocks noChangeAspect="1"/>
          </p:cNvGraphicFramePr>
          <p:nvPr userDrawn="1">
            <p:custDataLst>
              <p:tags r:id="rId2"/>
            </p:custDataLst>
            <p:extLst>
              <p:ext uri="{D42A27DB-BD31-4B8C-83A1-F6EECF244321}">
                <p14:modId xmlns:p14="http://schemas.microsoft.com/office/powerpoint/2010/main" val="2367615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CCCD4FC4-6968-483A-90C0-A48FAB1060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E5578D-7649-43A9-9984-103171FEDB8A}"/>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8" name="Graphic 7">
            <a:extLst>
              <a:ext uri="{FF2B5EF4-FFF2-40B4-BE49-F238E27FC236}">
                <a16:creationId xmlns:a16="http://schemas.microsoft.com/office/drawing/2014/main" id="{A021D436-92FF-4A66-BE5F-4B6C8D5E117E}"/>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427844833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864062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4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1B38D0B-82C9-42F9-8645-0BBCB189E38E}"/>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88DC7E14-CA83-4901-8FA7-5E26ED537A29}"/>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pic>
        <p:nvPicPr>
          <p:cNvPr id="11" name="Graphic 10">
            <a:extLst>
              <a:ext uri="{FF2B5EF4-FFF2-40B4-BE49-F238E27FC236}">
                <a16:creationId xmlns:a16="http://schemas.microsoft.com/office/drawing/2014/main" id="{507E1A5D-58E3-4FB3-A7A6-2323DFC786C1}"/>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37363" t="43832" r="15615" b="3511"/>
          <a:stretch/>
        </p:blipFill>
        <p:spPr>
          <a:xfrm rot="5400000">
            <a:off x="4686299" y="-647700"/>
            <a:ext cx="6858000" cy="8153399"/>
          </a:xfrm>
          <a:prstGeom prst="rect">
            <a:avLst/>
          </a:prstGeom>
        </p:spPr>
      </p:pic>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67834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8CC013CC-4979-4CC1-B6A8-428AB658F58E}"/>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1" name="Overlay">
            <a:extLst>
              <a:ext uri="{FF2B5EF4-FFF2-40B4-BE49-F238E27FC236}">
                <a16:creationId xmlns:a16="http://schemas.microsoft.com/office/drawing/2014/main" id="{F4422104-F14A-4EA1-B11A-447AADA54829}"/>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0/2022</a:t>
            </a:fld>
            <a:endParaRPr lang="en-US"/>
          </a:p>
        </p:txBody>
      </p:sp>
      <p:sp>
        <p:nvSpPr>
          <p:cNvPr id="5" name="Footer Placeholder 4"/>
          <p:cNvSpPr>
            <a:spLocks noGrp="1"/>
          </p:cNvSpPr>
          <p:nvPr>
            <p:ph type="ftr" sz="quarter" idx="11"/>
          </p:nvPr>
        </p:nvSpPr>
        <p:spPr/>
        <p:txBody>
          <a:bodyPr/>
          <a:lstStyle/>
          <a:p>
            <a:r>
              <a:rPr lang="en-US"/>
              <a:t>Side</a:t>
            </a: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986554023"/>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3F6D8C-92C7-40F9-BF9E-4C8E2E179111}"/>
              </a:ext>
            </a:extLst>
          </p:cNvPr>
          <p:cNvGraphicFramePr>
            <a:graphicFrameLocks noChangeAspect="1"/>
          </p:cNvGraphicFramePr>
          <p:nvPr userDrawn="1">
            <p:custDataLst>
              <p:tags r:id="rId2"/>
            </p:custDataLst>
            <p:extLst>
              <p:ext uri="{D42A27DB-BD31-4B8C-83A1-F6EECF244321}">
                <p14:modId xmlns:p14="http://schemas.microsoft.com/office/powerpoint/2010/main" val="2859378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CBACDA-C8C8-475D-9BBE-7EF511168E33}"/>
              </a:ext>
            </a:extLst>
          </p:cNvPr>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6" name="Graphic 5">
            <a:extLst>
              <a:ext uri="{FF2B5EF4-FFF2-40B4-BE49-F238E27FC236}">
                <a16:creationId xmlns:a16="http://schemas.microsoft.com/office/drawing/2014/main" id="{EAC71BEF-7AF7-4B8B-82EE-C79DBCA1905F}"/>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a:stretch/>
        </p:blipFill>
        <p:spPr>
          <a:xfrm rot="5400000">
            <a:off x="4414443" y="-919556"/>
            <a:ext cx="6858000" cy="8697111"/>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solidFill>
                  <a:schemeClr val="tx2"/>
                </a:solidFill>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solidFill>
                  <a:schemeClr val="tx2"/>
                </a:solidFill>
              </a:defRPr>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vmlDrawing" Target="../drawings/vmlDrawing1.v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theme" Target="../theme/theme1.xml"/><Relationship Id="rId88"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oleObject" Target="../embeddings/oleObject1.bin"/><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5"/>
            </p:custDataLst>
            <p:extLst>
              <p:ext uri="{D42A27DB-BD31-4B8C-83A1-F6EECF244321}">
                <p14:modId xmlns:p14="http://schemas.microsoft.com/office/powerpoint/2010/main" val="81672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87" imgW="270" imgH="270" progId="TCLayout.ActiveDocument.1">
                  <p:embed/>
                </p:oleObj>
              </mc:Choice>
              <mc:Fallback>
                <p:oleObj name="think-cell Slide" r:id="rId87" imgW="270" imgH="270" progId="TCLayout.ActiveDocument.1">
                  <p:embed/>
                  <p:pic>
                    <p:nvPicPr>
                      <p:cNvPr id="0" name=""/>
                      <p:cNvPicPr/>
                      <p:nvPr/>
                    </p:nvPicPr>
                    <p:blipFill>
                      <a:blip r:embed="rId88"/>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BEFBF3A-05EA-4502-B66F-8E5CF10C7199}"/>
              </a:ext>
            </a:extLst>
          </p:cNvPr>
          <p:cNvSpPr/>
          <p:nvPr userDrawn="1">
            <p:custDataLst>
              <p:tags r:id="rId86"/>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85" r:id="rId2"/>
    <p:sldLayoutId id="2147485186" r:id="rId3"/>
    <p:sldLayoutId id="2147485187" r:id="rId4"/>
    <p:sldLayoutId id="2147485188" r:id="rId5"/>
    <p:sldLayoutId id="2147485189" r:id="rId6"/>
    <p:sldLayoutId id="2147485086" r:id="rId7"/>
    <p:sldLayoutId id="2147485192" r:id="rId8"/>
    <p:sldLayoutId id="2147485183" r:id="rId9"/>
    <p:sldLayoutId id="2147485158" r:id="rId10"/>
    <p:sldLayoutId id="2147485113" r:id="rId11"/>
    <p:sldLayoutId id="2147485114" r:id="rId12"/>
    <p:sldLayoutId id="2147485154" r:id="rId13"/>
    <p:sldLayoutId id="2147485162" r:id="rId14"/>
    <p:sldLayoutId id="2147485149" r:id="rId15"/>
    <p:sldLayoutId id="2147485087" r:id="rId16"/>
    <p:sldLayoutId id="2147485112" r:id="rId17"/>
    <p:sldLayoutId id="2147485155" r:id="rId18"/>
    <p:sldLayoutId id="2147485164" r:id="rId19"/>
    <p:sldLayoutId id="2147485109" r:id="rId20"/>
    <p:sldLayoutId id="2147485165" r:id="rId21"/>
    <p:sldLayoutId id="2147485110" r:id="rId22"/>
    <p:sldLayoutId id="2147485166" r:id="rId23"/>
    <p:sldLayoutId id="2147485156" r:id="rId24"/>
    <p:sldLayoutId id="2147485167" r:id="rId25"/>
    <p:sldLayoutId id="2147485108" r:id="rId26"/>
    <p:sldLayoutId id="2147485107" r:id="rId27"/>
    <p:sldLayoutId id="2147485106" r:id="rId28"/>
    <p:sldLayoutId id="2147485090" r:id="rId29"/>
    <p:sldLayoutId id="2147485091" r:id="rId30"/>
    <p:sldLayoutId id="2147485092" r:id="rId31"/>
    <p:sldLayoutId id="2147485093" r:id="rId32"/>
    <p:sldLayoutId id="2147485116" r:id="rId33"/>
    <p:sldLayoutId id="2147485191" r:id="rId34"/>
    <p:sldLayoutId id="2147485161" r:id="rId35"/>
    <p:sldLayoutId id="2147485159" r:id="rId36"/>
    <p:sldLayoutId id="2147485194" r:id="rId37"/>
    <p:sldLayoutId id="2147485195" r:id="rId38"/>
    <p:sldLayoutId id="2147485196" r:id="rId39"/>
    <p:sldLayoutId id="2147485197" r:id="rId40"/>
    <p:sldLayoutId id="2147485198" r:id="rId41"/>
    <p:sldLayoutId id="2147485119" r:id="rId42"/>
    <p:sldLayoutId id="2147485193" r:id="rId43"/>
    <p:sldLayoutId id="2147485184" r:id="rId44"/>
    <p:sldLayoutId id="2147485137" r:id="rId45"/>
    <p:sldLayoutId id="2147485120" r:id="rId46"/>
    <p:sldLayoutId id="2147485121" r:id="rId47"/>
    <p:sldLayoutId id="2147485141" r:id="rId48"/>
    <p:sldLayoutId id="2147485163" r:id="rId49"/>
    <p:sldLayoutId id="2147485139" r:id="rId50"/>
    <p:sldLayoutId id="2147485140" r:id="rId51"/>
    <p:sldLayoutId id="2147485122" r:id="rId52"/>
    <p:sldLayoutId id="2147485123" r:id="rId53"/>
    <p:sldLayoutId id="2147485151" r:id="rId54"/>
    <p:sldLayoutId id="2147485168" r:id="rId55"/>
    <p:sldLayoutId id="2147485127" r:id="rId56"/>
    <p:sldLayoutId id="2147485169" r:id="rId57"/>
    <p:sldLayoutId id="2147485126" r:id="rId58"/>
    <p:sldLayoutId id="2147485170" r:id="rId59"/>
    <p:sldLayoutId id="2147485153" r:id="rId60"/>
    <p:sldLayoutId id="2147485171" r:id="rId61"/>
    <p:sldLayoutId id="2147485128" r:id="rId62"/>
    <p:sldLayoutId id="2147485129" r:id="rId63"/>
    <p:sldLayoutId id="2147485130" r:id="rId64"/>
    <p:sldLayoutId id="2147485131" r:id="rId65"/>
    <p:sldLayoutId id="2147485145" r:id="rId66"/>
    <p:sldLayoutId id="2147485133" r:id="rId67"/>
    <p:sldLayoutId id="2147485144" r:id="rId68"/>
    <p:sldLayoutId id="2147485134" r:id="rId69"/>
    <p:sldLayoutId id="2147485146" r:id="rId70"/>
    <p:sldLayoutId id="2147485190" r:id="rId71"/>
    <p:sldLayoutId id="2147485160" r:id="rId72"/>
    <p:sldLayoutId id="2147485172" r:id="rId73"/>
    <p:sldLayoutId id="2147485173" r:id="rId74"/>
    <p:sldLayoutId id="2147485174" r:id="rId75"/>
    <p:sldLayoutId id="2147485175" r:id="rId76"/>
    <p:sldLayoutId id="2147485176" r:id="rId77"/>
    <p:sldLayoutId id="2147485177" r:id="rId78"/>
    <p:sldLayoutId id="2147485178" r:id="rId79"/>
    <p:sldLayoutId id="2147485179" r:id="rId80"/>
    <p:sldLayoutId id="2147485180" r:id="rId81"/>
    <p:sldLayoutId id="2147485199" r:id="rId82"/>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81.xml"/><Relationship Id="rId7" Type="http://schemas.openxmlformats.org/officeDocument/2006/relationships/oleObject" Target="../embeddings/oleObject78.bin"/><Relationship Id="rId2" Type="http://schemas.openxmlformats.org/officeDocument/2006/relationships/tags" Target="../tags/tag180.xml"/><Relationship Id="rId1" Type="http://schemas.openxmlformats.org/officeDocument/2006/relationships/vmlDrawing" Target="../drawings/vmlDrawing78.vml"/><Relationship Id="rId6" Type="http://schemas.openxmlformats.org/officeDocument/2006/relationships/notesSlide" Target="../notesSlides/notesSlide1.xml"/><Relationship Id="rId11" Type="http://schemas.openxmlformats.org/officeDocument/2006/relationships/image" Target="../media/image20.png"/><Relationship Id="rId5" Type="http://schemas.openxmlformats.org/officeDocument/2006/relationships/slideLayout" Target="../slideLayouts/slideLayout2.xml"/><Relationship Id="rId10" Type="http://schemas.openxmlformats.org/officeDocument/2006/relationships/image" Target="../media/image19.jpeg"/><Relationship Id="rId4" Type="http://schemas.openxmlformats.org/officeDocument/2006/relationships/tags" Target="../tags/tag182.xml"/><Relationship Id="rId9" Type="http://schemas.openxmlformats.org/officeDocument/2006/relationships/image" Target="../media/image18.png"/></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33.sv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31.xml"/><Relationship Id="rId4" Type="http://schemas.openxmlformats.org/officeDocument/2006/relationships/image" Target="../media/image35.svg"/></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34.png"/><Relationship Id="rId7" Type="http://schemas.openxmlformats.org/officeDocument/2006/relationships/diagramQuickStyle" Target="../diagrams/quickStyle1.xml"/><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35.svg"/><Relationship Id="rId9" Type="http://schemas.microsoft.com/office/2007/relationships/diagramDrawing" Target="../diagrams/drawing1.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31.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slides/_rels/slide1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36.png"/><Relationship Id="rId7" Type="http://schemas.openxmlformats.org/officeDocument/2006/relationships/image" Target="../media/image47.pn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39.svg"/><Relationship Id="rId5" Type="http://schemas.openxmlformats.org/officeDocument/2006/relationships/image" Target="../media/image38.png"/><Relationship Id="rId10" Type="http://schemas.openxmlformats.org/officeDocument/2006/relationships/image" Target="../media/image50.svg"/><Relationship Id="rId4" Type="http://schemas.openxmlformats.org/officeDocument/2006/relationships/image" Target="../media/image37.svg"/><Relationship Id="rId9" Type="http://schemas.openxmlformats.org/officeDocument/2006/relationships/image" Target="../media/image49.png"/></Relationships>
</file>

<file path=ppt/slides/_rels/slide15.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51.png"/><Relationship Id="rId7" Type="http://schemas.openxmlformats.org/officeDocument/2006/relationships/image" Target="../media/image39.svg"/><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8.xml"/><Relationship Id="rId1" Type="http://schemas.openxmlformats.org/officeDocument/2006/relationships/slideLayout" Target="../slideLayouts/slideLayout9.xml"/><Relationship Id="rId5" Type="http://schemas.openxmlformats.org/officeDocument/2006/relationships/image" Target="../media/image56.png"/><Relationship Id="rId4" Type="http://schemas.openxmlformats.org/officeDocument/2006/relationships/image" Target="../media/image55.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oleObject" Target="../embeddings/oleObject79.bin"/><Relationship Id="rId18" Type="http://schemas.openxmlformats.org/officeDocument/2006/relationships/image" Target="../media/image25.jpeg"/><Relationship Id="rId3" Type="http://schemas.openxmlformats.org/officeDocument/2006/relationships/tags" Target="../tags/tag184.xml"/><Relationship Id="rId21" Type="http://schemas.openxmlformats.org/officeDocument/2006/relationships/image" Target="../media/image19.jpeg"/><Relationship Id="rId7" Type="http://schemas.openxmlformats.org/officeDocument/2006/relationships/tags" Target="../tags/tag188.xml"/><Relationship Id="rId12" Type="http://schemas.openxmlformats.org/officeDocument/2006/relationships/notesSlide" Target="../notesSlides/notesSlide2.xml"/><Relationship Id="rId17" Type="http://schemas.openxmlformats.org/officeDocument/2006/relationships/image" Target="../media/image24.jpeg"/><Relationship Id="rId2" Type="http://schemas.openxmlformats.org/officeDocument/2006/relationships/tags" Target="../tags/tag183.xml"/><Relationship Id="rId16" Type="http://schemas.openxmlformats.org/officeDocument/2006/relationships/image" Target="../media/image23.jpeg"/><Relationship Id="rId20" Type="http://schemas.openxmlformats.org/officeDocument/2006/relationships/image" Target="../media/image27.jpeg"/><Relationship Id="rId1" Type="http://schemas.openxmlformats.org/officeDocument/2006/relationships/vmlDrawing" Target="../drawings/vmlDrawing79.vml"/><Relationship Id="rId6" Type="http://schemas.openxmlformats.org/officeDocument/2006/relationships/tags" Target="../tags/tag187.xml"/><Relationship Id="rId11" Type="http://schemas.openxmlformats.org/officeDocument/2006/relationships/slideLayout" Target="../slideLayouts/slideLayout67.xml"/><Relationship Id="rId5" Type="http://schemas.openxmlformats.org/officeDocument/2006/relationships/tags" Target="../tags/tag186.xml"/><Relationship Id="rId15" Type="http://schemas.openxmlformats.org/officeDocument/2006/relationships/image" Target="../media/image22.png"/><Relationship Id="rId10" Type="http://schemas.openxmlformats.org/officeDocument/2006/relationships/tags" Target="../tags/tag191.xml"/><Relationship Id="rId19" Type="http://schemas.openxmlformats.org/officeDocument/2006/relationships/image" Target="../media/image26.jpeg"/><Relationship Id="rId4" Type="http://schemas.openxmlformats.org/officeDocument/2006/relationships/tags" Target="../tags/tag185.xml"/><Relationship Id="rId9" Type="http://schemas.openxmlformats.org/officeDocument/2006/relationships/tags" Target="../tags/tag190.xml"/><Relationship Id="rId14" Type="http://schemas.openxmlformats.org/officeDocument/2006/relationships/image" Target="../media/image21.emf"/></Relationships>
</file>

<file path=ppt/slides/_rels/slide20.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svg"/><Relationship Id="rId18" Type="http://schemas.openxmlformats.org/officeDocument/2006/relationships/image" Target="../media/image67.png"/><Relationship Id="rId3" Type="http://schemas.openxmlformats.org/officeDocument/2006/relationships/diagramData" Target="../diagrams/data2.xml"/><Relationship Id="rId21" Type="http://schemas.openxmlformats.org/officeDocument/2006/relationships/image" Target="../media/image70.svg"/><Relationship Id="rId7" Type="http://schemas.microsoft.com/office/2007/relationships/diagramDrawing" Target="../diagrams/drawing2.xml"/><Relationship Id="rId12" Type="http://schemas.openxmlformats.org/officeDocument/2006/relationships/image" Target="../media/image61.png"/><Relationship Id="rId17" Type="http://schemas.openxmlformats.org/officeDocument/2006/relationships/image" Target="../media/image66.svg"/><Relationship Id="rId2" Type="http://schemas.openxmlformats.org/officeDocument/2006/relationships/notesSlide" Target="../notesSlides/notesSlide20.xml"/><Relationship Id="rId16" Type="http://schemas.openxmlformats.org/officeDocument/2006/relationships/image" Target="../media/image65.png"/><Relationship Id="rId20" Type="http://schemas.openxmlformats.org/officeDocument/2006/relationships/image" Target="../media/image69.png"/><Relationship Id="rId1" Type="http://schemas.openxmlformats.org/officeDocument/2006/relationships/slideLayout" Target="../slideLayouts/slideLayout9.xml"/><Relationship Id="rId6" Type="http://schemas.openxmlformats.org/officeDocument/2006/relationships/diagramColors" Target="../diagrams/colors2.xml"/><Relationship Id="rId11" Type="http://schemas.openxmlformats.org/officeDocument/2006/relationships/image" Target="../media/image60.svg"/><Relationship Id="rId5" Type="http://schemas.openxmlformats.org/officeDocument/2006/relationships/diagramQuickStyle" Target="../diagrams/quickStyle2.xml"/><Relationship Id="rId15" Type="http://schemas.openxmlformats.org/officeDocument/2006/relationships/image" Target="../media/image64.svg"/><Relationship Id="rId10" Type="http://schemas.openxmlformats.org/officeDocument/2006/relationships/image" Target="../media/image59.png"/><Relationship Id="rId19" Type="http://schemas.openxmlformats.org/officeDocument/2006/relationships/image" Target="../media/image68.svg"/><Relationship Id="rId4" Type="http://schemas.openxmlformats.org/officeDocument/2006/relationships/diagramLayout" Target="../diagrams/layout2.xml"/><Relationship Id="rId9" Type="http://schemas.openxmlformats.org/officeDocument/2006/relationships/image" Target="../media/image58.svg"/><Relationship Id="rId14" Type="http://schemas.openxmlformats.org/officeDocument/2006/relationships/image" Target="../media/image6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193.xml"/><Relationship Id="rId7" Type="http://schemas.openxmlformats.org/officeDocument/2006/relationships/oleObject" Target="../embeddings/oleObject80.bin"/><Relationship Id="rId2" Type="http://schemas.openxmlformats.org/officeDocument/2006/relationships/tags" Target="../tags/tag192.xml"/><Relationship Id="rId1" Type="http://schemas.openxmlformats.org/officeDocument/2006/relationships/vmlDrawing" Target="../drawings/vmlDrawing80.vml"/><Relationship Id="rId6" Type="http://schemas.openxmlformats.org/officeDocument/2006/relationships/notesSlide" Target="../notesSlides/notesSlide21.xml"/><Relationship Id="rId5" Type="http://schemas.openxmlformats.org/officeDocument/2006/relationships/slideLayout" Target="../slideLayouts/slideLayout12.xml"/><Relationship Id="rId4" Type="http://schemas.openxmlformats.org/officeDocument/2006/relationships/tags" Target="../tags/tag194.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33.svg"/></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75.jpe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33.svg"/></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4.xml"/><Relationship Id="rId1" Type="http://schemas.openxmlformats.org/officeDocument/2006/relationships/slideLayout" Target="../slideLayouts/slideLayout9.xml"/><Relationship Id="rId5" Type="http://schemas.openxmlformats.org/officeDocument/2006/relationships/image" Target="../media/image76.png"/><Relationship Id="rId4" Type="http://schemas.openxmlformats.org/officeDocument/2006/relationships/image" Target="../media/image33.svg"/></Relationships>
</file>

<file path=ppt/slides/_rels/slide26.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32.png"/><Relationship Id="rId7" Type="http://schemas.openxmlformats.org/officeDocument/2006/relationships/image" Target="../media/image79.png"/><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33.svg"/></Relationships>
</file>

<file path=ppt/slides/_rels/slide27.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32.png"/><Relationship Id="rId7" Type="http://schemas.openxmlformats.org/officeDocument/2006/relationships/image" Target="../media/image83.png"/><Relationship Id="rId2" Type="http://schemas.openxmlformats.org/officeDocument/2006/relationships/notesSlide" Target="../notesSlides/notesSlide26.xml"/><Relationship Id="rId1" Type="http://schemas.openxmlformats.org/officeDocument/2006/relationships/slideLayout" Target="../slideLayouts/slideLayout9.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33.svg"/></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87.png"/><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33.svg"/></Relationships>
</file>

<file path=ppt/slides/_rels/slide2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9.xml"/><Relationship Id="rId5" Type="http://schemas.openxmlformats.org/officeDocument/2006/relationships/image" Target="../media/image33.svg"/><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9.xml"/><Relationship Id="rId5" Type="http://schemas.openxmlformats.org/officeDocument/2006/relationships/image" Target="../media/image33.svg"/><Relationship Id="rId4" Type="http://schemas.openxmlformats.org/officeDocument/2006/relationships/image" Target="../media/image32.png"/></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92.png"/><Relationship Id="rId1" Type="http://schemas.openxmlformats.org/officeDocument/2006/relationships/slideLayout" Target="../slideLayouts/slideLayout9.xml"/><Relationship Id="rId4" Type="http://schemas.openxmlformats.org/officeDocument/2006/relationships/image" Target="../media/image33.sv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94.png"/><Relationship Id="rId7" Type="http://schemas.openxmlformats.org/officeDocument/2006/relationships/image" Target="../media/image37.svg"/><Relationship Id="rId2" Type="http://schemas.openxmlformats.org/officeDocument/2006/relationships/image" Target="../media/image93.png"/><Relationship Id="rId1" Type="http://schemas.openxmlformats.org/officeDocument/2006/relationships/slideLayout" Target="../slideLayouts/slideLayout9.xml"/><Relationship Id="rId6" Type="http://schemas.openxmlformats.org/officeDocument/2006/relationships/image" Target="../media/image36.png"/><Relationship Id="rId5" Type="http://schemas.openxmlformats.org/officeDocument/2006/relationships/image" Target="../media/image96.png"/><Relationship Id="rId4" Type="http://schemas.openxmlformats.org/officeDocument/2006/relationships/image" Target="../media/image95.png"/><Relationship Id="rId9" Type="http://schemas.openxmlformats.org/officeDocument/2006/relationships/image" Target="../media/image39.svg"/></Relationships>
</file>

<file path=ppt/slides/_rels/slide3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98.png"/><Relationship Id="rId7" Type="http://schemas.openxmlformats.org/officeDocument/2006/relationships/image" Target="../media/image37.svg"/><Relationship Id="rId2" Type="http://schemas.openxmlformats.org/officeDocument/2006/relationships/image" Target="../media/image97.png"/><Relationship Id="rId1" Type="http://schemas.openxmlformats.org/officeDocument/2006/relationships/slideLayout" Target="../slideLayouts/slideLayout9.xml"/><Relationship Id="rId6" Type="http://schemas.openxmlformats.org/officeDocument/2006/relationships/image" Target="../media/image36.png"/><Relationship Id="rId5" Type="http://schemas.openxmlformats.org/officeDocument/2006/relationships/image" Target="../media/image100.png"/><Relationship Id="rId4" Type="http://schemas.openxmlformats.org/officeDocument/2006/relationships/image" Target="../media/image99.png"/><Relationship Id="rId9" Type="http://schemas.openxmlformats.org/officeDocument/2006/relationships/image" Target="../media/image39.svg"/></Relationships>
</file>

<file path=ppt/slides/_rels/slide35.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39.svg"/><Relationship Id="rId2" Type="http://schemas.openxmlformats.org/officeDocument/2006/relationships/image" Target="../media/image101.png"/><Relationship Id="rId1" Type="http://schemas.openxmlformats.org/officeDocument/2006/relationships/slideLayout" Target="../slideLayouts/slideLayout9.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36.xml.rels><?xml version="1.0" encoding="UTF-8" standalone="yes"?>
<Relationships xmlns="http://schemas.openxmlformats.org/package/2006/relationships"><Relationship Id="rId3" Type="http://schemas.openxmlformats.org/officeDocument/2006/relationships/image" Target="../media/image104.png"/><Relationship Id="rId7" Type="http://schemas.openxmlformats.org/officeDocument/2006/relationships/image" Target="../media/image39.svg"/><Relationship Id="rId2" Type="http://schemas.openxmlformats.org/officeDocument/2006/relationships/image" Target="../media/image103.png"/><Relationship Id="rId1" Type="http://schemas.openxmlformats.org/officeDocument/2006/relationships/slideLayout" Target="../slideLayouts/slideLayout9.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37.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39.svg"/><Relationship Id="rId2" Type="http://schemas.openxmlformats.org/officeDocument/2006/relationships/image" Target="../media/image105.png"/><Relationship Id="rId1" Type="http://schemas.openxmlformats.org/officeDocument/2006/relationships/slideLayout" Target="../slideLayouts/slideLayout9.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38.xml.rels><?xml version="1.0" encoding="UTF-8" standalone="yes"?>
<Relationships xmlns="http://schemas.openxmlformats.org/package/2006/relationships"><Relationship Id="rId3" Type="http://schemas.openxmlformats.org/officeDocument/2006/relationships/image" Target="../media/image108.png"/><Relationship Id="rId7" Type="http://schemas.openxmlformats.org/officeDocument/2006/relationships/image" Target="../media/image39.svg"/><Relationship Id="rId2" Type="http://schemas.openxmlformats.org/officeDocument/2006/relationships/image" Target="../media/image107.png"/><Relationship Id="rId1" Type="http://schemas.openxmlformats.org/officeDocument/2006/relationships/slideLayout" Target="../slideLayouts/slideLayout9.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39.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110.png"/><Relationship Id="rId7" Type="http://schemas.openxmlformats.org/officeDocument/2006/relationships/image" Target="../media/image38.png"/><Relationship Id="rId2" Type="http://schemas.openxmlformats.org/officeDocument/2006/relationships/image" Target="../media/image109.png"/><Relationship Id="rId1" Type="http://schemas.openxmlformats.org/officeDocument/2006/relationships/slideLayout" Target="../slideLayouts/slideLayout9.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11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4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112.png"/><Relationship Id="rId1" Type="http://schemas.openxmlformats.org/officeDocument/2006/relationships/slideLayout" Target="../slideLayouts/slideLayout9.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1.xml"/></Relationships>
</file>

<file path=ppt/slides/_rels/slide42.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39.svg"/><Relationship Id="rId2" Type="http://schemas.openxmlformats.org/officeDocument/2006/relationships/image" Target="../media/image113.png"/><Relationship Id="rId1" Type="http://schemas.openxmlformats.org/officeDocument/2006/relationships/slideLayout" Target="../slideLayouts/slideLayout9.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43.xml.rels><?xml version="1.0" encoding="UTF-8" standalone="yes"?>
<Relationships xmlns="http://schemas.openxmlformats.org/package/2006/relationships"><Relationship Id="rId3" Type="http://schemas.openxmlformats.org/officeDocument/2006/relationships/image" Target="../media/image116.png"/><Relationship Id="rId7" Type="http://schemas.openxmlformats.org/officeDocument/2006/relationships/image" Target="../media/image39.svg"/><Relationship Id="rId2" Type="http://schemas.openxmlformats.org/officeDocument/2006/relationships/image" Target="../media/image115.png"/><Relationship Id="rId1" Type="http://schemas.openxmlformats.org/officeDocument/2006/relationships/slideLayout" Target="../slideLayouts/slideLayout9.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117.png"/><Relationship Id="rId1" Type="http://schemas.openxmlformats.org/officeDocument/2006/relationships/slideLayout" Target="../slideLayouts/slideLayout9.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slides/_rels/slide45.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39.svg"/><Relationship Id="rId2" Type="http://schemas.openxmlformats.org/officeDocument/2006/relationships/image" Target="../media/image48.png"/><Relationship Id="rId1" Type="http://schemas.openxmlformats.org/officeDocument/2006/relationships/slideLayout" Target="../slideLayouts/slideLayout9.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4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119.png"/><Relationship Id="rId1" Type="http://schemas.openxmlformats.org/officeDocument/2006/relationships/slideLayout" Target="../slideLayouts/slideLayout9.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slides/_rels/slide47.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39.svg"/><Relationship Id="rId2" Type="http://schemas.openxmlformats.org/officeDocument/2006/relationships/image" Target="../media/image120.png"/><Relationship Id="rId1" Type="http://schemas.openxmlformats.org/officeDocument/2006/relationships/slideLayout" Target="../slideLayouts/slideLayout9.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sv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31.sv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 Id="rId14" Type="http://schemas.openxmlformats.org/officeDocument/2006/relationships/image" Target="../media/image39.svg"/></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31.xml"/><Relationship Id="rId4" Type="http://schemas.openxmlformats.org/officeDocument/2006/relationships/image" Target="../media/image40.svg"/></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9.xml"/><Relationship Id="rId5" Type="http://schemas.openxmlformats.org/officeDocument/2006/relationships/image" Target="../media/image41.jpeg"/><Relationship Id="rId4" Type="http://schemas.openxmlformats.org/officeDocument/2006/relationships/image" Target="../media/image33.svg"/></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33.svg"/><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9.xml"/><Relationship Id="rId5" Type="http://schemas.openxmlformats.org/officeDocument/2006/relationships/image" Target="../media/image43.png"/><Relationship Id="rId4" Type="http://schemas.openxmlformats.org/officeDocument/2006/relationships/image" Target="../media/image3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71322D6-8FFD-45A7-8C6B-BF09AD8940A7}"/>
              </a:ext>
            </a:extLst>
          </p:cNvPr>
          <p:cNvGraphicFramePr>
            <a:graphicFrameLocks noChangeAspect="1"/>
          </p:cNvGraphicFramePr>
          <p:nvPr>
            <p:custDataLst>
              <p:tags r:id="rId2"/>
            </p:custDataLst>
            <p:extLst>
              <p:ext uri="{D42A27DB-BD31-4B8C-83A1-F6EECF244321}">
                <p14:modId xmlns:p14="http://schemas.microsoft.com/office/powerpoint/2010/main" val="779185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5" name="think-cell Slide" r:id="rId7" imgW="415" imgH="416" progId="TCLayout.ActiveDocument.1">
                  <p:embed/>
                </p:oleObj>
              </mc:Choice>
              <mc:Fallback>
                <p:oleObj name="think-cell Slide" r:id="rId7" imgW="415" imgH="41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122634B-6CB9-4948-A60A-DD785AA3C005}"/>
              </a:ext>
            </a:extLst>
          </p:cNvPr>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0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Title 6">
            <a:extLst>
              <a:ext uri="{FF2B5EF4-FFF2-40B4-BE49-F238E27FC236}">
                <a16:creationId xmlns:a16="http://schemas.microsoft.com/office/drawing/2014/main" id="{764B447B-A9F2-44E3-9DBB-5092AD87D624}"/>
              </a:ext>
            </a:extLst>
          </p:cNvPr>
          <p:cNvSpPr>
            <a:spLocks noGrp="1"/>
          </p:cNvSpPr>
          <p:nvPr>
            <p:ph type="ctrTitle"/>
          </p:nvPr>
        </p:nvSpPr>
        <p:spPr>
          <a:xfrm>
            <a:off x="719008" y="3873500"/>
            <a:ext cx="6850762" cy="1303020"/>
          </a:xfrm>
        </p:spPr>
        <p:txBody>
          <a:bodyPr vert="horz">
            <a:normAutofit/>
          </a:bodyPr>
          <a:lstStyle/>
          <a:p>
            <a:r>
              <a:rPr lang="en-US" sz="3600"/>
              <a:t>Capstone Project</a:t>
            </a:r>
          </a:p>
        </p:txBody>
      </p:sp>
      <p:sp>
        <p:nvSpPr>
          <p:cNvPr id="8" name="Text Placeholder 7">
            <a:extLst>
              <a:ext uri="{FF2B5EF4-FFF2-40B4-BE49-F238E27FC236}">
                <a16:creationId xmlns:a16="http://schemas.microsoft.com/office/drawing/2014/main" id="{208031C2-5AB3-4A36-898B-7541897BC134}"/>
              </a:ext>
            </a:extLst>
          </p:cNvPr>
          <p:cNvSpPr>
            <a:spLocks noGrp="1"/>
          </p:cNvSpPr>
          <p:nvPr>
            <p:ph type="body" sz="quarter" idx="12"/>
          </p:nvPr>
        </p:nvSpPr>
        <p:spPr>
          <a:xfrm>
            <a:off x="719008" y="6261931"/>
            <a:ext cx="1074012" cy="218971"/>
          </a:xfrm>
        </p:spPr>
        <p:txBody>
          <a:bodyPr/>
          <a:lstStyle/>
          <a:p>
            <a:r>
              <a:rPr lang="en-US">
                <a:solidFill>
                  <a:srgbClr val="29BA74"/>
                </a:solidFill>
              </a:rPr>
              <a:t>13 Jan 2022</a:t>
            </a:r>
          </a:p>
        </p:txBody>
      </p:sp>
      <p:sp>
        <p:nvSpPr>
          <p:cNvPr id="5" name="BcgText 1">
            <a:extLst>
              <a:ext uri="{FF2B5EF4-FFF2-40B4-BE49-F238E27FC236}">
                <a16:creationId xmlns:a16="http://schemas.microsoft.com/office/drawing/2014/main" id="{73C61AC1-8172-4E60-A5C8-BC99B9927A6A}"/>
              </a:ext>
            </a:extLst>
          </p:cNvPr>
          <p:cNvSpPr txBox="1"/>
          <p:nvPr userDrawn="1">
            <p:custDataLst>
              <p:tags r:id="rId4"/>
            </p:custDataLst>
          </p:nvPr>
        </p:nvSpPr>
        <p:spPr>
          <a:xfrm>
            <a:off x="739478" y="4444176"/>
            <a:ext cx="4654765" cy="163361"/>
          </a:xfrm>
          <a:prstGeom prst="rect">
            <a:avLst/>
          </a:prstGeom>
          <a:noFill/>
          <a:ln cap="rnd">
            <a:noFill/>
          </a:ln>
        </p:spPr>
        <p:txBody>
          <a:bodyPr wrap="square" lIns="0" tIns="0" rIns="0" bIns="0" rtlCol="0" anchor="t">
            <a:noAutofit/>
          </a:bodyPr>
          <a:lstStyle/>
          <a:p>
            <a:r>
              <a:rPr lang="en-US" sz="1600">
                <a:solidFill>
                  <a:schemeClr val="bg1"/>
                </a:solidFill>
              </a:rPr>
              <a:t>Presented by: BDA09 Group05 - The Rising Seven</a:t>
            </a:r>
            <a:endParaRPr lang="en-US">
              <a:solidFill>
                <a:schemeClr val="bg1"/>
              </a:solidFill>
            </a:endParaRPr>
          </a:p>
        </p:txBody>
      </p:sp>
      <p:pic>
        <p:nvPicPr>
          <p:cNvPr id="9" name="Picture 8">
            <a:extLst>
              <a:ext uri="{FF2B5EF4-FFF2-40B4-BE49-F238E27FC236}">
                <a16:creationId xmlns:a16="http://schemas.microsoft.com/office/drawing/2014/main" id="{54E14DE8-77B5-4B84-B2B6-99C1E7D93613}"/>
              </a:ext>
            </a:extLst>
          </p:cNvPr>
          <p:cNvPicPr>
            <a:picLocks noChangeAspect="1"/>
          </p:cNvPicPr>
          <p:nvPr/>
        </p:nvPicPr>
        <p:blipFill rotWithShape="1">
          <a:blip r:embed="rId9"/>
          <a:srcRect t="8046" r="108"/>
          <a:stretch/>
        </p:blipFill>
        <p:spPr>
          <a:xfrm>
            <a:off x="6185383" y="2943816"/>
            <a:ext cx="5348823" cy="2361158"/>
          </a:xfrm>
          <a:prstGeom prst="rect">
            <a:avLst/>
          </a:prstGeom>
          <a:ln>
            <a:noFill/>
          </a:ln>
          <a:effectLst>
            <a:softEdge rad="112500"/>
          </a:effectLst>
        </p:spPr>
      </p:pic>
      <p:pic>
        <p:nvPicPr>
          <p:cNvPr id="4" name="Picture 4" descr="Logo, company name&#10;&#10;Description automatically generated">
            <a:extLst>
              <a:ext uri="{FF2B5EF4-FFF2-40B4-BE49-F238E27FC236}">
                <a16:creationId xmlns:a16="http://schemas.microsoft.com/office/drawing/2014/main" id="{3528DC97-F71F-41A9-AB0E-5D9B8CA71B59}"/>
              </a:ext>
            </a:extLst>
          </p:cNvPr>
          <p:cNvPicPr>
            <a:picLocks noChangeAspect="1"/>
          </p:cNvPicPr>
          <p:nvPr/>
        </p:nvPicPr>
        <p:blipFill>
          <a:blip r:embed="rId10"/>
          <a:stretch>
            <a:fillRect/>
          </a:stretch>
        </p:blipFill>
        <p:spPr>
          <a:xfrm>
            <a:off x="11205198" y="113050"/>
            <a:ext cx="831214" cy="87273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6" name="Picture 5" descr="Logo&#10;&#10;Description automatically generated">
            <a:extLst>
              <a:ext uri="{FF2B5EF4-FFF2-40B4-BE49-F238E27FC236}">
                <a16:creationId xmlns:a16="http://schemas.microsoft.com/office/drawing/2014/main" id="{10A24290-E732-4617-AA59-875D328AC0B4}"/>
              </a:ext>
            </a:extLst>
          </p:cNvPr>
          <p:cNvPicPr>
            <a:picLocks noChangeAspect="1"/>
          </p:cNvPicPr>
          <p:nvPr/>
        </p:nvPicPr>
        <p:blipFill>
          <a:blip r:embed="rId11"/>
          <a:stretch>
            <a:fillRect/>
          </a:stretch>
        </p:blipFill>
        <p:spPr>
          <a:xfrm>
            <a:off x="10306692" y="4645289"/>
            <a:ext cx="1065089" cy="478431"/>
          </a:xfrm>
          <a:prstGeom prst="rect">
            <a:avLst/>
          </a:prstGeom>
        </p:spPr>
      </p:pic>
    </p:spTree>
    <p:extLst>
      <p:ext uri="{BB962C8B-B14F-4D97-AF65-F5344CB8AC3E}">
        <p14:creationId xmlns:p14="http://schemas.microsoft.com/office/powerpoint/2010/main" val="87337203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4AA63-35D8-4136-8B2F-DE1837A583A2}"/>
              </a:ext>
            </a:extLst>
          </p:cNvPr>
          <p:cNvSpPr>
            <a:spLocks noGrp="1"/>
          </p:cNvSpPr>
          <p:nvPr>
            <p:ph type="title"/>
          </p:nvPr>
        </p:nvSpPr>
        <p:spPr>
          <a:xfrm>
            <a:off x="630000" y="314142"/>
            <a:ext cx="10933350" cy="470898"/>
          </a:xfrm>
        </p:spPr>
        <p:txBody>
          <a:bodyPr/>
          <a:lstStyle/>
          <a:p>
            <a:r>
              <a:rPr lang="en-US">
                <a:solidFill>
                  <a:srgbClr val="002060"/>
                </a:solidFill>
                <a:ea typeface="+mj-lt"/>
                <a:cs typeface="+mj-lt"/>
              </a:rPr>
              <a:t>Bus Frequency of </a:t>
            </a:r>
            <a:r>
              <a:rPr lang="en-US" err="1">
                <a:solidFill>
                  <a:srgbClr val="002060"/>
                </a:solidFill>
                <a:ea typeface="+mj-lt"/>
                <a:cs typeface="+mj-lt"/>
              </a:rPr>
              <a:t>Imbiah</a:t>
            </a:r>
            <a:r>
              <a:rPr lang="en-US">
                <a:solidFill>
                  <a:srgbClr val="002060"/>
                </a:solidFill>
                <a:ea typeface="+mj-lt"/>
                <a:cs typeface="+mj-lt"/>
              </a:rPr>
              <a:t> Lookout </a:t>
            </a:r>
            <a:endParaRPr lang="en-US">
              <a:ea typeface="+mj-lt"/>
              <a:cs typeface="+mj-lt"/>
            </a:endParaRPr>
          </a:p>
        </p:txBody>
      </p:sp>
      <p:sp>
        <p:nvSpPr>
          <p:cNvPr id="18" name="Flowchart: Connector 17">
            <a:extLst>
              <a:ext uri="{FF2B5EF4-FFF2-40B4-BE49-F238E27FC236}">
                <a16:creationId xmlns:a16="http://schemas.microsoft.com/office/drawing/2014/main" id="{4C8E7E93-D719-4D68-AF75-84A3D92DD60C}"/>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p>
        </p:txBody>
      </p:sp>
      <p:pic>
        <p:nvPicPr>
          <p:cNvPr id="19" name="Graphic 18" descr="Bar chart">
            <a:extLst>
              <a:ext uri="{FF2B5EF4-FFF2-40B4-BE49-F238E27FC236}">
                <a16:creationId xmlns:a16="http://schemas.microsoft.com/office/drawing/2014/main" id="{34C08A26-CA1B-4581-85D4-0D95F9633B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14721" y="32586"/>
            <a:ext cx="553679" cy="553679"/>
          </a:xfrm>
          <a:prstGeom prst="rect">
            <a:avLst/>
          </a:prstGeom>
        </p:spPr>
      </p:pic>
      <p:sp>
        <p:nvSpPr>
          <p:cNvPr id="3" name="TextBox 2">
            <a:extLst>
              <a:ext uri="{FF2B5EF4-FFF2-40B4-BE49-F238E27FC236}">
                <a16:creationId xmlns:a16="http://schemas.microsoft.com/office/drawing/2014/main" id="{2321500F-B116-49E9-B713-1C89E59A92D6}"/>
              </a:ext>
            </a:extLst>
          </p:cNvPr>
          <p:cNvSpPr txBox="1"/>
          <p:nvPr/>
        </p:nvSpPr>
        <p:spPr>
          <a:xfrm>
            <a:off x="573146" y="911071"/>
            <a:ext cx="2743200" cy="4001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u="sng">
                <a:solidFill>
                  <a:srgbClr val="002060"/>
                </a:solidFill>
              </a:rPr>
              <a:t>Weekdays</a:t>
            </a:r>
          </a:p>
        </p:txBody>
      </p:sp>
      <p:sp>
        <p:nvSpPr>
          <p:cNvPr id="12" name="TextBox 11">
            <a:extLst>
              <a:ext uri="{FF2B5EF4-FFF2-40B4-BE49-F238E27FC236}">
                <a16:creationId xmlns:a16="http://schemas.microsoft.com/office/drawing/2014/main" id="{95E46411-4A0C-41AA-9250-790D71323EA7}"/>
              </a:ext>
            </a:extLst>
          </p:cNvPr>
          <p:cNvSpPr txBox="1"/>
          <p:nvPr/>
        </p:nvSpPr>
        <p:spPr>
          <a:xfrm>
            <a:off x="5815789" y="913916"/>
            <a:ext cx="3108324" cy="4001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u="sng">
                <a:solidFill>
                  <a:srgbClr val="002060"/>
                </a:solidFill>
              </a:rPr>
              <a:t>Weekends and holidays</a:t>
            </a:r>
          </a:p>
        </p:txBody>
      </p:sp>
      <p:sp>
        <p:nvSpPr>
          <p:cNvPr id="10" name="TextBox 9">
            <a:extLst>
              <a:ext uri="{FF2B5EF4-FFF2-40B4-BE49-F238E27FC236}">
                <a16:creationId xmlns:a16="http://schemas.microsoft.com/office/drawing/2014/main" id="{42FB9C20-3D6F-40FF-ABFC-89E5858742B1}"/>
              </a:ext>
            </a:extLst>
          </p:cNvPr>
          <p:cNvSpPr txBox="1"/>
          <p:nvPr/>
        </p:nvSpPr>
        <p:spPr>
          <a:xfrm>
            <a:off x="542762" y="4502109"/>
            <a:ext cx="451061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ea typeface="+mn-lt"/>
                <a:cs typeface="+mn-lt"/>
              </a:rPr>
              <a:t>Source :  3 months actual ridership data (Jan to March 2021</a:t>
            </a:r>
            <a:r>
              <a:rPr lang="en-US" sz="1000">
                <a:latin typeface="Arial"/>
                <a:ea typeface="+mn-lt"/>
                <a:cs typeface="Calibri"/>
              </a:rPr>
              <a:t>) from SDC</a:t>
            </a:r>
            <a:endParaRPr lang="en-US" sz="1000">
              <a:latin typeface="Arial"/>
              <a:cs typeface="Calibri"/>
            </a:endParaRPr>
          </a:p>
        </p:txBody>
      </p:sp>
      <p:sp>
        <p:nvSpPr>
          <p:cNvPr id="15" name="TextBox 14">
            <a:extLst>
              <a:ext uri="{FF2B5EF4-FFF2-40B4-BE49-F238E27FC236}">
                <a16:creationId xmlns:a16="http://schemas.microsoft.com/office/drawing/2014/main" id="{66ACABA1-7700-449A-A7C2-2D4C94CED2C7}"/>
              </a:ext>
            </a:extLst>
          </p:cNvPr>
          <p:cNvSpPr txBox="1"/>
          <p:nvPr/>
        </p:nvSpPr>
        <p:spPr>
          <a:xfrm>
            <a:off x="658702" y="5425376"/>
            <a:ext cx="10157670" cy="864415"/>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SG" sz="1600">
                <a:solidFill>
                  <a:srgbClr val="002060"/>
                </a:solidFill>
                <a:ea typeface="+mn-lt"/>
                <a:cs typeface="+mn-lt"/>
              </a:rPr>
              <a:t>Based on the highest ridership for every hour and taking the maximum bus capacity of 50pax, we identified that the actual bus deployment required to support the highest ridership could be more than required. There is a possibility of under-utilised buses using the current fixed bus schedule.</a:t>
            </a:r>
            <a:endParaRPr lang="en-SG">
              <a:solidFill>
                <a:srgbClr val="002060"/>
              </a:solidFill>
              <a:ea typeface="+mn-lt"/>
              <a:cs typeface="+mn-lt"/>
            </a:endParaRPr>
          </a:p>
        </p:txBody>
      </p:sp>
      <p:pic>
        <p:nvPicPr>
          <p:cNvPr id="7" name="Picture 8" descr="Text&#10;&#10;Description automatically generated">
            <a:extLst>
              <a:ext uri="{FF2B5EF4-FFF2-40B4-BE49-F238E27FC236}">
                <a16:creationId xmlns:a16="http://schemas.microsoft.com/office/drawing/2014/main" id="{39EBC9D3-EE2E-4A60-B21B-2E3F051B1C2C}"/>
              </a:ext>
            </a:extLst>
          </p:cNvPr>
          <p:cNvPicPr>
            <a:picLocks noChangeAspect="1"/>
          </p:cNvPicPr>
          <p:nvPr/>
        </p:nvPicPr>
        <p:blipFill>
          <a:blip r:embed="rId5"/>
          <a:stretch>
            <a:fillRect/>
          </a:stretch>
        </p:blipFill>
        <p:spPr>
          <a:xfrm>
            <a:off x="6578140" y="4462441"/>
            <a:ext cx="4249271" cy="748034"/>
          </a:xfrm>
          <a:prstGeom prst="rect">
            <a:avLst/>
          </a:prstGeom>
        </p:spPr>
      </p:pic>
      <p:pic>
        <p:nvPicPr>
          <p:cNvPr id="26" name="Picture 26" descr="Chart, line chart&#10;&#10;Description automatically generated">
            <a:extLst>
              <a:ext uri="{FF2B5EF4-FFF2-40B4-BE49-F238E27FC236}">
                <a16:creationId xmlns:a16="http://schemas.microsoft.com/office/drawing/2014/main" id="{3E7D9E39-2C33-40F6-B21B-E6ABF43A27B6}"/>
              </a:ext>
            </a:extLst>
          </p:cNvPr>
          <p:cNvPicPr>
            <a:picLocks noChangeAspect="1"/>
          </p:cNvPicPr>
          <p:nvPr/>
        </p:nvPicPr>
        <p:blipFill>
          <a:blip r:embed="rId6"/>
          <a:stretch>
            <a:fillRect/>
          </a:stretch>
        </p:blipFill>
        <p:spPr>
          <a:xfrm>
            <a:off x="5818094" y="1303300"/>
            <a:ext cx="4993341" cy="3077022"/>
          </a:xfrm>
          <a:prstGeom prst="rect">
            <a:avLst/>
          </a:prstGeom>
        </p:spPr>
      </p:pic>
      <p:pic>
        <p:nvPicPr>
          <p:cNvPr id="27" name="Picture 27" descr="Chart, line chart&#10;&#10;Description automatically generated">
            <a:extLst>
              <a:ext uri="{FF2B5EF4-FFF2-40B4-BE49-F238E27FC236}">
                <a16:creationId xmlns:a16="http://schemas.microsoft.com/office/drawing/2014/main" id="{8B582F99-5D50-4D77-A9E6-86BF01C61EEE}"/>
              </a:ext>
            </a:extLst>
          </p:cNvPr>
          <p:cNvPicPr>
            <a:picLocks noChangeAspect="1"/>
          </p:cNvPicPr>
          <p:nvPr/>
        </p:nvPicPr>
        <p:blipFill>
          <a:blip r:embed="rId7"/>
          <a:stretch>
            <a:fillRect/>
          </a:stretch>
        </p:blipFill>
        <p:spPr>
          <a:xfrm>
            <a:off x="573742" y="1312958"/>
            <a:ext cx="5020235" cy="3066670"/>
          </a:xfrm>
          <a:prstGeom prst="rect">
            <a:avLst/>
          </a:prstGeom>
        </p:spPr>
      </p:pic>
      <p:sp>
        <p:nvSpPr>
          <p:cNvPr id="4" name="Arrow: Left 3">
            <a:extLst>
              <a:ext uri="{FF2B5EF4-FFF2-40B4-BE49-F238E27FC236}">
                <a16:creationId xmlns:a16="http://schemas.microsoft.com/office/drawing/2014/main" id="{BDB31FE2-9758-4877-B34F-461A9AC9F934}"/>
              </a:ext>
            </a:extLst>
          </p:cNvPr>
          <p:cNvSpPr/>
          <p:nvPr/>
        </p:nvSpPr>
        <p:spPr>
          <a:xfrm rot="-5400000">
            <a:off x="2742389" y="2879656"/>
            <a:ext cx="665142" cy="230632"/>
          </a:xfrm>
          <a:prstGeom prst="leftArrow">
            <a:avLst/>
          </a:prstGeom>
          <a:solidFill>
            <a:srgbClr val="FF000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18944418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Connector 1">
            <a:extLst>
              <a:ext uri="{FF2B5EF4-FFF2-40B4-BE49-F238E27FC236}">
                <a16:creationId xmlns:a16="http://schemas.microsoft.com/office/drawing/2014/main" id="{D2AC414D-C8F9-4E07-9D41-5AAD3600E4CA}"/>
              </a:ext>
            </a:extLst>
          </p:cNvPr>
          <p:cNvSpPr>
            <a:spLocks noChangeAspect="1"/>
          </p:cNvSpPr>
          <p:nvPr/>
        </p:nvSpPr>
        <p:spPr>
          <a:xfrm>
            <a:off x="3820357" y="1233749"/>
            <a:ext cx="4017115" cy="3996764"/>
          </a:xfrm>
          <a:prstGeom prst="flowChartConnector">
            <a:avLst/>
          </a:prstGeom>
          <a:noFill/>
          <a:ln w="571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a:solidFill>
                <a:srgbClr val="002060"/>
              </a:solidFill>
              <a:ea typeface="+mn-lt"/>
              <a:cs typeface="+mn-lt"/>
            </a:endParaRPr>
          </a:p>
          <a:p>
            <a:pPr algn="ctr"/>
            <a:endParaRPr lang="en-SG">
              <a:solidFill>
                <a:srgbClr val="002060"/>
              </a:solidFill>
              <a:ea typeface="+mn-lt"/>
              <a:cs typeface="+mn-lt"/>
            </a:endParaRPr>
          </a:p>
          <a:p>
            <a:pPr algn="ctr"/>
            <a:endParaRPr lang="en-SG">
              <a:solidFill>
                <a:srgbClr val="002060"/>
              </a:solidFill>
            </a:endParaRPr>
          </a:p>
          <a:p>
            <a:pPr algn="ctr"/>
            <a:endParaRPr lang="en-SG" sz="3200">
              <a:solidFill>
                <a:srgbClr val="002060"/>
              </a:solidFill>
            </a:endParaRPr>
          </a:p>
          <a:p>
            <a:pPr algn="ctr"/>
            <a:r>
              <a:rPr lang="en-SG" sz="3200" b="1">
                <a:solidFill>
                  <a:srgbClr val="FFFFFF"/>
                </a:solidFill>
              </a:rPr>
              <a:t>Feature Engineering</a:t>
            </a:r>
            <a:endParaRPr lang="en-SG"/>
          </a:p>
        </p:txBody>
      </p:sp>
      <p:pic>
        <p:nvPicPr>
          <p:cNvPr id="3" name="Graphic 2" descr="Gears">
            <a:extLst>
              <a:ext uri="{FF2B5EF4-FFF2-40B4-BE49-F238E27FC236}">
                <a16:creationId xmlns:a16="http://schemas.microsoft.com/office/drawing/2014/main" id="{6F382BC0-49BA-48AF-BA38-82F2ED538C6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71798" y="2016784"/>
            <a:ext cx="1314518" cy="1314518"/>
          </a:xfrm>
          <a:prstGeom prst="rect">
            <a:avLst/>
          </a:prstGeom>
        </p:spPr>
      </p:pic>
    </p:spTree>
    <p:extLst>
      <p:ext uri="{BB962C8B-B14F-4D97-AF65-F5344CB8AC3E}">
        <p14:creationId xmlns:p14="http://schemas.microsoft.com/office/powerpoint/2010/main" val="106464194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6793C5A-1FE2-4545-A578-A16C2B6C45C4}"/>
              </a:ext>
            </a:extLst>
          </p:cNvPr>
          <p:cNvSpPr>
            <a:spLocks noGrp="1"/>
          </p:cNvSpPr>
          <p:nvPr>
            <p:ph type="title"/>
          </p:nvPr>
        </p:nvSpPr>
        <p:spPr>
          <a:xfrm>
            <a:off x="630000" y="622800"/>
            <a:ext cx="10188474" cy="470898"/>
          </a:xfrm>
        </p:spPr>
        <p:txBody>
          <a:bodyPr/>
          <a:lstStyle/>
          <a:p>
            <a:r>
              <a:rPr lang="en-US">
                <a:solidFill>
                  <a:srgbClr val="002060"/>
                </a:solidFill>
              </a:rPr>
              <a:t>Feature Selection</a:t>
            </a:r>
            <a:endParaRPr lang="en-US"/>
          </a:p>
        </p:txBody>
      </p:sp>
      <p:sp>
        <p:nvSpPr>
          <p:cNvPr id="17" name="Flowchart: Connector 16">
            <a:extLst>
              <a:ext uri="{FF2B5EF4-FFF2-40B4-BE49-F238E27FC236}">
                <a16:creationId xmlns:a16="http://schemas.microsoft.com/office/drawing/2014/main" id="{BADD6901-4349-466A-837B-49CC2A6BB764}"/>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Feature Engineering</a:t>
            </a:r>
            <a:endParaRPr lang="en-SG">
              <a:solidFill>
                <a:schemeClr val="bg1"/>
              </a:solidFill>
            </a:endParaRPr>
          </a:p>
        </p:txBody>
      </p:sp>
      <p:pic>
        <p:nvPicPr>
          <p:cNvPr id="60" name="Graphic 59" descr="Gears">
            <a:extLst>
              <a:ext uri="{FF2B5EF4-FFF2-40B4-BE49-F238E27FC236}">
                <a16:creationId xmlns:a16="http://schemas.microsoft.com/office/drawing/2014/main" id="{30AA7644-B695-49AF-A4E1-C86E1691F8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385294" y="71325"/>
            <a:ext cx="602586" cy="592289"/>
          </a:xfrm>
          <a:prstGeom prst="rect">
            <a:avLst/>
          </a:prstGeom>
        </p:spPr>
      </p:pic>
      <p:graphicFrame>
        <p:nvGraphicFramePr>
          <p:cNvPr id="52" name="Diagram 51">
            <a:extLst>
              <a:ext uri="{FF2B5EF4-FFF2-40B4-BE49-F238E27FC236}">
                <a16:creationId xmlns:a16="http://schemas.microsoft.com/office/drawing/2014/main" id="{C255B91C-8C66-41AC-96CF-25F03474A6A9}"/>
              </a:ext>
            </a:extLst>
          </p:cNvPr>
          <p:cNvGraphicFramePr/>
          <p:nvPr/>
        </p:nvGraphicFramePr>
        <p:xfrm>
          <a:off x="630000" y="523795"/>
          <a:ext cx="11186080" cy="633420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25626575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Connector 1">
            <a:extLst>
              <a:ext uri="{FF2B5EF4-FFF2-40B4-BE49-F238E27FC236}">
                <a16:creationId xmlns:a16="http://schemas.microsoft.com/office/drawing/2014/main" id="{D2AC414D-C8F9-4E07-9D41-5AAD3600E4CA}"/>
              </a:ext>
            </a:extLst>
          </p:cNvPr>
          <p:cNvSpPr>
            <a:spLocks noChangeAspect="1"/>
          </p:cNvSpPr>
          <p:nvPr/>
        </p:nvSpPr>
        <p:spPr>
          <a:xfrm>
            <a:off x="3820357" y="1233749"/>
            <a:ext cx="4017115" cy="3996764"/>
          </a:xfrm>
          <a:prstGeom prst="flowChartConnector">
            <a:avLst/>
          </a:prstGeom>
          <a:noFill/>
          <a:ln w="571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a:solidFill>
                <a:srgbClr val="002060"/>
              </a:solidFill>
              <a:ea typeface="+mn-lt"/>
              <a:cs typeface="+mn-lt"/>
            </a:endParaRPr>
          </a:p>
          <a:p>
            <a:pPr algn="ctr"/>
            <a:endParaRPr lang="en-SG">
              <a:solidFill>
                <a:srgbClr val="002060"/>
              </a:solidFill>
              <a:ea typeface="+mn-lt"/>
              <a:cs typeface="+mn-lt"/>
            </a:endParaRPr>
          </a:p>
          <a:p>
            <a:pPr algn="ctr"/>
            <a:endParaRPr lang="en-SG">
              <a:solidFill>
                <a:srgbClr val="002060"/>
              </a:solidFill>
            </a:endParaRPr>
          </a:p>
          <a:p>
            <a:pPr algn="ctr"/>
            <a:endParaRPr lang="en-SG" sz="3200">
              <a:solidFill>
                <a:srgbClr val="002060"/>
              </a:solidFill>
            </a:endParaRPr>
          </a:p>
          <a:p>
            <a:pPr algn="ctr"/>
            <a:r>
              <a:rPr lang="en-SG" sz="3200" b="1">
                <a:solidFill>
                  <a:srgbClr val="FFFFFF"/>
                </a:solidFill>
              </a:rPr>
              <a:t>Machine Learning Modelling</a:t>
            </a:r>
            <a:endParaRPr lang="en-SG"/>
          </a:p>
        </p:txBody>
      </p:sp>
      <p:grpSp>
        <p:nvGrpSpPr>
          <p:cNvPr id="10" name="Group 9">
            <a:extLst>
              <a:ext uri="{FF2B5EF4-FFF2-40B4-BE49-F238E27FC236}">
                <a16:creationId xmlns:a16="http://schemas.microsoft.com/office/drawing/2014/main" id="{258CA1F2-5352-4D56-9429-D795344C6B88}"/>
              </a:ext>
            </a:extLst>
          </p:cNvPr>
          <p:cNvGrpSpPr/>
          <p:nvPr/>
        </p:nvGrpSpPr>
        <p:grpSpPr>
          <a:xfrm>
            <a:off x="5022773" y="1715514"/>
            <a:ext cx="1519327" cy="1510146"/>
            <a:chOff x="5445086" y="2055200"/>
            <a:chExt cx="839954" cy="839954"/>
          </a:xfrm>
        </p:grpSpPr>
        <p:pic>
          <p:nvPicPr>
            <p:cNvPr id="7" name="Graphic 6" descr="Arrow circle">
              <a:extLst>
                <a:ext uri="{FF2B5EF4-FFF2-40B4-BE49-F238E27FC236}">
                  <a16:creationId xmlns:a16="http://schemas.microsoft.com/office/drawing/2014/main" id="{FF3B21C2-DAAF-4FBE-8407-DFE323F63AD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45086" y="2055200"/>
              <a:ext cx="839954" cy="839954"/>
            </a:xfrm>
            <a:prstGeom prst="rect">
              <a:avLst/>
            </a:prstGeom>
          </p:spPr>
        </p:pic>
        <p:pic>
          <p:nvPicPr>
            <p:cNvPr id="9" name="Graphic 8" descr="Single gear">
              <a:extLst>
                <a:ext uri="{FF2B5EF4-FFF2-40B4-BE49-F238E27FC236}">
                  <a16:creationId xmlns:a16="http://schemas.microsoft.com/office/drawing/2014/main" id="{B3CA0067-ED0D-4588-907B-F5FCB4DB586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05398" y="2278667"/>
              <a:ext cx="363124" cy="363124"/>
            </a:xfrm>
            <a:prstGeom prst="rect">
              <a:avLst/>
            </a:prstGeom>
          </p:spPr>
        </p:pic>
      </p:grpSp>
    </p:spTree>
    <p:extLst>
      <p:ext uri="{BB962C8B-B14F-4D97-AF65-F5344CB8AC3E}">
        <p14:creationId xmlns:p14="http://schemas.microsoft.com/office/powerpoint/2010/main" val="350518854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55FFC18C-8093-41B4-9A1B-E8868316B7F3}"/>
              </a:ext>
            </a:extLst>
          </p:cNvPr>
          <p:cNvGrpSpPr/>
          <p:nvPr/>
        </p:nvGrpSpPr>
        <p:grpSpPr>
          <a:xfrm>
            <a:off x="10931699" y="-199070"/>
            <a:ext cx="1519721" cy="1519870"/>
            <a:chOff x="10931699" y="-199070"/>
            <a:chExt cx="1519721" cy="1519870"/>
          </a:xfrm>
        </p:grpSpPr>
        <p:sp>
          <p:nvSpPr>
            <p:cNvPr id="6" name="Flowchart: Connector 5">
              <a:extLst>
                <a:ext uri="{FF2B5EF4-FFF2-40B4-BE49-F238E27FC236}">
                  <a16:creationId xmlns:a16="http://schemas.microsoft.com/office/drawing/2014/main" id="{CF9E7E23-E6AE-4EAD-BC81-7763A524FABE}"/>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Machine Learning Modelling</a:t>
              </a:r>
              <a:endParaRPr lang="en-SG">
                <a:solidFill>
                  <a:schemeClr val="bg1"/>
                </a:solidFill>
              </a:endParaRPr>
            </a:p>
          </p:txBody>
        </p:sp>
        <p:pic>
          <p:nvPicPr>
            <p:cNvPr id="12" name="Graphic 11" descr="Arrow circle">
              <a:extLst>
                <a:ext uri="{FF2B5EF4-FFF2-40B4-BE49-F238E27FC236}">
                  <a16:creationId xmlns:a16="http://schemas.microsoft.com/office/drawing/2014/main" id="{DFD7E0DD-9A8A-4E18-BA95-743EB51DCC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88667" y="-83187"/>
              <a:ext cx="720089" cy="720089"/>
            </a:xfrm>
            <a:prstGeom prst="rect">
              <a:avLst/>
            </a:prstGeom>
          </p:spPr>
        </p:pic>
        <p:pic>
          <p:nvPicPr>
            <p:cNvPr id="14" name="Graphic 13" descr="Single gear">
              <a:extLst>
                <a:ext uri="{FF2B5EF4-FFF2-40B4-BE49-F238E27FC236}">
                  <a16:creationId xmlns:a16="http://schemas.microsoft.com/office/drawing/2014/main" id="{9E82A69E-4635-4809-8566-FFBDBAB122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504964" y="114594"/>
              <a:ext cx="311754" cy="311754"/>
            </a:xfrm>
            <a:prstGeom prst="rect">
              <a:avLst/>
            </a:prstGeom>
          </p:spPr>
        </p:pic>
      </p:grpSp>
      <p:sp>
        <p:nvSpPr>
          <p:cNvPr id="4" name="Title 1">
            <a:extLst>
              <a:ext uri="{FF2B5EF4-FFF2-40B4-BE49-F238E27FC236}">
                <a16:creationId xmlns:a16="http://schemas.microsoft.com/office/drawing/2014/main" id="{513CAA53-13D7-4313-8D45-14F4147EA5D0}"/>
              </a:ext>
            </a:extLst>
          </p:cNvPr>
          <p:cNvSpPr txBox="1">
            <a:spLocks/>
          </p:cNvSpPr>
          <p:nvPr/>
        </p:nvSpPr>
        <p:spPr>
          <a:xfrm>
            <a:off x="596382" y="185770"/>
            <a:ext cx="10188474" cy="4708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SG">
                <a:ea typeface="+mj-lt"/>
                <a:cs typeface="+mj-lt"/>
              </a:rPr>
              <a:t>Time Series Modelling (SARIMAX)</a:t>
            </a:r>
            <a:endParaRPr lang="en-US">
              <a:ea typeface="+mj-lt"/>
              <a:cs typeface="+mj-lt"/>
            </a:endParaRPr>
          </a:p>
        </p:txBody>
      </p:sp>
      <p:grpSp>
        <p:nvGrpSpPr>
          <p:cNvPr id="33" name="Group 32">
            <a:extLst>
              <a:ext uri="{FF2B5EF4-FFF2-40B4-BE49-F238E27FC236}">
                <a16:creationId xmlns:a16="http://schemas.microsoft.com/office/drawing/2014/main" id="{1A60CE19-5118-4A2B-9381-1DE6CC5D1F64}"/>
              </a:ext>
            </a:extLst>
          </p:cNvPr>
          <p:cNvGrpSpPr/>
          <p:nvPr/>
        </p:nvGrpSpPr>
        <p:grpSpPr>
          <a:xfrm>
            <a:off x="629256" y="5286040"/>
            <a:ext cx="5817255" cy="703033"/>
            <a:chOff x="625810" y="4935633"/>
            <a:chExt cx="5231816" cy="637985"/>
          </a:xfrm>
        </p:grpSpPr>
        <p:pic>
          <p:nvPicPr>
            <p:cNvPr id="18" name="Picture 18">
              <a:extLst>
                <a:ext uri="{FF2B5EF4-FFF2-40B4-BE49-F238E27FC236}">
                  <a16:creationId xmlns:a16="http://schemas.microsoft.com/office/drawing/2014/main" id="{01844450-929B-4C6F-8685-6FF3118F02E2}"/>
                </a:ext>
              </a:extLst>
            </p:cNvPr>
            <p:cNvPicPr>
              <a:picLocks noChangeAspect="1"/>
            </p:cNvPicPr>
            <p:nvPr/>
          </p:nvPicPr>
          <p:blipFill>
            <a:blip r:embed="rId7"/>
            <a:stretch>
              <a:fillRect/>
            </a:stretch>
          </p:blipFill>
          <p:spPr>
            <a:xfrm>
              <a:off x="629989" y="4935633"/>
              <a:ext cx="5227637" cy="637985"/>
            </a:xfrm>
            <a:prstGeom prst="rect">
              <a:avLst/>
            </a:prstGeom>
          </p:spPr>
        </p:pic>
        <p:sp>
          <p:nvSpPr>
            <p:cNvPr id="27" name="Rectangle 26">
              <a:extLst>
                <a:ext uri="{FF2B5EF4-FFF2-40B4-BE49-F238E27FC236}">
                  <a16:creationId xmlns:a16="http://schemas.microsoft.com/office/drawing/2014/main" id="{1085EEA4-0F74-4601-B0CF-FE2599EB9A10}"/>
                </a:ext>
              </a:extLst>
            </p:cNvPr>
            <p:cNvSpPr/>
            <p:nvPr/>
          </p:nvSpPr>
          <p:spPr>
            <a:xfrm>
              <a:off x="625810" y="4940524"/>
              <a:ext cx="721462" cy="618188"/>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sp>
          <p:nvSpPr>
            <p:cNvPr id="28" name="Rectangle 27">
              <a:extLst>
                <a:ext uri="{FF2B5EF4-FFF2-40B4-BE49-F238E27FC236}">
                  <a16:creationId xmlns:a16="http://schemas.microsoft.com/office/drawing/2014/main" id="{28FDC5A9-3EE3-4145-B1B8-3B46F9314E01}"/>
                </a:ext>
              </a:extLst>
            </p:cNvPr>
            <p:cNvSpPr/>
            <p:nvPr/>
          </p:nvSpPr>
          <p:spPr>
            <a:xfrm>
              <a:off x="4863900" y="4957390"/>
              <a:ext cx="549000" cy="584458"/>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grpSp>
      <p:sp>
        <p:nvSpPr>
          <p:cNvPr id="32" name="TextBox 31">
            <a:extLst>
              <a:ext uri="{FF2B5EF4-FFF2-40B4-BE49-F238E27FC236}">
                <a16:creationId xmlns:a16="http://schemas.microsoft.com/office/drawing/2014/main" id="{41E099E5-F68B-4939-9F7A-B9CC2E5F333A}"/>
              </a:ext>
            </a:extLst>
          </p:cNvPr>
          <p:cNvSpPr txBox="1"/>
          <p:nvPr/>
        </p:nvSpPr>
        <p:spPr>
          <a:xfrm>
            <a:off x="8566174" y="2923403"/>
            <a:ext cx="3316088" cy="2184333"/>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SG" sz="1600">
                <a:solidFill>
                  <a:srgbClr val="002060"/>
                </a:solidFill>
              </a:rPr>
              <a:t>SARIMAX Model was applied to account for seasonal trends and exogenous factors such as rain, holidays and weekends.</a:t>
            </a:r>
            <a:endParaRPr lang="en-SG" sz="1600">
              <a:solidFill>
                <a:srgbClr val="FFFFFF"/>
              </a:solidFill>
            </a:endParaRPr>
          </a:p>
          <a:p>
            <a:endParaRPr lang="en-SG" sz="1600">
              <a:solidFill>
                <a:srgbClr val="002060"/>
              </a:solidFill>
            </a:endParaRPr>
          </a:p>
          <a:p>
            <a:r>
              <a:rPr lang="en-SG" sz="1600">
                <a:solidFill>
                  <a:srgbClr val="002060"/>
                </a:solidFill>
              </a:rPr>
              <a:t>R2 score and Mean Average Percentage Error (MAPE) to determine accuracy of our model</a:t>
            </a:r>
            <a:endParaRPr lang="en-SG" sz="1600">
              <a:solidFill>
                <a:srgbClr val="FFFFFF"/>
              </a:solidFill>
            </a:endParaRPr>
          </a:p>
        </p:txBody>
      </p:sp>
      <p:pic>
        <p:nvPicPr>
          <p:cNvPr id="2" name="Picture 4" descr="Chart, histogram&#10;&#10;Description automatically generated">
            <a:extLst>
              <a:ext uri="{FF2B5EF4-FFF2-40B4-BE49-F238E27FC236}">
                <a16:creationId xmlns:a16="http://schemas.microsoft.com/office/drawing/2014/main" id="{A614BDB2-A87C-4D6E-B961-198BF7854FE2}"/>
              </a:ext>
            </a:extLst>
          </p:cNvPr>
          <p:cNvPicPr>
            <a:picLocks noChangeAspect="1"/>
          </p:cNvPicPr>
          <p:nvPr/>
        </p:nvPicPr>
        <p:blipFill>
          <a:blip r:embed="rId8"/>
          <a:stretch>
            <a:fillRect/>
          </a:stretch>
        </p:blipFill>
        <p:spPr>
          <a:xfrm>
            <a:off x="627101" y="1316157"/>
            <a:ext cx="7623793" cy="3777896"/>
          </a:xfrm>
          <a:prstGeom prst="rect">
            <a:avLst/>
          </a:prstGeom>
        </p:spPr>
      </p:pic>
      <p:sp>
        <p:nvSpPr>
          <p:cNvPr id="36" name="TextBox 35">
            <a:extLst>
              <a:ext uri="{FF2B5EF4-FFF2-40B4-BE49-F238E27FC236}">
                <a16:creationId xmlns:a16="http://schemas.microsoft.com/office/drawing/2014/main" id="{F7D95DB6-AB55-4004-B0F3-E52A8FA9E4EF}"/>
              </a:ext>
            </a:extLst>
          </p:cNvPr>
          <p:cNvSpPr txBox="1"/>
          <p:nvPr/>
        </p:nvSpPr>
        <p:spPr>
          <a:xfrm>
            <a:off x="471002" y="6294153"/>
            <a:ext cx="451061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ea typeface="+mn-lt"/>
                <a:cs typeface="+mn-lt"/>
              </a:rPr>
              <a:t>Source :  3 months actual ridership data (Jan to March 2021</a:t>
            </a:r>
            <a:r>
              <a:rPr lang="en-US" sz="1000">
                <a:latin typeface="Arial"/>
                <a:ea typeface="+mn-lt"/>
                <a:cs typeface="Calibri"/>
              </a:rPr>
              <a:t>) from SDC</a:t>
            </a:r>
            <a:endParaRPr lang="en-US" sz="1000">
              <a:latin typeface="Arial"/>
              <a:cs typeface="Calibri"/>
            </a:endParaRPr>
          </a:p>
        </p:txBody>
      </p:sp>
      <p:sp>
        <p:nvSpPr>
          <p:cNvPr id="3" name="Rectangle 2">
            <a:extLst>
              <a:ext uri="{FF2B5EF4-FFF2-40B4-BE49-F238E27FC236}">
                <a16:creationId xmlns:a16="http://schemas.microsoft.com/office/drawing/2014/main" id="{8217E3E6-EBA6-4390-8CAA-BF07F6ECED4C}"/>
              </a:ext>
            </a:extLst>
          </p:cNvPr>
          <p:cNvSpPr/>
          <p:nvPr/>
        </p:nvSpPr>
        <p:spPr>
          <a:xfrm>
            <a:off x="596153" y="1716741"/>
            <a:ext cx="342900" cy="2415989"/>
          </a:xfrm>
          <a:prstGeom prst="rect">
            <a:avLst/>
          </a:prstGeom>
          <a:noFill/>
          <a:ln w="28575" cap="rnd" cmpd="sng" algn="ctr">
            <a:solidFill>
              <a:srgbClr val="FF8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 name="TextBox 10">
            <a:extLst>
              <a:ext uri="{FF2B5EF4-FFF2-40B4-BE49-F238E27FC236}">
                <a16:creationId xmlns:a16="http://schemas.microsoft.com/office/drawing/2014/main" id="{A6F20F02-BD7A-4398-8CBB-C5E420FA8443}"/>
              </a:ext>
            </a:extLst>
          </p:cNvPr>
          <p:cNvSpPr txBox="1"/>
          <p:nvPr/>
        </p:nvSpPr>
        <p:spPr>
          <a:xfrm>
            <a:off x="1045751" y="1000815"/>
            <a:ext cx="3596713" cy="261610"/>
          </a:xfrm>
          <a:prstGeom prst="rect">
            <a:avLst/>
          </a:prstGeom>
          <a:noFill/>
          <a:ln w="12700"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b="1">
                <a:solidFill>
                  <a:srgbClr val="FF8400"/>
                </a:solidFill>
              </a:rPr>
              <a:t>Dataset have been transformed &amp; logged for scaling</a:t>
            </a:r>
          </a:p>
        </p:txBody>
      </p:sp>
      <p:pic>
        <p:nvPicPr>
          <p:cNvPr id="7" name="Graphic 7" descr="Line arrow: Clockwise curve with solid fill">
            <a:extLst>
              <a:ext uri="{FF2B5EF4-FFF2-40B4-BE49-F238E27FC236}">
                <a16:creationId xmlns:a16="http://schemas.microsoft.com/office/drawing/2014/main" id="{7F5D9E48-B08B-444C-A287-52FEDFFC1CE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3600000">
            <a:off x="582273" y="1112448"/>
            <a:ext cx="614218" cy="614218"/>
          </a:xfrm>
          <a:prstGeom prst="rect">
            <a:avLst/>
          </a:prstGeom>
        </p:spPr>
      </p:pic>
    </p:spTree>
    <p:extLst>
      <p:ext uri="{BB962C8B-B14F-4D97-AF65-F5344CB8AC3E}">
        <p14:creationId xmlns:p14="http://schemas.microsoft.com/office/powerpoint/2010/main" val="40843669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8" descr="Chart, line chart&#10;&#10;Description automatically generated">
            <a:extLst>
              <a:ext uri="{FF2B5EF4-FFF2-40B4-BE49-F238E27FC236}">
                <a16:creationId xmlns:a16="http://schemas.microsoft.com/office/drawing/2014/main" id="{BB0FEA3F-D819-4B77-A827-0CADCE750344}"/>
              </a:ext>
            </a:extLst>
          </p:cNvPr>
          <p:cNvPicPr>
            <a:picLocks noChangeAspect="1"/>
          </p:cNvPicPr>
          <p:nvPr/>
        </p:nvPicPr>
        <p:blipFill>
          <a:blip r:embed="rId3"/>
          <a:stretch>
            <a:fillRect/>
          </a:stretch>
        </p:blipFill>
        <p:spPr>
          <a:xfrm>
            <a:off x="141514" y="1212107"/>
            <a:ext cx="6128657" cy="3475844"/>
          </a:xfrm>
          <a:prstGeom prst="rect">
            <a:avLst/>
          </a:prstGeom>
        </p:spPr>
      </p:pic>
      <p:sp>
        <p:nvSpPr>
          <p:cNvPr id="2" name="Title 1">
            <a:extLst>
              <a:ext uri="{FF2B5EF4-FFF2-40B4-BE49-F238E27FC236}">
                <a16:creationId xmlns:a16="http://schemas.microsoft.com/office/drawing/2014/main" id="{1CAEE4F4-60D4-46CA-A79F-1CD22235EEA0}"/>
              </a:ext>
            </a:extLst>
          </p:cNvPr>
          <p:cNvSpPr>
            <a:spLocks noGrp="1"/>
          </p:cNvSpPr>
          <p:nvPr>
            <p:ph type="title"/>
          </p:nvPr>
        </p:nvSpPr>
        <p:spPr/>
        <p:txBody>
          <a:bodyPr/>
          <a:lstStyle/>
          <a:p>
            <a:r>
              <a:rPr lang="en-SG"/>
              <a:t>Ridership Predictions for 1st Week of April 2021</a:t>
            </a:r>
          </a:p>
        </p:txBody>
      </p:sp>
      <p:grpSp>
        <p:nvGrpSpPr>
          <p:cNvPr id="8" name="Group 7">
            <a:extLst>
              <a:ext uri="{FF2B5EF4-FFF2-40B4-BE49-F238E27FC236}">
                <a16:creationId xmlns:a16="http://schemas.microsoft.com/office/drawing/2014/main" id="{0BA96E81-F16A-4482-9E7E-049FDFCE8DF3}"/>
              </a:ext>
            </a:extLst>
          </p:cNvPr>
          <p:cNvGrpSpPr/>
          <p:nvPr/>
        </p:nvGrpSpPr>
        <p:grpSpPr>
          <a:xfrm>
            <a:off x="10931699" y="-199070"/>
            <a:ext cx="1519721" cy="1519870"/>
            <a:chOff x="10931699" y="-199070"/>
            <a:chExt cx="1519721" cy="1519870"/>
          </a:xfrm>
        </p:grpSpPr>
        <p:sp>
          <p:nvSpPr>
            <p:cNvPr id="5" name="Flowchart: Connector 4">
              <a:extLst>
                <a:ext uri="{FF2B5EF4-FFF2-40B4-BE49-F238E27FC236}">
                  <a16:creationId xmlns:a16="http://schemas.microsoft.com/office/drawing/2014/main" id="{58610ECC-2FA5-41B3-9408-2BA965E5E0F9}"/>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Machine Learning Modelling</a:t>
              </a:r>
              <a:endParaRPr lang="en-SG">
                <a:solidFill>
                  <a:schemeClr val="bg1"/>
                </a:solidFill>
              </a:endParaRPr>
            </a:p>
          </p:txBody>
        </p:sp>
        <p:pic>
          <p:nvPicPr>
            <p:cNvPr id="6" name="Graphic 5" descr="Arrow circle">
              <a:extLst>
                <a:ext uri="{FF2B5EF4-FFF2-40B4-BE49-F238E27FC236}">
                  <a16:creationId xmlns:a16="http://schemas.microsoft.com/office/drawing/2014/main" id="{164B2C9C-3E91-468A-9DAF-AF700534F6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88667" y="-83187"/>
              <a:ext cx="720089" cy="720089"/>
            </a:xfrm>
            <a:prstGeom prst="rect">
              <a:avLst/>
            </a:prstGeom>
          </p:spPr>
        </p:pic>
        <p:pic>
          <p:nvPicPr>
            <p:cNvPr id="7" name="Graphic 6" descr="Single gear">
              <a:extLst>
                <a:ext uri="{FF2B5EF4-FFF2-40B4-BE49-F238E27FC236}">
                  <a16:creationId xmlns:a16="http://schemas.microsoft.com/office/drawing/2014/main" id="{46DD1ED4-CC6A-4C7F-B82E-F28AB15A74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514733" y="114594"/>
              <a:ext cx="311754" cy="311754"/>
            </a:xfrm>
            <a:prstGeom prst="rect">
              <a:avLst/>
            </a:prstGeom>
          </p:spPr>
        </p:pic>
      </p:grpSp>
      <p:sp>
        <p:nvSpPr>
          <p:cNvPr id="4" name="TextBox 3">
            <a:extLst>
              <a:ext uri="{FF2B5EF4-FFF2-40B4-BE49-F238E27FC236}">
                <a16:creationId xmlns:a16="http://schemas.microsoft.com/office/drawing/2014/main" id="{E46E2F92-A159-4912-84AA-DB46BFE3D9EB}"/>
              </a:ext>
            </a:extLst>
          </p:cNvPr>
          <p:cNvSpPr txBox="1"/>
          <p:nvPr/>
        </p:nvSpPr>
        <p:spPr>
          <a:xfrm>
            <a:off x="139241" y="4927266"/>
            <a:ext cx="1927629" cy="337944"/>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SG" sz="1600">
                <a:solidFill>
                  <a:srgbClr val="002060"/>
                </a:solidFill>
              </a:rPr>
              <a:t>Weekly Predictions</a:t>
            </a:r>
            <a:endParaRPr lang="en-US"/>
          </a:p>
        </p:txBody>
      </p:sp>
      <p:sp>
        <p:nvSpPr>
          <p:cNvPr id="13" name="Rectangle 12">
            <a:extLst>
              <a:ext uri="{FF2B5EF4-FFF2-40B4-BE49-F238E27FC236}">
                <a16:creationId xmlns:a16="http://schemas.microsoft.com/office/drawing/2014/main" id="{FBC020E8-35CC-4608-825A-F2C3D7F17A69}"/>
              </a:ext>
            </a:extLst>
          </p:cNvPr>
          <p:cNvSpPr/>
          <p:nvPr/>
        </p:nvSpPr>
        <p:spPr>
          <a:xfrm>
            <a:off x="483727" y="1327980"/>
            <a:ext cx="873317" cy="3259143"/>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cxnSp>
        <p:nvCxnSpPr>
          <p:cNvPr id="15" name="Straight Arrow Connector 14">
            <a:extLst>
              <a:ext uri="{FF2B5EF4-FFF2-40B4-BE49-F238E27FC236}">
                <a16:creationId xmlns:a16="http://schemas.microsoft.com/office/drawing/2014/main" id="{2522F95F-F659-4F93-A324-7ADD484F38A6}"/>
              </a:ext>
            </a:extLst>
          </p:cNvPr>
          <p:cNvCxnSpPr/>
          <p:nvPr/>
        </p:nvCxnSpPr>
        <p:spPr>
          <a:xfrm>
            <a:off x="1926218" y="4870608"/>
            <a:ext cx="10099462" cy="786647"/>
          </a:xfrm>
          <a:prstGeom prst="straightConnector1">
            <a:avLst/>
          </a:prstGeom>
          <a:ln w="28575" cap="rnd">
            <a:solidFill>
              <a:srgbClr val="FF8C00"/>
            </a:solidFill>
            <a:prstDash val="solid"/>
            <a:round/>
            <a:tailEnd type="non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1E24D10-25A9-42F6-B4A4-852E1CB8541C}"/>
              </a:ext>
            </a:extLst>
          </p:cNvPr>
          <p:cNvCxnSpPr>
            <a:cxnSpLocks/>
          </p:cNvCxnSpPr>
          <p:nvPr/>
        </p:nvCxnSpPr>
        <p:spPr>
          <a:xfrm>
            <a:off x="494030" y="4590616"/>
            <a:ext cx="5693607" cy="1088985"/>
          </a:xfrm>
          <a:prstGeom prst="straightConnector1">
            <a:avLst/>
          </a:prstGeom>
          <a:ln w="28575" cap="rnd">
            <a:solidFill>
              <a:srgbClr val="FF8C00"/>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D181DE7-5237-45A4-9F61-2873C0724F7B}"/>
              </a:ext>
            </a:extLst>
          </p:cNvPr>
          <p:cNvSpPr txBox="1"/>
          <p:nvPr/>
        </p:nvSpPr>
        <p:spPr>
          <a:xfrm>
            <a:off x="6200604" y="5853211"/>
            <a:ext cx="2747355" cy="326399"/>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SG" sz="1600">
                <a:solidFill>
                  <a:srgbClr val="002060"/>
                </a:solidFill>
              </a:rPr>
              <a:t>Hourly Prediction for 1 Day</a:t>
            </a:r>
            <a:endParaRPr lang="en-US"/>
          </a:p>
        </p:txBody>
      </p:sp>
      <p:pic>
        <p:nvPicPr>
          <p:cNvPr id="9" name="Picture 9" descr="Chart, line chart&#10;&#10;Description automatically generated">
            <a:extLst>
              <a:ext uri="{FF2B5EF4-FFF2-40B4-BE49-F238E27FC236}">
                <a16:creationId xmlns:a16="http://schemas.microsoft.com/office/drawing/2014/main" id="{4808EF87-719E-4DC9-AB3F-F94B7F635A80}"/>
              </a:ext>
            </a:extLst>
          </p:cNvPr>
          <p:cNvPicPr>
            <a:picLocks noChangeAspect="1"/>
          </p:cNvPicPr>
          <p:nvPr/>
        </p:nvPicPr>
        <p:blipFill>
          <a:blip r:embed="rId8"/>
          <a:stretch>
            <a:fillRect/>
          </a:stretch>
        </p:blipFill>
        <p:spPr>
          <a:xfrm>
            <a:off x="6202461" y="2388642"/>
            <a:ext cx="5816255" cy="3391738"/>
          </a:xfrm>
          <a:prstGeom prst="rect">
            <a:avLst/>
          </a:prstGeom>
        </p:spPr>
      </p:pic>
      <p:sp>
        <p:nvSpPr>
          <p:cNvPr id="14" name="Rectangle 13">
            <a:extLst>
              <a:ext uri="{FF2B5EF4-FFF2-40B4-BE49-F238E27FC236}">
                <a16:creationId xmlns:a16="http://schemas.microsoft.com/office/drawing/2014/main" id="{DE96116D-A890-4EBF-BAFB-3F4B23F0096C}"/>
              </a:ext>
            </a:extLst>
          </p:cNvPr>
          <p:cNvSpPr/>
          <p:nvPr/>
        </p:nvSpPr>
        <p:spPr>
          <a:xfrm>
            <a:off x="6204489" y="2385980"/>
            <a:ext cx="5817188" cy="3397505"/>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sp>
        <p:nvSpPr>
          <p:cNvPr id="10" name="TextBox 9">
            <a:extLst>
              <a:ext uri="{FF2B5EF4-FFF2-40B4-BE49-F238E27FC236}">
                <a16:creationId xmlns:a16="http://schemas.microsoft.com/office/drawing/2014/main" id="{D34D6A7A-78CE-4CCE-9DC5-BD86F4FD8AC4}"/>
              </a:ext>
            </a:extLst>
          </p:cNvPr>
          <p:cNvSpPr txBox="1"/>
          <p:nvPr/>
        </p:nvSpPr>
        <p:spPr>
          <a:xfrm rot="18900000">
            <a:off x="1311198" y="1558222"/>
            <a:ext cx="2431473" cy="2769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a:solidFill>
                  <a:srgbClr val="FF8400"/>
                </a:solidFill>
              </a:rPr>
              <a:t>Good Friday (PH)</a:t>
            </a:r>
          </a:p>
        </p:txBody>
      </p:sp>
      <p:sp>
        <p:nvSpPr>
          <p:cNvPr id="16" name="TextBox 15">
            <a:extLst>
              <a:ext uri="{FF2B5EF4-FFF2-40B4-BE49-F238E27FC236}">
                <a16:creationId xmlns:a16="http://schemas.microsoft.com/office/drawing/2014/main" id="{9A8FC709-A485-422C-BA50-F810E51C8CD2}"/>
              </a:ext>
            </a:extLst>
          </p:cNvPr>
          <p:cNvSpPr txBox="1"/>
          <p:nvPr/>
        </p:nvSpPr>
        <p:spPr>
          <a:xfrm rot="-2700000">
            <a:off x="2080491" y="1443227"/>
            <a:ext cx="2743200" cy="2769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a:solidFill>
                  <a:srgbClr val="FF8400"/>
                </a:solidFill>
              </a:rPr>
              <a:t>Saturday (Weekend)</a:t>
            </a:r>
          </a:p>
        </p:txBody>
      </p:sp>
    </p:spTree>
    <p:extLst>
      <p:ext uri="{BB962C8B-B14F-4D97-AF65-F5344CB8AC3E}">
        <p14:creationId xmlns:p14="http://schemas.microsoft.com/office/powerpoint/2010/main" val="124941847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0435EA-AD4F-4934-83BC-D5D53AFD93E9}"/>
              </a:ext>
            </a:extLst>
          </p:cNvPr>
          <p:cNvSpPr>
            <a:spLocks noGrp="1"/>
          </p:cNvSpPr>
          <p:nvPr>
            <p:ph type="title"/>
          </p:nvPr>
        </p:nvSpPr>
        <p:spPr>
          <a:xfrm>
            <a:off x="630000" y="309453"/>
            <a:ext cx="10933350" cy="941796"/>
          </a:xfrm>
        </p:spPr>
        <p:txBody>
          <a:bodyPr/>
          <a:lstStyle/>
          <a:p>
            <a:r>
              <a:rPr lang="en-SG">
                <a:ea typeface="+mj-lt"/>
                <a:cs typeface="+mj-lt"/>
              </a:rPr>
              <a:t>Predicted Minimum Bus Frequency Required </a:t>
            </a:r>
            <a:br>
              <a:rPr lang="en-SG">
                <a:ea typeface="+mj-lt"/>
                <a:cs typeface="+mj-lt"/>
              </a:rPr>
            </a:br>
            <a:r>
              <a:rPr lang="en-SG">
                <a:ea typeface="+mj-lt"/>
                <a:cs typeface="+mj-lt"/>
              </a:rPr>
              <a:t>on 1st April 2021</a:t>
            </a:r>
            <a:endParaRPr lang="en-US"/>
          </a:p>
        </p:txBody>
      </p:sp>
      <p:sp>
        <p:nvSpPr>
          <p:cNvPr id="12" name="TextBox 11">
            <a:extLst>
              <a:ext uri="{FF2B5EF4-FFF2-40B4-BE49-F238E27FC236}">
                <a16:creationId xmlns:a16="http://schemas.microsoft.com/office/drawing/2014/main" id="{AAEC2426-37C0-4083-9090-89DDF94F295F}"/>
              </a:ext>
            </a:extLst>
          </p:cNvPr>
          <p:cNvSpPr txBox="1"/>
          <p:nvPr/>
        </p:nvSpPr>
        <p:spPr>
          <a:xfrm>
            <a:off x="9805628" y="1818480"/>
            <a:ext cx="2050025" cy="4356869"/>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SG" sz="1600">
                <a:solidFill>
                  <a:srgbClr val="002060"/>
                </a:solidFill>
              </a:rPr>
              <a:t>Legend</a:t>
            </a:r>
          </a:p>
        </p:txBody>
      </p:sp>
      <p:sp>
        <p:nvSpPr>
          <p:cNvPr id="9" name="TextBox 8">
            <a:extLst>
              <a:ext uri="{FF2B5EF4-FFF2-40B4-BE49-F238E27FC236}">
                <a16:creationId xmlns:a16="http://schemas.microsoft.com/office/drawing/2014/main" id="{E953D56B-E197-4EF3-86AC-EB83FF562830}"/>
              </a:ext>
            </a:extLst>
          </p:cNvPr>
          <p:cNvSpPr txBox="1"/>
          <p:nvPr/>
        </p:nvSpPr>
        <p:spPr>
          <a:xfrm>
            <a:off x="10200085" y="3047195"/>
            <a:ext cx="1530816" cy="83099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a:solidFill>
                  <a:srgbClr val="1C2449"/>
                </a:solidFill>
              </a:rPr>
              <a:t>Additional buffer of </a:t>
            </a:r>
            <a:r>
              <a:rPr lang="en-US" sz="1200" b="1">
                <a:solidFill>
                  <a:srgbClr val="1C2449"/>
                </a:solidFill>
              </a:rPr>
              <a:t>16.25% </a:t>
            </a:r>
            <a:r>
              <a:rPr lang="en-US" sz="1200">
                <a:solidFill>
                  <a:srgbClr val="1C2449"/>
                </a:solidFill>
              </a:rPr>
              <a:t>according to MAPE Value in Prediction Model</a:t>
            </a:r>
          </a:p>
        </p:txBody>
      </p:sp>
      <p:sp>
        <p:nvSpPr>
          <p:cNvPr id="10" name="Rectangle 9">
            <a:extLst>
              <a:ext uri="{FF2B5EF4-FFF2-40B4-BE49-F238E27FC236}">
                <a16:creationId xmlns:a16="http://schemas.microsoft.com/office/drawing/2014/main" id="{A949E116-7148-4CA9-A41F-83DB47255D80}"/>
              </a:ext>
            </a:extLst>
          </p:cNvPr>
          <p:cNvSpPr/>
          <p:nvPr/>
        </p:nvSpPr>
        <p:spPr>
          <a:xfrm>
            <a:off x="9984361" y="3117893"/>
            <a:ext cx="224884" cy="568094"/>
          </a:xfrm>
          <a:prstGeom prst="rect">
            <a:avLst/>
          </a:prstGeom>
          <a:solidFill>
            <a:srgbClr val="FF8C00"/>
          </a:solidFill>
          <a:ln w="952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4" name="Picture 4" descr="Chart, line chart&#10;&#10;Description automatically generated">
            <a:extLst>
              <a:ext uri="{FF2B5EF4-FFF2-40B4-BE49-F238E27FC236}">
                <a16:creationId xmlns:a16="http://schemas.microsoft.com/office/drawing/2014/main" id="{A250FD57-6309-4718-A617-85A0EA99B27E}"/>
              </a:ext>
            </a:extLst>
          </p:cNvPr>
          <p:cNvPicPr>
            <a:picLocks noChangeAspect="1"/>
          </p:cNvPicPr>
          <p:nvPr/>
        </p:nvPicPr>
        <p:blipFill>
          <a:blip r:embed="rId3"/>
          <a:stretch>
            <a:fillRect/>
          </a:stretch>
        </p:blipFill>
        <p:spPr>
          <a:xfrm>
            <a:off x="631093" y="1815119"/>
            <a:ext cx="8985738" cy="4439144"/>
          </a:xfrm>
          <a:prstGeom prst="rect">
            <a:avLst/>
          </a:prstGeom>
        </p:spPr>
      </p:pic>
      <p:sp>
        <p:nvSpPr>
          <p:cNvPr id="19" name="TextBox 18">
            <a:extLst>
              <a:ext uri="{FF2B5EF4-FFF2-40B4-BE49-F238E27FC236}">
                <a16:creationId xmlns:a16="http://schemas.microsoft.com/office/drawing/2014/main" id="{3AD73E51-E951-474F-9A5D-F6D82A01A37E}"/>
              </a:ext>
            </a:extLst>
          </p:cNvPr>
          <p:cNvSpPr txBox="1"/>
          <p:nvPr/>
        </p:nvSpPr>
        <p:spPr>
          <a:xfrm>
            <a:off x="10200085" y="2299413"/>
            <a:ext cx="1530816"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a:solidFill>
                  <a:srgbClr val="1C2449"/>
                </a:solidFill>
              </a:rPr>
              <a:t>Predicted </a:t>
            </a:r>
            <a:endParaRPr lang="en-US"/>
          </a:p>
          <a:p>
            <a:r>
              <a:rPr lang="en-US" sz="1200">
                <a:solidFill>
                  <a:srgbClr val="1C2449"/>
                </a:solidFill>
              </a:rPr>
              <a:t>Ridership</a:t>
            </a:r>
            <a:endParaRPr lang="en-US"/>
          </a:p>
        </p:txBody>
      </p:sp>
      <p:sp>
        <p:nvSpPr>
          <p:cNvPr id="20" name="Rectangle 19">
            <a:extLst>
              <a:ext uri="{FF2B5EF4-FFF2-40B4-BE49-F238E27FC236}">
                <a16:creationId xmlns:a16="http://schemas.microsoft.com/office/drawing/2014/main" id="{15B8A76D-FA13-4296-BC22-4279F19678FE}"/>
              </a:ext>
            </a:extLst>
          </p:cNvPr>
          <p:cNvSpPr/>
          <p:nvPr/>
        </p:nvSpPr>
        <p:spPr>
          <a:xfrm>
            <a:off x="9984361" y="2295735"/>
            <a:ext cx="224884" cy="568094"/>
          </a:xfrm>
          <a:prstGeom prst="rect">
            <a:avLst/>
          </a:prstGeom>
          <a:solidFill>
            <a:srgbClr val="0070C0"/>
          </a:solidFill>
          <a:ln w="952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1" name="Rectangle 20">
            <a:extLst>
              <a:ext uri="{FF2B5EF4-FFF2-40B4-BE49-F238E27FC236}">
                <a16:creationId xmlns:a16="http://schemas.microsoft.com/office/drawing/2014/main" id="{0F3AB545-8B7B-4F3B-BCAB-1B2065C8A613}"/>
              </a:ext>
            </a:extLst>
          </p:cNvPr>
          <p:cNvSpPr/>
          <p:nvPr/>
        </p:nvSpPr>
        <p:spPr>
          <a:xfrm>
            <a:off x="9984360" y="4040313"/>
            <a:ext cx="224884" cy="568094"/>
          </a:xfrm>
          <a:prstGeom prst="rect">
            <a:avLst/>
          </a:prstGeom>
          <a:solidFill>
            <a:srgbClr val="FF0000"/>
          </a:solidFill>
          <a:ln w="952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2" name="TextBox 21">
            <a:extLst>
              <a:ext uri="{FF2B5EF4-FFF2-40B4-BE49-F238E27FC236}">
                <a16:creationId xmlns:a16="http://schemas.microsoft.com/office/drawing/2014/main" id="{F5EDEB65-A697-4CE2-A547-919E61D07AEA}"/>
              </a:ext>
            </a:extLst>
          </p:cNvPr>
          <p:cNvSpPr txBox="1"/>
          <p:nvPr/>
        </p:nvSpPr>
        <p:spPr>
          <a:xfrm>
            <a:off x="10200085" y="4033965"/>
            <a:ext cx="1530816"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a:solidFill>
                  <a:srgbClr val="1C2449"/>
                </a:solidFill>
              </a:rPr>
              <a:t>Predicted Minimum Bus Frequency</a:t>
            </a:r>
            <a:endParaRPr lang="en-US"/>
          </a:p>
        </p:txBody>
      </p:sp>
      <p:grpSp>
        <p:nvGrpSpPr>
          <p:cNvPr id="6" name="Group 5">
            <a:extLst>
              <a:ext uri="{FF2B5EF4-FFF2-40B4-BE49-F238E27FC236}">
                <a16:creationId xmlns:a16="http://schemas.microsoft.com/office/drawing/2014/main" id="{59B1B3B7-FA33-4D9C-A1BA-AA07B2AE00BB}"/>
              </a:ext>
            </a:extLst>
          </p:cNvPr>
          <p:cNvGrpSpPr/>
          <p:nvPr/>
        </p:nvGrpSpPr>
        <p:grpSpPr>
          <a:xfrm>
            <a:off x="4250533" y="1018327"/>
            <a:ext cx="7009898" cy="2798161"/>
            <a:chOff x="4250533" y="1018327"/>
            <a:chExt cx="7009898" cy="2798161"/>
          </a:xfrm>
        </p:grpSpPr>
        <p:sp>
          <p:nvSpPr>
            <p:cNvPr id="17" name="Oval 16">
              <a:extLst>
                <a:ext uri="{FF2B5EF4-FFF2-40B4-BE49-F238E27FC236}">
                  <a16:creationId xmlns:a16="http://schemas.microsoft.com/office/drawing/2014/main" id="{6FDF350C-C97C-400B-B87D-6901DDEB82E0}"/>
                </a:ext>
              </a:extLst>
            </p:cNvPr>
            <p:cNvSpPr/>
            <p:nvPr/>
          </p:nvSpPr>
          <p:spPr>
            <a:xfrm>
              <a:off x="4250533" y="2180194"/>
              <a:ext cx="914400" cy="914400"/>
            </a:xfrm>
            <a:prstGeom prst="ellipse">
              <a:avLst/>
            </a:prstGeom>
            <a:noFill/>
            <a:ln w="57150"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8" name="Oval 17">
              <a:extLst>
                <a:ext uri="{FF2B5EF4-FFF2-40B4-BE49-F238E27FC236}">
                  <a16:creationId xmlns:a16="http://schemas.microsoft.com/office/drawing/2014/main" id="{3C4A1E42-C144-4D19-AD56-DC9E3BC28DA6}"/>
                </a:ext>
              </a:extLst>
            </p:cNvPr>
            <p:cNvSpPr/>
            <p:nvPr/>
          </p:nvSpPr>
          <p:spPr>
            <a:xfrm>
              <a:off x="6095375" y="2902088"/>
              <a:ext cx="914400" cy="914400"/>
            </a:xfrm>
            <a:prstGeom prst="ellipse">
              <a:avLst/>
            </a:prstGeom>
            <a:noFill/>
            <a:ln w="57150"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25" name="Straight Arrow Connector 24">
              <a:extLst>
                <a:ext uri="{FF2B5EF4-FFF2-40B4-BE49-F238E27FC236}">
                  <a16:creationId xmlns:a16="http://schemas.microsoft.com/office/drawing/2014/main" id="{86C75B88-0208-4015-B9DF-BF70E495BB7A}"/>
                </a:ext>
              </a:extLst>
            </p:cNvPr>
            <p:cNvCxnSpPr/>
            <p:nvPr/>
          </p:nvCxnSpPr>
          <p:spPr>
            <a:xfrm flipV="1">
              <a:off x="5147889" y="1495397"/>
              <a:ext cx="1586162" cy="900363"/>
            </a:xfrm>
            <a:prstGeom prst="straightConnector1">
              <a:avLst/>
            </a:prstGeom>
            <a:ln w="57150" cap="rnd">
              <a:solidFill>
                <a:schemeClr val="accent3"/>
              </a:solidFill>
              <a:prstDash val="solid"/>
              <a:round/>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4264CA08-D5C3-4CB2-AD5C-F07158DF5983}"/>
                </a:ext>
              </a:extLst>
            </p:cNvPr>
            <p:cNvCxnSpPr>
              <a:cxnSpLocks/>
            </p:cNvCxnSpPr>
            <p:nvPr/>
          </p:nvCxnSpPr>
          <p:spPr>
            <a:xfrm flipV="1">
              <a:off x="6601706" y="1495399"/>
              <a:ext cx="152398" cy="1371597"/>
            </a:xfrm>
            <a:prstGeom prst="straightConnector1">
              <a:avLst/>
            </a:prstGeom>
            <a:ln w="57150" cap="rnd">
              <a:solidFill>
                <a:schemeClr val="accent3"/>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CFD4D3C-02DB-4109-AE1E-9B21315DB83D}"/>
                </a:ext>
              </a:extLst>
            </p:cNvPr>
            <p:cNvSpPr txBox="1"/>
            <p:nvPr/>
          </p:nvSpPr>
          <p:spPr>
            <a:xfrm>
              <a:off x="6782679" y="1018327"/>
              <a:ext cx="4477752"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a:solidFill>
                    <a:schemeClr val="tx1"/>
                  </a:solidFill>
                </a:rPr>
                <a:t>Difference in minimum required bus frequency due to the peaks in demand</a:t>
              </a:r>
            </a:p>
          </p:txBody>
        </p:sp>
      </p:grpSp>
      <p:grpSp>
        <p:nvGrpSpPr>
          <p:cNvPr id="3" name="Group 2">
            <a:extLst>
              <a:ext uri="{FF2B5EF4-FFF2-40B4-BE49-F238E27FC236}">
                <a16:creationId xmlns:a16="http://schemas.microsoft.com/office/drawing/2014/main" id="{3C647BC6-D86E-4327-A9F1-DF57F60FD454}"/>
              </a:ext>
            </a:extLst>
          </p:cNvPr>
          <p:cNvGrpSpPr/>
          <p:nvPr/>
        </p:nvGrpSpPr>
        <p:grpSpPr>
          <a:xfrm>
            <a:off x="1388020" y="4140338"/>
            <a:ext cx="10354803" cy="1701781"/>
            <a:chOff x="1388020" y="4140338"/>
            <a:chExt cx="10354803" cy="1701781"/>
          </a:xfrm>
        </p:grpSpPr>
        <p:cxnSp>
          <p:nvCxnSpPr>
            <p:cNvPr id="11" name="Straight Arrow Connector 10">
              <a:extLst>
                <a:ext uri="{FF2B5EF4-FFF2-40B4-BE49-F238E27FC236}">
                  <a16:creationId xmlns:a16="http://schemas.microsoft.com/office/drawing/2014/main" id="{B100C871-1F8E-44FA-9A22-E49497F4DD19}"/>
                </a:ext>
              </a:extLst>
            </p:cNvPr>
            <p:cNvCxnSpPr>
              <a:cxnSpLocks/>
            </p:cNvCxnSpPr>
            <p:nvPr/>
          </p:nvCxnSpPr>
          <p:spPr>
            <a:xfrm>
              <a:off x="4255546" y="4160392"/>
              <a:ext cx="1836820" cy="2005"/>
            </a:xfrm>
            <a:prstGeom prst="straightConnector1">
              <a:avLst/>
            </a:prstGeom>
            <a:ln w="57150">
              <a:solidFill>
                <a:schemeClr val="accent3"/>
              </a:solidFill>
              <a:prstDash val="solid"/>
              <a:tailEnd type="none"/>
            </a:ln>
          </p:spPr>
          <p:style>
            <a:lnRef idx="2">
              <a:schemeClr val="accent3"/>
            </a:lnRef>
            <a:fillRef idx="0">
              <a:schemeClr val="accent3"/>
            </a:fillRef>
            <a:effectRef idx="1">
              <a:schemeClr val="accent3"/>
            </a:effectRef>
            <a:fontRef idx="minor">
              <a:schemeClr val="tx1"/>
            </a:fontRef>
          </p:style>
        </p:cxnSp>
        <p:cxnSp>
          <p:nvCxnSpPr>
            <p:cNvPr id="13" name="Straight Arrow Connector 12">
              <a:extLst>
                <a:ext uri="{FF2B5EF4-FFF2-40B4-BE49-F238E27FC236}">
                  <a16:creationId xmlns:a16="http://schemas.microsoft.com/office/drawing/2014/main" id="{CFBA535F-E821-437D-8FB9-B7C83F0FE8CA}"/>
                </a:ext>
              </a:extLst>
            </p:cNvPr>
            <p:cNvCxnSpPr>
              <a:cxnSpLocks/>
            </p:cNvCxnSpPr>
            <p:nvPr/>
          </p:nvCxnSpPr>
          <p:spPr>
            <a:xfrm>
              <a:off x="6561597" y="4922391"/>
              <a:ext cx="2338135" cy="2005"/>
            </a:xfrm>
            <a:prstGeom prst="straightConnector1">
              <a:avLst/>
            </a:prstGeom>
            <a:ln w="57150">
              <a:solidFill>
                <a:schemeClr val="accent3"/>
              </a:solidFill>
              <a:prstDash val="solid"/>
              <a:tailEnd type="none"/>
            </a:ln>
          </p:spPr>
          <p:style>
            <a:lnRef idx="2">
              <a:schemeClr val="accent3"/>
            </a:lnRef>
            <a:fillRef idx="0">
              <a:schemeClr val="accent3"/>
            </a:fillRef>
            <a:effectRef idx="1">
              <a:schemeClr val="accent3"/>
            </a:effectRef>
            <a:fontRef idx="minor">
              <a:schemeClr val="tx1"/>
            </a:fontRef>
          </p:style>
        </p:cxnSp>
        <p:cxnSp>
          <p:nvCxnSpPr>
            <p:cNvPr id="14" name="Straight Arrow Connector 13">
              <a:extLst>
                <a:ext uri="{FF2B5EF4-FFF2-40B4-BE49-F238E27FC236}">
                  <a16:creationId xmlns:a16="http://schemas.microsoft.com/office/drawing/2014/main" id="{93D321C6-8EC7-46E9-B13D-F842EC617678}"/>
                </a:ext>
              </a:extLst>
            </p:cNvPr>
            <p:cNvCxnSpPr>
              <a:cxnSpLocks/>
            </p:cNvCxnSpPr>
            <p:nvPr/>
          </p:nvCxnSpPr>
          <p:spPr>
            <a:xfrm>
              <a:off x="6090361" y="4140338"/>
              <a:ext cx="483267" cy="804109"/>
            </a:xfrm>
            <a:prstGeom prst="straightConnector1">
              <a:avLst/>
            </a:prstGeom>
            <a:ln w="57150">
              <a:solidFill>
                <a:schemeClr val="accent3"/>
              </a:solidFill>
              <a:prstDash val="solid"/>
              <a:tailEnd type="none"/>
            </a:ln>
          </p:spPr>
          <p:style>
            <a:lnRef idx="2">
              <a:schemeClr val="accent3"/>
            </a:lnRef>
            <a:fillRef idx="0">
              <a:schemeClr val="accent3"/>
            </a:fillRef>
            <a:effectRef idx="1">
              <a:schemeClr val="accent3"/>
            </a:effectRef>
            <a:fontRef idx="minor">
              <a:schemeClr val="tx1"/>
            </a:fontRef>
          </p:style>
        </p:cxnSp>
        <p:cxnSp>
          <p:nvCxnSpPr>
            <p:cNvPr id="15" name="Straight Arrow Connector 14">
              <a:extLst>
                <a:ext uri="{FF2B5EF4-FFF2-40B4-BE49-F238E27FC236}">
                  <a16:creationId xmlns:a16="http://schemas.microsoft.com/office/drawing/2014/main" id="{0F061DD2-0F3A-4495-B4F4-9E94EF93F1CE}"/>
                </a:ext>
              </a:extLst>
            </p:cNvPr>
            <p:cNvCxnSpPr>
              <a:cxnSpLocks/>
            </p:cNvCxnSpPr>
            <p:nvPr/>
          </p:nvCxnSpPr>
          <p:spPr>
            <a:xfrm flipH="1">
              <a:off x="3766260" y="4140338"/>
              <a:ext cx="499311" cy="804109"/>
            </a:xfrm>
            <a:prstGeom prst="straightConnector1">
              <a:avLst/>
            </a:prstGeom>
            <a:ln w="57150">
              <a:solidFill>
                <a:schemeClr val="accent3"/>
              </a:solidFill>
              <a:prstDash val="solid"/>
              <a:tailEnd type="none"/>
            </a:ln>
          </p:spPr>
          <p:style>
            <a:lnRef idx="2">
              <a:schemeClr val="accent3"/>
            </a:lnRef>
            <a:fillRef idx="0">
              <a:schemeClr val="accent3"/>
            </a:fillRef>
            <a:effectRef idx="1">
              <a:schemeClr val="accent3"/>
            </a:effectRef>
            <a:fontRef idx="minor">
              <a:schemeClr val="tx1"/>
            </a:fontRef>
          </p:style>
        </p:cxnSp>
        <p:sp>
          <p:nvSpPr>
            <p:cNvPr id="23" name="TextBox 22">
              <a:extLst>
                <a:ext uri="{FF2B5EF4-FFF2-40B4-BE49-F238E27FC236}">
                  <a16:creationId xmlns:a16="http://schemas.microsoft.com/office/drawing/2014/main" id="{41AFB02C-DB44-4F3C-812B-7D52A88090A6}"/>
                </a:ext>
              </a:extLst>
            </p:cNvPr>
            <p:cNvSpPr txBox="1"/>
            <p:nvPr/>
          </p:nvSpPr>
          <p:spPr>
            <a:xfrm>
              <a:off x="10212007" y="4826456"/>
              <a:ext cx="1530816" cy="101566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a:solidFill>
                    <a:srgbClr val="1C2449"/>
                  </a:solidFill>
                </a:rPr>
                <a:t>Actual Weekday Minimum Bus Frequency Required (Derived from EDA)</a:t>
              </a:r>
              <a:endParaRPr lang="en-US"/>
            </a:p>
          </p:txBody>
        </p:sp>
        <p:sp>
          <p:nvSpPr>
            <p:cNvPr id="24" name="Rectangle 23">
              <a:extLst>
                <a:ext uri="{FF2B5EF4-FFF2-40B4-BE49-F238E27FC236}">
                  <a16:creationId xmlns:a16="http://schemas.microsoft.com/office/drawing/2014/main" id="{C02F7E63-1F01-4B53-821F-57BEDFD3D2A7}"/>
                </a:ext>
              </a:extLst>
            </p:cNvPr>
            <p:cNvSpPr/>
            <p:nvPr/>
          </p:nvSpPr>
          <p:spPr>
            <a:xfrm>
              <a:off x="9984738" y="4888009"/>
              <a:ext cx="224884" cy="568094"/>
            </a:xfrm>
            <a:prstGeom prst="rect">
              <a:avLst/>
            </a:prstGeom>
            <a:solidFill>
              <a:schemeClr val="accent3"/>
            </a:solid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5" name="Straight Arrow Connector 4">
              <a:extLst>
                <a:ext uri="{FF2B5EF4-FFF2-40B4-BE49-F238E27FC236}">
                  <a16:creationId xmlns:a16="http://schemas.microsoft.com/office/drawing/2014/main" id="{42CC447C-FCA3-4440-AFAC-074CA9387369}"/>
                </a:ext>
              </a:extLst>
            </p:cNvPr>
            <p:cNvCxnSpPr/>
            <p:nvPr/>
          </p:nvCxnSpPr>
          <p:spPr>
            <a:xfrm flipV="1">
              <a:off x="1388020" y="4924397"/>
              <a:ext cx="2428372" cy="18047"/>
            </a:xfrm>
            <a:prstGeom prst="straightConnector1">
              <a:avLst/>
            </a:prstGeom>
            <a:ln w="57150">
              <a:solidFill>
                <a:schemeClr val="accent3"/>
              </a:solidFill>
              <a:prstDash val="solid"/>
              <a:tailEnd type="none"/>
            </a:ln>
          </p:spPr>
          <p:style>
            <a:lnRef idx="2">
              <a:schemeClr val="accent3"/>
            </a:lnRef>
            <a:fillRef idx="0">
              <a:schemeClr val="accent3"/>
            </a:fillRef>
            <a:effectRef idx="1">
              <a:schemeClr val="accent3"/>
            </a:effectRef>
            <a:fontRef idx="minor">
              <a:schemeClr val="tx1"/>
            </a:fontRef>
          </p:style>
        </p:cxnSp>
      </p:grpSp>
    </p:spTree>
    <p:extLst>
      <p:ext uri="{BB962C8B-B14F-4D97-AF65-F5344CB8AC3E}">
        <p14:creationId xmlns:p14="http://schemas.microsoft.com/office/powerpoint/2010/main" val="41593896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Connector 1">
            <a:extLst>
              <a:ext uri="{FF2B5EF4-FFF2-40B4-BE49-F238E27FC236}">
                <a16:creationId xmlns:a16="http://schemas.microsoft.com/office/drawing/2014/main" id="{D2AC414D-C8F9-4E07-9D41-5AAD3600E4CA}"/>
              </a:ext>
            </a:extLst>
          </p:cNvPr>
          <p:cNvSpPr>
            <a:spLocks noChangeAspect="1"/>
          </p:cNvSpPr>
          <p:nvPr/>
        </p:nvSpPr>
        <p:spPr>
          <a:xfrm>
            <a:off x="3820357" y="1233749"/>
            <a:ext cx="4017115" cy="3996764"/>
          </a:xfrm>
          <a:prstGeom prst="flowChartConnector">
            <a:avLst/>
          </a:prstGeom>
          <a:noFill/>
          <a:ln w="571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SG" sz="3600" b="1">
                <a:solidFill>
                  <a:srgbClr val="FFFFFF"/>
                </a:solidFill>
              </a:rPr>
              <a:t>Other Solutions</a:t>
            </a:r>
            <a:endParaRPr lang="en-SG" sz="3600"/>
          </a:p>
        </p:txBody>
      </p:sp>
    </p:spTree>
    <p:extLst>
      <p:ext uri="{BB962C8B-B14F-4D97-AF65-F5344CB8AC3E}">
        <p14:creationId xmlns:p14="http://schemas.microsoft.com/office/powerpoint/2010/main" val="41191512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99C9A4-8C8B-43CC-B77D-B8C58575D4DE}"/>
              </a:ext>
            </a:extLst>
          </p:cNvPr>
          <p:cNvSpPr/>
          <p:nvPr/>
        </p:nvSpPr>
        <p:spPr>
          <a:xfrm>
            <a:off x="7555831" y="1494073"/>
            <a:ext cx="4116073" cy="2185978"/>
          </a:xfrm>
          <a:prstGeom prst="rect">
            <a:avLst/>
          </a:prstGeom>
          <a:solidFill>
            <a:schemeClr val="bg1"/>
          </a:solidFill>
          <a:ln w="2857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sp>
        <p:nvSpPr>
          <p:cNvPr id="25" name="Rectangle 24">
            <a:extLst>
              <a:ext uri="{FF2B5EF4-FFF2-40B4-BE49-F238E27FC236}">
                <a16:creationId xmlns:a16="http://schemas.microsoft.com/office/drawing/2014/main" id="{F2D8752B-46CF-482C-9E54-5BF79DDF6A1D}"/>
              </a:ext>
            </a:extLst>
          </p:cNvPr>
          <p:cNvSpPr/>
          <p:nvPr/>
        </p:nvSpPr>
        <p:spPr>
          <a:xfrm>
            <a:off x="880808" y="2085905"/>
            <a:ext cx="6036925" cy="3896693"/>
          </a:xfrm>
          <a:prstGeom prst="rect">
            <a:avLst/>
          </a:prstGeom>
          <a:solidFill>
            <a:schemeClr val="bg1"/>
          </a:solidFill>
          <a:ln w="2857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pic>
        <p:nvPicPr>
          <p:cNvPr id="2" name="Picture 1" descr="Graphical user interface, application&#10;&#10;Description automatically generated">
            <a:extLst>
              <a:ext uri="{FF2B5EF4-FFF2-40B4-BE49-F238E27FC236}">
                <a16:creationId xmlns:a16="http://schemas.microsoft.com/office/drawing/2014/main" id="{D0C0A48E-43AC-4647-84A5-DAC9A37420F4}"/>
              </a:ext>
            </a:extLst>
          </p:cNvPr>
          <p:cNvPicPr>
            <a:picLocks noChangeAspect="1"/>
          </p:cNvPicPr>
          <p:nvPr/>
        </p:nvPicPr>
        <p:blipFill rotWithShape="1">
          <a:blip r:embed="rId3"/>
          <a:srcRect l="93" t="1113" r="25046" b="186"/>
          <a:stretch/>
        </p:blipFill>
        <p:spPr>
          <a:xfrm>
            <a:off x="934597" y="2112603"/>
            <a:ext cx="5805249" cy="3843574"/>
          </a:xfrm>
          <a:prstGeom prst="rect">
            <a:avLst/>
          </a:prstGeom>
        </p:spPr>
      </p:pic>
      <p:pic>
        <p:nvPicPr>
          <p:cNvPr id="6" name="Picture 5" descr="Graphical user interface, application&#10;&#10;Description automatically generated">
            <a:extLst>
              <a:ext uri="{FF2B5EF4-FFF2-40B4-BE49-F238E27FC236}">
                <a16:creationId xmlns:a16="http://schemas.microsoft.com/office/drawing/2014/main" id="{EF6EAEC0-2A43-4308-9642-0428A55E7A00}"/>
              </a:ext>
            </a:extLst>
          </p:cNvPr>
          <p:cNvPicPr>
            <a:picLocks noChangeAspect="1"/>
          </p:cNvPicPr>
          <p:nvPr/>
        </p:nvPicPr>
        <p:blipFill rotWithShape="1">
          <a:blip r:embed="rId4"/>
          <a:srcRect l="8726" t="24049" r="7330" b="52697"/>
          <a:stretch/>
        </p:blipFill>
        <p:spPr>
          <a:xfrm>
            <a:off x="7615275" y="1497141"/>
            <a:ext cx="3986016" cy="2180979"/>
          </a:xfrm>
          <a:prstGeom prst="rect">
            <a:avLst/>
          </a:prstGeom>
        </p:spPr>
      </p:pic>
      <p:sp>
        <p:nvSpPr>
          <p:cNvPr id="9" name="TextBox 8">
            <a:extLst>
              <a:ext uri="{FF2B5EF4-FFF2-40B4-BE49-F238E27FC236}">
                <a16:creationId xmlns:a16="http://schemas.microsoft.com/office/drawing/2014/main" id="{E3C0B427-9E9D-47EC-AFD8-3D8F22D59FE9}"/>
              </a:ext>
            </a:extLst>
          </p:cNvPr>
          <p:cNvSpPr txBox="1"/>
          <p:nvPr/>
        </p:nvSpPr>
        <p:spPr>
          <a:xfrm>
            <a:off x="9667907" y="203703"/>
            <a:ext cx="2297799" cy="903412"/>
          </a:xfrm>
          <a:prstGeom prst="rect">
            <a:avLst/>
          </a:prstGeom>
          <a:noFill/>
          <a:ln w="12700" cap="rnd">
            <a:solidFill>
              <a:srgbClr val="002060"/>
            </a:solidFill>
            <a:prstDash val="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400" b="1">
                <a:solidFill>
                  <a:srgbClr val="002060"/>
                </a:solidFill>
              </a:rPr>
              <a:t>Addresses customer pain points in waiting for their buses. </a:t>
            </a:r>
            <a:endParaRPr lang="en-SG" sz="1400">
              <a:solidFill>
                <a:srgbClr val="002060"/>
              </a:solidFill>
            </a:endParaRPr>
          </a:p>
        </p:txBody>
      </p:sp>
      <p:sp>
        <p:nvSpPr>
          <p:cNvPr id="15" name="Title 1">
            <a:extLst>
              <a:ext uri="{FF2B5EF4-FFF2-40B4-BE49-F238E27FC236}">
                <a16:creationId xmlns:a16="http://schemas.microsoft.com/office/drawing/2014/main" id="{EA512C5C-B61E-4EDE-A2CD-308BFA2920DA}"/>
              </a:ext>
            </a:extLst>
          </p:cNvPr>
          <p:cNvSpPr>
            <a:spLocks noGrp="1"/>
          </p:cNvSpPr>
          <p:nvPr>
            <p:ph type="title"/>
          </p:nvPr>
        </p:nvSpPr>
        <p:spPr>
          <a:xfrm>
            <a:off x="630000" y="622800"/>
            <a:ext cx="10933350" cy="747897"/>
          </a:xfrm>
        </p:spPr>
        <p:txBody>
          <a:bodyPr/>
          <a:lstStyle/>
          <a:p>
            <a:r>
              <a:rPr lang="en-SG">
                <a:solidFill>
                  <a:srgbClr val="002060"/>
                </a:solidFill>
              </a:rPr>
              <a:t>Adding features in existing Sentosa App</a:t>
            </a:r>
            <a:br>
              <a:rPr lang="en-SG">
                <a:solidFill>
                  <a:srgbClr val="002060"/>
                </a:solidFill>
              </a:rPr>
            </a:br>
            <a:r>
              <a:rPr lang="en-US" sz="2000">
                <a:solidFill>
                  <a:srgbClr val="002060"/>
                </a:solidFill>
                <a:ea typeface="+mj-lt"/>
                <a:cs typeface="+mj-lt"/>
              </a:rPr>
              <a:t>Provide real time bus arrival and occupancy information</a:t>
            </a:r>
            <a:endParaRPr lang="en-US" sz="2000">
              <a:solidFill>
                <a:srgbClr val="002060"/>
              </a:solidFill>
            </a:endParaRPr>
          </a:p>
        </p:txBody>
      </p:sp>
      <p:sp>
        <p:nvSpPr>
          <p:cNvPr id="19" name="TextBox 18">
            <a:extLst>
              <a:ext uri="{FF2B5EF4-FFF2-40B4-BE49-F238E27FC236}">
                <a16:creationId xmlns:a16="http://schemas.microsoft.com/office/drawing/2014/main" id="{950C64E7-6661-4AEA-8068-716AD3707128}"/>
              </a:ext>
            </a:extLst>
          </p:cNvPr>
          <p:cNvSpPr txBox="1"/>
          <p:nvPr/>
        </p:nvSpPr>
        <p:spPr>
          <a:xfrm>
            <a:off x="7551235" y="1242809"/>
            <a:ext cx="4139525" cy="279635"/>
          </a:xfrm>
          <a:prstGeom prst="rect">
            <a:avLst/>
          </a:prstGeom>
          <a:solidFill>
            <a:schemeClr val="tx1"/>
          </a:solidFill>
          <a:ln w="6350" cap="rnd">
            <a:noFill/>
            <a:prstDash val="lgDash"/>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1100" b="1">
                <a:solidFill>
                  <a:srgbClr val="FFFFFF"/>
                </a:solidFill>
              </a:rPr>
              <a:t>Current Design – Missing time of arrival &amp; available capacity</a:t>
            </a:r>
            <a:endParaRPr lang="en-US" sz="1100" err="1"/>
          </a:p>
        </p:txBody>
      </p:sp>
      <p:sp>
        <p:nvSpPr>
          <p:cNvPr id="18" name="TextBox 17">
            <a:extLst>
              <a:ext uri="{FF2B5EF4-FFF2-40B4-BE49-F238E27FC236}">
                <a16:creationId xmlns:a16="http://schemas.microsoft.com/office/drawing/2014/main" id="{83C6C493-EE06-4670-B1AB-91DD5175B793}"/>
              </a:ext>
            </a:extLst>
          </p:cNvPr>
          <p:cNvSpPr txBox="1"/>
          <p:nvPr/>
        </p:nvSpPr>
        <p:spPr>
          <a:xfrm>
            <a:off x="852083" y="1819910"/>
            <a:ext cx="6058242" cy="266036"/>
          </a:xfrm>
          <a:prstGeom prst="rect">
            <a:avLst/>
          </a:prstGeom>
          <a:solidFill>
            <a:srgbClr val="002060"/>
          </a:solidFill>
          <a:ln w="6350" cap="rnd">
            <a:noFill/>
            <a:prstDash val="lgDash"/>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1200" b="1">
                <a:solidFill>
                  <a:schemeClr val="bg1"/>
                </a:solidFill>
              </a:rPr>
              <a:t>Proposed Wireframes</a:t>
            </a:r>
            <a:endParaRPr lang="en-US">
              <a:solidFill>
                <a:schemeClr val="bg1"/>
              </a:solidFill>
            </a:endParaRPr>
          </a:p>
        </p:txBody>
      </p:sp>
      <p:sp>
        <p:nvSpPr>
          <p:cNvPr id="20" name="Oval 19">
            <a:extLst>
              <a:ext uri="{FF2B5EF4-FFF2-40B4-BE49-F238E27FC236}">
                <a16:creationId xmlns:a16="http://schemas.microsoft.com/office/drawing/2014/main" id="{64A6A166-6CE6-41F0-99B2-FC47AF50CD6C}"/>
              </a:ext>
            </a:extLst>
          </p:cNvPr>
          <p:cNvSpPr/>
          <p:nvPr/>
        </p:nvSpPr>
        <p:spPr>
          <a:xfrm>
            <a:off x="756324" y="6107997"/>
            <a:ext cx="275709" cy="288854"/>
          </a:xfrm>
          <a:prstGeom prst="ellipse">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rgbClr val="FFFFFF"/>
                </a:solidFill>
              </a:rPr>
              <a:t>1</a:t>
            </a:r>
          </a:p>
        </p:txBody>
      </p:sp>
      <p:sp>
        <p:nvSpPr>
          <p:cNvPr id="23" name="Oval 22">
            <a:extLst>
              <a:ext uri="{FF2B5EF4-FFF2-40B4-BE49-F238E27FC236}">
                <a16:creationId xmlns:a16="http://schemas.microsoft.com/office/drawing/2014/main" id="{2E06316D-D669-4187-8235-1A4EE0D9868B}"/>
              </a:ext>
            </a:extLst>
          </p:cNvPr>
          <p:cNvSpPr/>
          <p:nvPr/>
        </p:nvSpPr>
        <p:spPr>
          <a:xfrm>
            <a:off x="2897203" y="6107995"/>
            <a:ext cx="275709" cy="288854"/>
          </a:xfrm>
          <a:prstGeom prst="ellipse">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rgbClr val="FFFFFF"/>
                </a:solidFill>
              </a:rPr>
              <a:t>2</a:t>
            </a:r>
          </a:p>
        </p:txBody>
      </p:sp>
      <p:sp>
        <p:nvSpPr>
          <p:cNvPr id="24" name="Oval 23">
            <a:extLst>
              <a:ext uri="{FF2B5EF4-FFF2-40B4-BE49-F238E27FC236}">
                <a16:creationId xmlns:a16="http://schemas.microsoft.com/office/drawing/2014/main" id="{CEFC4E90-FB9D-4E3E-86B1-5712D705BC99}"/>
              </a:ext>
            </a:extLst>
          </p:cNvPr>
          <p:cNvSpPr/>
          <p:nvPr/>
        </p:nvSpPr>
        <p:spPr>
          <a:xfrm>
            <a:off x="4755144" y="6115654"/>
            <a:ext cx="275709" cy="288854"/>
          </a:xfrm>
          <a:prstGeom prst="ellipse">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rgbClr val="FFFFFF"/>
                </a:solidFill>
              </a:rPr>
              <a:t>3</a:t>
            </a:r>
          </a:p>
        </p:txBody>
      </p:sp>
      <p:sp>
        <p:nvSpPr>
          <p:cNvPr id="16" name="TextBox 15">
            <a:extLst>
              <a:ext uri="{FF2B5EF4-FFF2-40B4-BE49-F238E27FC236}">
                <a16:creationId xmlns:a16="http://schemas.microsoft.com/office/drawing/2014/main" id="{C5929122-1CD8-4F76-B666-CD1876A444F2}"/>
              </a:ext>
            </a:extLst>
          </p:cNvPr>
          <p:cNvSpPr txBox="1"/>
          <p:nvPr/>
        </p:nvSpPr>
        <p:spPr>
          <a:xfrm>
            <a:off x="1032793" y="6066240"/>
            <a:ext cx="1574577" cy="367351"/>
          </a:xfrm>
          <a:prstGeom prst="rect">
            <a:avLst/>
          </a:prstGeom>
          <a:noFill/>
          <a:ln w="6350" cap="rnd">
            <a:noFill/>
            <a:prstDash val="lgDash"/>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100" b="1">
                <a:solidFill>
                  <a:srgbClr val="002060"/>
                </a:solidFill>
              </a:rPr>
              <a:t>Include Sentosa Shuttle bus Services</a:t>
            </a:r>
            <a:endParaRPr lang="en-US" sz="1600">
              <a:solidFill>
                <a:srgbClr val="002060"/>
              </a:solidFill>
            </a:endParaRPr>
          </a:p>
        </p:txBody>
      </p:sp>
      <p:sp>
        <p:nvSpPr>
          <p:cNvPr id="17" name="TextBox 16">
            <a:extLst>
              <a:ext uri="{FF2B5EF4-FFF2-40B4-BE49-F238E27FC236}">
                <a16:creationId xmlns:a16="http://schemas.microsoft.com/office/drawing/2014/main" id="{B0B180E1-89CE-47E9-9BE8-885E81BBC262}"/>
              </a:ext>
            </a:extLst>
          </p:cNvPr>
          <p:cNvSpPr txBox="1"/>
          <p:nvPr/>
        </p:nvSpPr>
        <p:spPr>
          <a:xfrm>
            <a:off x="3148923" y="6065853"/>
            <a:ext cx="1652832" cy="478374"/>
          </a:xfrm>
          <a:prstGeom prst="rect">
            <a:avLst/>
          </a:prstGeom>
          <a:noFill/>
          <a:ln w="6350" cap="rnd">
            <a:noFill/>
            <a:prstDash val="lgDash"/>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100" b="1">
                <a:solidFill>
                  <a:srgbClr val="002060"/>
                </a:solidFill>
              </a:rPr>
              <a:t>Include additional info page on the available routes</a:t>
            </a:r>
          </a:p>
        </p:txBody>
      </p:sp>
      <p:sp>
        <p:nvSpPr>
          <p:cNvPr id="21" name="TextBox 20">
            <a:extLst>
              <a:ext uri="{FF2B5EF4-FFF2-40B4-BE49-F238E27FC236}">
                <a16:creationId xmlns:a16="http://schemas.microsoft.com/office/drawing/2014/main" id="{3B725847-CDC2-41AB-A059-69A3E5F93F82}"/>
              </a:ext>
            </a:extLst>
          </p:cNvPr>
          <p:cNvSpPr txBox="1"/>
          <p:nvPr/>
        </p:nvSpPr>
        <p:spPr>
          <a:xfrm>
            <a:off x="5035260" y="6028681"/>
            <a:ext cx="2112184" cy="460180"/>
          </a:xfrm>
          <a:prstGeom prst="rect">
            <a:avLst/>
          </a:prstGeom>
          <a:noFill/>
          <a:ln w="6350" cap="rnd">
            <a:noFill/>
            <a:prstDash val="lgDash"/>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100" b="1">
                <a:solidFill>
                  <a:srgbClr val="002060"/>
                </a:solidFill>
              </a:rPr>
              <a:t>Provide breakdown of bus arrival time and bus capacity</a:t>
            </a:r>
            <a:endParaRPr lang="en-US">
              <a:solidFill>
                <a:srgbClr val="002060"/>
              </a:solidFill>
            </a:endParaRPr>
          </a:p>
        </p:txBody>
      </p:sp>
      <p:sp>
        <p:nvSpPr>
          <p:cNvPr id="32" name="Oval 31">
            <a:extLst>
              <a:ext uri="{FF2B5EF4-FFF2-40B4-BE49-F238E27FC236}">
                <a16:creationId xmlns:a16="http://schemas.microsoft.com/office/drawing/2014/main" id="{643819E7-FC5A-44D2-A6BA-F2C1071FA836}"/>
              </a:ext>
            </a:extLst>
          </p:cNvPr>
          <p:cNvSpPr/>
          <p:nvPr/>
        </p:nvSpPr>
        <p:spPr>
          <a:xfrm>
            <a:off x="7486928" y="3074804"/>
            <a:ext cx="2486135" cy="391922"/>
          </a:xfrm>
          <a:prstGeom prst="ellipse">
            <a:avLst/>
          </a:prstGeom>
          <a:noFill/>
          <a:ln w="28575" cap="rnd" cmpd="sng" algn="ctr">
            <a:solidFill>
              <a:srgbClr val="171D3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3" name="Rectangle 32">
            <a:extLst>
              <a:ext uri="{FF2B5EF4-FFF2-40B4-BE49-F238E27FC236}">
                <a16:creationId xmlns:a16="http://schemas.microsoft.com/office/drawing/2014/main" id="{49617808-6BA1-41EC-8873-001A45EF30D5}"/>
              </a:ext>
            </a:extLst>
          </p:cNvPr>
          <p:cNvSpPr/>
          <p:nvPr/>
        </p:nvSpPr>
        <p:spPr>
          <a:xfrm>
            <a:off x="878859" y="2425141"/>
            <a:ext cx="1990806" cy="1159102"/>
          </a:xfrm>
          <a:prstGeom prst="rect">
            <a:avLst/>
          </a:prstGeom>
          <a:noFill/>
          <a:ln w="2857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sp>
        <p:nvSpPr>
          <p:cNvPr id="34" name="Oval 33">
            <a:extLst>
              <a:ext uri="{FF2B5EF4-FFF2-40B4-BE49-F238E27FC236}">
                <a16:creationId xmlns:a16="http://schemas.microsoft.com/office/drawing/2014/main" id="{BB464795-1EE5-4DAA-81B4-5DD73A621377}"/>
              </a:ext>
            </a:extLst>
          </p:cNvPr>
          <p:cNvSpPr/>
          <p:nvPr/>
        </p:nvSpPr>
        <p:spPr>
          <a:xfrm>
            <a:off x="753245" y="3429613"/>
            <a:ext cx="227583" cy="217962"/>
          </a:xfrm>
          <a:prstGeom prst="ellipse">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1</a:t>
            </a:r>
          </a:p>
        </p:txBody>
      </p:sp>
      <p:sp>
        <p:nvSpPr>
          <p:cNvPr id="35" name="Rectangle 34">
            <a:extLst>
              <a:ext uri="{FF2B5EF4-FFF2-40B4-BE49-F238E27FC236}">
                <a16:creationId xmlns:a16="http://schemas.microsoft.com/office/drawing/2014/main" id="{BEBA2DB5-D01A-45D1-B10F-CDA2A5C3CE6D}"/>
              </a:ext>
            </a:extLst>
          </p:cNvPr>
          <p:cNvSpPr/>
          <p:nvPr/>
        </p:nvSpPr>
        <p:spPr>
          <a:xfrm>
            <a:off x="3903684" y="2638792"/>
            <a:ext cx="679002" cy="303443"/>
          </a:xfrm>
          <a:prstGeom prst="rect">
            <a:avLst/>
          </a:prstGeom>
          <a:noFill/>
          <a:ln w="2857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sp>
        <p:nvSpPr>
          <p:cNvPr id="36" name="Rectangle 35">
            <a:extLst>
              <a:ext uri="{FF2B5EF4-FFF2-40B4-BE49-F238E27FC236}">
                <a16:creationId xmlns:a16="http://schemas.microsoft.com/office/drawing/2014/main" id="{078A3856-3300-433F-A501-B031E92BEAC1}"/>
              </a:ext>
            </a:extLst>
          </p:cNvPr>
          <p:cNvSpPr/>
          <p:nvPr/>
        </p:nvSpPr>
        <p:spPr>
          <a:xfrm>
            <a:off x="4801798" y="3712965"/>
            <a:ext cx="1969905" cy="1034007"/>
          </a:xfrm>
          <a:prstGeom prst="rect">
            <a:avLst/>
          </a:prstGeom>
          <a:noFill/>
          <a:ln w="2857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cxnSp>
        <p:nvCxnSpPr>
          <p:cNvPr id="39" name="Straight Arrow Connector 38">
            <a:extLst>
              <a:ext uri="{FF2B5EF4-FFF2-40B4-BE49-F238E27FC236}">
                <a16:creationId xmlns:a16="http://schemas.microsoft.com/office/drawing/2014/main" id="{C02C1C41-DC87-44F6-B172-862875871040}"/>
              </a:ext>
            </a:extLst>
          </p:cNvPr>
          <p:cNvCxnSpPr>
            <a:cxnSpLocks/>
          </p:cNvCxnSpPr>
          <p:nvPr/>
        </p:nvCxnSpPr>
        <p:spPr>
          <a:xfrm>
            <a:off x="5030173" y="4761466"/>
            <a:ext cx="2540402" cy="1921406"/>
          </a:xfrm>
          <a:prstGeom prst="straightConnector1">
            <a:avLst/>
          </a:prstGeom>
          <a:ln w="28575" cap="rnd">
            <a:solidFill>
              <a:srgbClr val="0070C0"/>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CB428AE9-51B3-41CB-A62A-62EA6128CCE3}"/>
              </a:ext>
            </a:extLst>
          </p:cNvPr>
          <p:cNvSpPr/>
          <p:nvPr/>
        </p:nvSpPr>
        <p:spPr>
          <a:xfrm>
            <a:off x="4801281" y="4639818"/>
            <a:ext cx="227583" cy="224686"/>
          </a:xfrm>
          <a:prstGeom prst="ellipse">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3</a:t>
            </a:r>
          </a:p>
        </p:txBody>
      </p:sp>
      <p:pic>
        <p:nvPicPr>
          <p:cNvPr id="7" name="Picture 7" descr="Icon&#10;&#10;Description automatically generated">
            <a:extLst>
              <a:ext uri="{FF2B5EF4-FFF2-40B4-BE49-F238E27FC236}">
                <a16:creationId xmlns:a16="http://schemas.microsoft.com/office/drawing/2014/main" id="{3D126662-F659-4393-8605-1D4F939D289C}"/>
              </a:ext>
            </a:extLst>
          </p:cNvPr>
          <p:cNvPicPr>
            <a:picLocks noChangeAspect="1"/>
          </p:cNvPicPr>
          <p:nvPr/>
        </p:nvPicPr>
        <p:blipFill>
          <a:blip r:embed="rId5"/>
          <a:stretch>
            <a:fillRect/>
          </a:stretch>
        </p:blipFill>
        <p:spPr>
          <a:xfrm>
            <a:off x="3978700" y="2693836"/>
            <a:ext cx="464899" cy="129427"/>
          </a:xfrm>
          <a:prstGeom prst="rect">
            <a:avLst/>
          </a:prstGeom>
        </p:spPr>
      </p:pic>
      <p:sp>
        <p:nvSpPr>
          <p:cNvPr id="37" name="Oval 36">
            <a:extLst>
              <a:ext uri="{FF2B5EF4-FFF2-40B4-BE49-F238E27FC236}">
                <a16:creationId xmlns:a16="http://schemas.microsoft.com/office/drawing/2014/main" id="{4AB50FB2-2592-4F25-B501-5E5ED17825ED}"/>
              </a:ext>
            </a:extLst>
          </p:cNvPr>
          <p:cNvSpPr/>
          <p:nvPr/>
        </p:nvSpPr>
        <p:spPr>
          <a:xfrm>
            <a:off x="3754657" y="2482803"/>
            <a:ext cx="227583" cy="233356"/>
          </a:xfrm>
          <a:prstGeom prst="ellipse">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2</a:t>
            </a:r>
          </a:p>
        </p:txBody>
      </p:sp>
      <p:cxnSp>
        <p:nvCxnSpPr>
          <p:cNvPr id="31" name="Straight Arrow Connector 30">
            <a:extLst>
              <a:ext uri="{FF2B5EF4-FFF2-40B4-BE49-F238E27FC236}">
                <a16:creationId xmlns:a16="http://schemas.microsoft.com/office/drawing/2014/main" id="{F4074082-46FF-4E13-BA1B-8AFDF7803860}"/>
              </a:ext>
            </a:extLst>
          </p:cNvPr>
          <p:cNvCxnSpPr>
            <a:cxnSpLocks/>
          </p:cNvCxnSpPr>
          <p:nvPr/>
        </p:nvCxnSpPr>
        <p:spPr>
          <a:xfrm>
            <a:off x="6787027" y="4738376"/>
            <a:ext cx="4858570" cy="1931373"/>
          </a:xfrm>
          <a:prstGeom prst="straightConnector1">
            <a:avLst/>
          </a:prstGeom>
          <a:ln w="28575" cap="rnd">
            <a:solidFill>
              <a:srgbClr val="0070C0"/>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9C31BED3-CE5F-440A-A9B8-F5924562E1BA}"/>
              </a:ext>
            </a:extLst>
          </p:cNvPr>
          <p:cNvSpPr/>
          <p:nvPr/>
        </p:nvSpPr>
        <p:spPr>
          <a:xfrm>
            <a:off x="7550996" y="4089632"/>
            <a:ext cx="4112011" cy="2589442"/>
          </a:xfrm>
          <a:prstGeom prst="rect">
            <a:avLst/>
          </a:prstGeom>
          <a:solidFill>
            <a:schemeClr val="bg1"/>
          </a:solidFill>
          <a:ln w="2857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pic>
        <p:nvPicPr>
          <p:cNvPr id="14" name="Picture 13" descr="Graphical user interface, application&#10;&#10;Description automatically generated">
            <a:extLst>
              <a:ext uri="{FF2B5EF4-FFF2-40B4-BE49-F238E27FC236}">
                <a16:creationId xmlns:a16="http://schemas.microsoft.com/office/drawing/2014/main" id="{CA6FE08D-ADB1-46B9-A969-E879971A31D3}"/>
              </a:ext>
            </a:extLst>
          </p:cNvPr>
          <p:cNvPicPr>
            <a:picLocks noChangeAspect="1"/>
          </p:cNvPicPr>
          <p:nvPr/>
        </p:nvPicPr>
        <p:blipFill rotWithShape="1">
          <a:blip r:embed="rId3"/>
          <a:srcRect l="51974" t="41276" r="26880" b="31581"/>
          <a:stretch/>
        </p:blipFill>
        <p:spPr>
          <a:xfrm>
            <a:off x="7587814" y="4127332"/>
            <a:ext cx="3996476" cy="2529947"/>
          </a:xfrm>
          <a:prstGeom prst="rect">
            <a:avLst/>
          </a:prstGeom>
        </p:spPr>
      </p:pic>
      <p:sp>
        <p:nvSpPr>
          <p:cNvPr id="29" name="TextBox 28">
            <a:extLst>
              <a:ext uri="{FF2B5EF4-FFF2-40B4-BE49-F238E27FC236}">
                <a16:creationId xmlns:a16="http://schemas.microsoft.com/office/drawing/2014/main" id="{C9BEC35E-523C-4554-8EBD-4475698ECF55}"/>
              </a:ext>
            </a:extLst>
          </p:cNvPr>
          <p:cNvSpPr txBox="1"/>
          <p:nvPr/>
        </p:nvSpPr>
        <p:spPr>
          <a:xfrm>
            <a:off x="7553670" y="3825754"/>
            <a:ext cx="4106332" cy="263528"/>
          </a:xfrm>
          <a:prstGeom prst="rect">
            <a:avLst/>
          </a:prstGeom>
          <a:solidFill>
            <a:srgbClr val="0070C0"/>
          </a:solidFill>
          <a:ln w="6350" cap="rnd">
            <a:noFill/>
            <a:prstDash val="lgDash"/>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1050" b="1"/>
              <a:t>Proposed Design - Real time bus arrival &amp; available capacity </a:t>
            </a:r>
          </a:p>
        </p:txBody>
      </p:sp>
      <p:sp>
        <p:nvSpPr>
          <p:cNvPr id="3" name="Oval 2">
            <a:extLst>
              <a:ext uri="{FF2B5EF4-FFF2-40B4-BE49-F238E27FC236}">
                <a16:creationId xmlns:a16="http://schemas.microsoft.com/office/drawing/2014/main" id="{FC2A26BC-6E3B-4E2F-9C36-577BA7E9132E}"/>
              </a:ext>
            </a:extLst>
          </p:cNvPr>
          <p:cNvSpPr/>
          <p:nvPr/>
        </p:nvSpPr>
        <p:spPr>
          <a:xfrm>
            <a:off x="9941311" y="4133385"/>
            <a:ext cx="1583475" cy="2382644"/>
          </a:xfrm>
          <a:prstGeom prst="ellipse">
            <a:avLst/>
          </a:prstGeom>
          <a:noFill/>
          <a:ln w="28575"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40" name="Oval 39">
            <a:extLst>
              <a:ext uri="{FF2B5EF4-FFF2-40B4-BE49-F238E27FC236}">
                <a16:creationId xmlns:a16="http://schemas.microsoft.com/office/drawing/2014/main" id="{ECF14FD3-8E08-4762-B1DE-BECAD18D177B}"/>
              </a:ext>
            </a:extLst>
          </p:cNvPr>
          <p:cNvSpPr/>
          <p:nvPr/>
        </p:nvSpPr>
        <p:spPr>
          <a:xfrm>
            <a:off x="7372519" y="3782014"/>
            <a:ext cx="309091" cy="318710"/>
          </a:xfrm>
          <a:prstGeom prst="ellipse">
            <a:avLst/>
          </a:prstGeom>
          <a:solidFill>
            <a:srgbClr val="0070C0"/>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FFFF"/>
                </a:solidFill>
              </a:rPr>
              <a:t>3</a:t>
            </a:r>
          </a:p>
        </p:txBody>
      </p:sp>
    </p:spTree>
    <p:extLst>
      <p:ext uri="{BB962C8B-B14F-4D97-AF65-F5344CB8AC3E}">
        <p14:creationId xmlns:p14="http://schemas.microsoft.com/office/powerpoint/2010/main" val="353164589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Connector 1">
            <a:extLst>
              <a:ext uri="{FF2B5EF4-FFF2-40B4-BE49-F238E27FC236}">
                <a16:creationId xmlns:a16="http://schemas.microsoft.com/office/drawing/2014/main" id="{D2AC414D-C8F9-4E07-9D41-5AAD3600E4CA}"/>
              </a:ext>
            </a:extLst>
          </p:cNvPr>
          <p:cNvSpPr>
            <a:spLocks noChangeAspect="1"/>
          </p:cNvSpPr>
          <p:nvPr/>
        </p:nvSpPr>
        <p:spPr>
          <a:xfrm>
            <a:off x="3820357" y="1233749"/>
            <a:ext cx="4017115" cy="3996764"/>
          </a:xfrm>
          <a:prstGeom prst="flowChartConnector">
            <a:avLst/>
          </a:prstGeom>
          <a:noFill/>
          <a:ln w="571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SG" sz="3600" b="1">
                <a:solidFill>
                  <a:srgbClr val="FFFFFF"/>
                </a:solidFill>
              </a:rPr>
              <a:t>What's Next? </a:t>
            </a:r>
            <a:endParaRPr lang="en-SG" sz="3600" b="1"/>
          </a:p>
        </p:txBody>
      </p:sp>
    </p:spTree>
    <p:extLst>
      <p:ext uri="{BB962C8B-B14F-4D97-AF65-F5344CB8AC3E}">
        <p14:creationId xmlns:p14="http://schemas.microsoft.com/office/powerpoint/2010/main" val="163876471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0D89B7-B51B-4806-86F9-1B4EA9464B10}"/>
              </a:ext>
            </a:extLst>
          </p:cNvPr>
          <p:cNvGraphicFramePr>
            <a:graphicFrameLocks noChangeAspect="1"/>
          </p:cNvGraphicFramePr>
          <p:nvPr>
            <p:custDataLst>
              <p:tags r:id="rId3"/>
            </p:custDataLst>
            <p:extLst>
              <p:ext uri="{D42A27DB-BD31-4B8C-83A1-F6EECF244321}">
                <p14:modId xmlns:p14="http://schemas.microsoft.com/office/powerpoint/2010/main" val="150947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3" name="think-cell Slide" r:id="rId13" imgW="351" imgH="351" progId="TCLayout.ActiveDocument.1">
                  <p:embed/>
                </p:oleObj>
              </mc:Choice>
              <mc:Fallback>
                <p:oleObj name="think-cell Slide" r:id="rId13" imgW="351" imgH="351"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BcgText 1"/>
          <p:cNvSpPr txBox="1"/>
          <p:nvPr userDrawn="1">
            <p:custDataLst>
              <p:tags r:id="rId4"/>
            </p:custDataLst>
          </p:nvPr>
        </p:nvSpPr>
        <p:spPr>
          <a:xfrm>
            <a:off x="1264259" y="2038310"/>
            <a:ext cx="7180497" cy="548640"/>
          </a:xfrm>
          <a:prstGeom prst="rect">
            <a:avLst/>
          </a:prstGeom>
          <a:noFill/>
          <a:ln cap="rnd">
            <a:noFill/>
          </a:ln>
        </p:spPr>
        <p:txBody>
          <a:bodyPr wrap="square" lIns="0" tIns="0" rIns="0" bIns="0" rtlCol="0" anchor="b">
            <a:noAutofit/>
          </a:bodyPr>
          <a:lstStyle/>
          <a:p>
            <a:r>
              <a:rPr lang="en-US" sz="2800">
                <a:solidFill>
                  <a:schemeClr val="bg1"/>
                </a:solidFill>
              </a:rPr>
              <a:t>Introducing the team</a:t>
            </a:r>
          </a:p>
        </p:txBody>
      </p:sp>
      <p:pic>
        <p:nvPicPr>
          <p:cNvPr id="3" name="Picture 4">
            <a:extLst>
              <a:ext uri="{FF2B5EF4-FFF2-40B4-BE49-F238E27FC236}">
                <a16:creationId xmlns:a16="http://schemas.microsoft.com/office/drawing/2014/main" id="{804F2B0B-ED4F-467E-9926-F4EC1DD49056}"/>
              </a:ext>
            </a:extLst>
          </p:cNvPr>
          <p:cNvPicPr>
            <a:picLocks noChangeAspect="1"/>
          </p:cNvPicPr>
          <p:nvPr/>
        </p:nvPicPr>
        <p:blipFill>
          <a:blip r:embed="rId15"/>
          <a:stretch>
            <a:fillRect/>
          </a:stretch>
        </p:blipFill>
        <p:spPr>
          <a:xfrm>
            <a:off x="6142232" y="2965993"/>
            <a:ext cx="1356189" cy="131129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 name="Picture 5" descr="A picture containing person, wearing, red, headdress&#10;&#10;Description automatically generated">
            <a:extLst>
              <a:ext uri="{FF2B5EF4-FFF2-40B4-BE49-F238E27FC236}">
                <a16:creationId xmlns:a16="http://schemas.microsoft.com/office/drawing/2014/main" id="{4BAFD948-10DC-4430-A8AC-8AE437412611}"/>
              </a:ext>
            </a:extLst>
          </p:cNvPr>
          <p:cNvPicPr>
            <a:picLocks noChangeAspect="1"/>
          </p:cNvPicPr>
          <p:nvPr/>
        </p:nvPicPr>
        <p:blipFill>
          <a:blip r:embed="rId16"/>
          <a:stretch>
            <a:fillRect/>
          </a:stretch>
        </p:blipFill>
        <p:spPr>
          <a:xfrm>
            <a:off x="4488092" y="2963379"/>
            <a:ext cx="1407561" cy="131652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 name="Picture 6" descr="A picture containing person, outdoor&#10;&#10;Description automatically generated">
            <a:extLst>
              <a:ext uri="{FF2B5EF4-FFF2-40B4-BE49-F238E27FC236}">
                <a16:creationId xmlns:a16="http://schemas.microsoft.com/office/drawing/2014/main" id="{EE43B572-DDFD-4C4B-AB03-5EE52E5EB7FB}"/>
              </a:ext>
            </a:extLst>
          </p:cNvPr>
          <p:cNvPicPr>
            <a:picLocks noChangeAspect="1"/>
          </p:cNvPicPr>
          <p:nvPr/>
        </p:nvPicPr>
        <p:blipFill rotWithShape="1">
          <a:blip r:embed="rId17"/>
          <a:srcRect l="2427" t="15582" r="8738" b="2487"/>
          <a:stretch/>
        </p:blipFill>
        <p:spPr>
          <a:xfrm>
            <a:off x="2833953" y="2965362"/>
            <a:ext cx="1408059" cy="13300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10" descr="A picture containing building, outdoor, person, ground&#10;&#10;Description automatically generated">
            <a:extLst>
              <a:ext uri="{FF2B5EF4-FFF2-40B4-BE49-F238E27FC236}">
                <a16:creationId xmlns:a16="http://schemas.microsoft.com/office/drawing/2014/main" id="{053AF5C6-7FC0-46E6-B5BA-F0683AF77DCB}"/>
              </a:ext>
            </a:extLst>
          </p:cNvPr>
          <p:cNvPicPr>
            <a:picLocks noChangeAspect="1"/>
          </p:cNvPicPr>
          <p:nvPr/>
        </p:nvPicPr>
        <p:blipFill>
          <a:blip r:embed="rId18"/>
          <a:stretch>
            <a:fillRect/>
          </a:stretch>
        </p:blipFill>
        <p:spPr>
          <a:xfrm>
            <a:off x="1265431" y="2966878"/>
            <a:ext cx="1321943" cy="132665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1">
            <a:extLst>
              <a:ext uri="{FF2B5EF4-FFF2-40B4-BE49-F238E27FC236}">
                <a16:creationId xmlns:a16="http://schemas.microsoft.com/office/drawing/2014/main" id="{ECC8B3C5-5AC5-4541-B6FA-4BAA9C482CFB}"/>
              </a:ext>
            </a:extLst>
          </p:cNvPr>
          <p:cNvPicPr>
            <a:picLocks noChangeAspect="1"/>
          </p:cNvPicPr>
          <p:nvPr/>
        </p:nvPicPr>
        <p:blipFill>
          <a:blip r:embed="rId19"/>
          <a:stretch>
            <a:fillRect/>
          </a:stretch>
        </p:blipFill>
        <p:spPr>
          <a:xfrm>
            <a:off x="7745001" y="2931990"/>
            <a:ext cx="1407561" cy="13793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 name="Picture 6">
            <a:extLst>
              <a:ext uri="{FF2B5EF4-FFF2-40B4-BE49-F238E27FC236}">
                <a16:creationId xmlns:a16="http://schemas.microsoft.com/office/drawing/2014/main" id="{D8796368-9D34-4AC4-8189-AB55CD9C2B0E}"/>
              </a:ext>
            </a:extLst>
          </p:cNvPr>
          <p:cNvPicPr>
            <a:picLocks noChangeAspect="1"/>
          </p:cNvPicPr>
          <p:nvPr/>
        </p:nvPicPr>
        <p:blipFill rotWithShape="1">
          <a:blip r:embed="rId20"/>
          <a:srcRect l="6286" t="11236" r="13143" b="7865"/>
          <a:stretch/>
        </p:blipFill>
        <p:spPr>
          <a:xfrm>
            <a:off x="9399141" y="2934164"/>
            <a:ext cx="1347502" cy="137269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2" name="BcgText 1">
            <a:extLst>
              <a:ext uri="{FF2B5EF4-FFF2-40B4-BE49-F238E27FC236}">
                <a16:creationId xmlns:a16="http://schemas.microsoft.com/office/drawing/2014/main" id="{37DA543D-B133-4F70-B151-E0C93A1C5ADF}"/>
              </a:ext>
            </a:extLst>
          </p:cNvPr>
          <p:cNvSpPr txBox="1"/>
          <p:nvPr userDrawn="1">
            <p:custDataLst>
              <p:tags r:id="rId5"/>
            </p:custDataLst>
          </p:nvPr>
        </p:nvSpPr>
        <p:spPr>
          <a:xfrm>
            <a:off x="1264258" y="4606851"/>
            <a:ext cx="1349913" cy="403090"/>
          </a:xfrm>
          <a:prstGeom prst="rect">
            <a:avLst/>
          </a:prstGeom>
          <a:noFill/>
          <a:ln cap="rnd">
            <a:noFill/>
          </a:ln>
        </p:spPr>
        <p:txBody>
          <a:bodyPr wrap="square" lIns="0" tIns="0" rIns="0" bIns="0" rtlCol="0" anchor="t">
            <a:noAutofit/>
          </a:bodyPr>
          <a:lstStyle/>
          <a:p>
            <a:pPr algn="ctr"/>
            <a:r>
              <a:rPr lang="en-US" sz="1600">
                <a:solidFill>
                  <a:schemeClr val="bg1"/>
                </a:solidFill>
              </a:rPr>
              <a:t>Lee Kin Nam</a:t>
            </a:r>
            <a:endParaRPr lang="en-US" sz="1100">
              <a:solidFill>
                <a:schemeClr val="bg1"/>
              </a:solidFill>
            </a:endParaRPr>
          </a:p>
        </p:txBody>
      </p:sp>
      <p:sp>
        <p:nvSpPr>
          <p:cNvPr id="13" name="BcgText 1">
            <a:extLst>
              <a:ext uri="{FF2B5EF4-FFF2-40B4-BE49-F238E27FC236}">
                <a16:creationId xmlns:a16="http://schemas.microsoft.com/office/drawing/2014/main" id="{52252D29-3884-4754-9392-2D155BE052CD}"/>
              </a:ext>
            </a:extLst>
          </p:cNvPr>
          <p:cNvSpPr txBox="1"/>
          <p:nvPr userDrawn="1">
            <p:custDataLst>
              <p:tags r:id="rId6"/>
            </p:custDataLst>
          </p:nvPr>
        </p:nvSpPr>
        <p:spPr>
          <a:xfrm>
            <a:off x="2865314" y="4606850"/>
            <a:ext cx="1349913" cy="403090"/>
          </a:xfrm>
          <a:prstGeom prst="rect">
            <a:avLst/>
          </a:prstGeom>
          <a:noFill/>
          <a:ln cap="rnd">
            <a:noFill/>
          </a:ln>
        </p:spPr>
        <p:txBody>
          <a:bodyPr wrap="square" lIns="0" tIns="0" rIns="0" bIns="0" rtlCol="0" anchor="t">
            <a:noAutofit/>
          </a:bodyPr>
          <a:lstStyle/>
          <a:p>
            <a:pPr algn="ctr"/>
            <a:r>
              <a:rPr lang="en-US" sz="1600">
                <a:solidFill>
                  <a:schemeClr val="bg1"/>
                </a:solidFill>
              </a:rPr>
              <a:t>Poon Wei Yuan</a:t>
            </a:r>
            <a:endParaRPr lang="en-US">
              <a:solidFill>
                <a:schemeClr val="bg1"/>
              </a:solidFill>
            </a:endParaRPr>
          </a:p>
        </p:txBody>
      </p:sp>
      <p:sp>
        <p:nvSpPr>
          <p:cNvPr id="15" name="BcgText 1">
            <a:extLst>
              <a:ext uri="{FF2B5EF4-FFF2-40B4-BE49-F238E27FC236}">
                <a16:creationId xmlns:a16="http://schemas.microsoft.com/office/drawing/2014/main" id="{67F13DD4-6F7F-44DD-A68B-3743A70775AB}"/>
              </a:ext>
            </a:extLst>
          </p:cNvPr>
          <p:cNvSpPr txBox="1"/>
          <p:nvPr userDrawn="1">
            <p:custDataLst>
              <p:tags r:id="rId7"/>
            </p:custDataLst>
          </p:nvPr>
        </p:nvSpPr>
        <p:spPr>
          <a:xfrm>
            <a:off x="4526303" y="4606850"/>
            <a:ext cx="1349913" cy="403090"/>
          </a:xfrm>
          <a:prstGeom prst="rect">
            <a:avLst/>
          </a:prstGeom>
          <a:noFill/>
          <a:ln cap="rnd">
            <a:noFill/>
          </a:ln>
        </p:spPr>
        <p:txBody>
          <a:bodyPr wrap="square" lIns="0" tIns="0" rIns="0" bIns="0" rtlCol="0" anchor="t">
            <a:noAutofit/>
          </a:bodyPr>
          <a:lstStyle/>
          <a:p>
            <a:pPr algn="ctr"/>
            <a:r>
              <a:rPr lang="en-US" sz="1600">
                <a:solidFill>
                  <a:schemeClr val="bg1"/>
                </a:solidFill>
              </a:rPr>
              <a:t>Koh Lay Hon (Jac)</a:t>
            </a:r>
            <a:endParaRPr lang="en-US">
              <a:solidFill>
                <a:schemeClr val="bg1"/>
              </a:solidFill>
            </a:endParaRPr>
          </a:p>
        </p:txBody>
      </p:sp>
      <p:sp>
        <p:nvSpPr>
          <p:cNvPr id="16" name="BcgText 1">
            <a:extLst>
              <a:ext uri="{FF2B5EF4-FFF2-40B4-BE49-F238E27FC236}">
                <a16:creationId xmlns:a16="http://schemas.microsoft.com/office/drawing/2014/main" id="{841ADB1C-AB88-4B94-91BE-A97DA5598591}"/>
              </a:ext>
            </a:extLst>
          </p:cNvPr>
          <p:cNvSpPr txBox="1"/>
          <p:nvPr userDrawn="1">
            <p:custDataLst>
              <p:tags r:id="rId8"/>
            </p:custDataLst>
          </p:nvPr>
        </p:nvSpPr>
        <p:spPr>
          <a:xfrm>
            <a:off x="6144482" y="4606850"/>
            <a:ext cx="1349913" cy="403090"/>
          </a:xfrm>
          <a:prstGeom prst="rect">
            <a:avLst/>
          </a:prstGeom>
          <a:noFill/>
          <a:ln cap="rnd">
            <a:noFill/>
          </a:ln>
        </p:spPr>
        <p:txBody>
          <a:bodyPr wrap="square" lIns="0" tIns="0" rIns="0" bIns="0" rtlCol="0" anchor="t">
            <a:noAutofit/>
          </a:bodyPr>
          <a:lstStyle/>
          <a:p>
            <a:pPr algn="ctr"/>
            <a:r>
              <a:rPr lang="en-US" sz="1600">
                <a:solidFill>
                  <a:schemeClr val="bg1"/>
                </a:solidFill>
              </a:rPr>
              <a:t>Wesley Teo</a:t>
            </a:r>
          </a:p>
        </p:txBody>
      </p:sp>
      <p:sp>
        <p:nvSpPr>
          <p:cNvPr id="14" name="BcgText 1">
            <a:extLst>
              <a:ext uri="{FF2B5EF4-FFF2-40B4-BE49-F238E27FC236}">
                <a16:creationId xmlns:a16="http://schemas.microsoft.com/office/drawing/2014/main" id="{9BEFA604-250B-4E75-9CF4-E7E7980BEFD3}"/>
              </a:ext>
            </a:extLst>
          </p:cNvPr>
          <p:cNvSpPr txBox="1"/>
          <p:nvPr userDrawn="1">
            <p:custDataLst>
              <p:tags r:id="rId9"/>
            </p:custDataLst>
          </p:nvPr>
        </p:nvSpPr>
        <p:spPr>
          <a:xfrm>
            <a:off x="7771223" y="4623974"/>
            <a:ext cx="1349913" cy="403090"/>
          </a:xfrm>
          <a:prstGeom prst="rect">
            <a:avLst/>
          </a:prstGeom>
          <a:noFill/>
          <a:ln cap="rnd">
            <a:noFill/>
          </a:ln>
        </p:spPr>
        <p:txBody>
          <a:bodyPr wrap="square" lIns="0" tIns="0" rIns="0" bIns="0" rtlCol="0" anchor="t">
            <a:noAutofit/>
          </a:bodyPr>
          <a:lstStyle/>
          <a:p>
            <a:pPr algn="ctr"/>
            <a:r>
              <a:rPr lang="en-US" sz="1600">
                <a:solidFill>
                  <a:schemeClr val="bg1"/>
                </a:solidFill>
              </a:rPr>
              <a:t>Wong Yong Lin</a:t>
            </a:r>
            <a:endParaRPr lang="en-US"/>
          </a:p>
        </p:txBody>
      </p:sp>
      <p:sp>
        <p:nvSpPr>
          <p:cNvPr id="17" name="BcgText 1">
            <a:extLst>
              <a:ext uri="{FF2B5EF4-FFF2-40B4-BE49-F238E27FC236}">
                <a16:creationId xmlns:a16="http://schemas.microsoft.com/office/drawing/2014/main" id="{17B6372D-A32F-41D9-821E-C756C31DE30B}"/>
              </a:ext>
            </a:extLst>
          </p:cNvPr>
          <p:cNvSpPr txBox="1"/>
          <p:nvPr userDrawn="1">
            <p:custDataLst>
              <p:tags r:id="rId10"/>
            </p:custDataLst>
          </p:nvPr>
        </p:nvSpPr>
        <p:spPr>
          <a:xfrm>
            <a:off x="9397964" y="4623973"/>
            <a:ext cx="1349913" cy="403090"/>
          </a:xfrm>
          <a:prstGeom prst="rect">
            <a:avLst/>
          </a:prstGeom>
          <a:noFill/>
          <a:ln cap="rnd">
            <a:noFill/>
          </a:ln>
        </p:spPr>
        <p:txBody>
          <a:bodyPr wrap="square" lIns="0" tIns="0" rIns="0" bIns="0" rtlCol="0" anchor="t">
            <a:noAutofit/>
          </a:bodyPr>
          <a:lstStyle/>
          <a:p>
            <a:pPr algn="ctr"/>
            <a:r>
              <a:rPr lang="en-US" sz="1600">
                <a:solidFill>
                  <a:schemeClr val="bg1"/>
                </a:solidFill>
              </a:rPr>
              <a:t>Evelyn Yong</a:t>
            </a:r>
            <a:endParaRPr lang="en-US"/>
          </a:p>
        </p:txBody>
      </p:sp>
      <p:pic>
        <p:nvPicPr>
          <p:cNvPr id="7" name="Picture 4" descr="Logo, company name&#10;&#10;Description automatically generated">
            <a:extLst>
              <a:ext uri="{FF2B5EF4-FFF2-40B4-BE49-F238E27FC236}">
                <a16:creationId xmlns:a16="http://schemas.microsoft.com/office/drawing/2014/main" id="{9CE2C089-17DF-4333-8536-34FFD388E0EB}"/>
              </a:ext>
            </a:extLst>
          </p:cNvPr>
          <p:cNvPicPr>
            <a:picLocks noChangeAspect="1"/>
          </p:cNvPicPr>
          <p:nvPr/>
        </p:nvPicPr>
        <p:blipFill>
          <a:blip r:embed="rId21"/>
          <a:stretch>
            <a:fillRect/>
          </a:stretch>
        </p:blipFill>
        <p:spPr>
          <a:xfrm>
            <a:off x="11205198" y="113050"/>
            <a:ext cx="831214" cy="87273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custDataLst>
      <p:tags r:id="rId2"/>
    </p:custDataLst>
    <p:extLst>
      <p:ext uri="{BB962C8B-B14F-4D97-AF65-F5344CB8AC3E}">
        <p14:creationId xmlns:p14="http://schemas.microsoft.com/office/powerpoint/2010/main" val="202367381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9" name="Group 158">
            <a:extLst>
              <a:ext uri="{FF2B5EF4-FFF2-40B4-BE49-F238E27FC236}">
                <a16:creationId xmlns:a16="http://schemas.microsoft.com/office/drawing/2014/main" id="{6CF11143-2C2D-41F3-A344-0766ACFE591C}"/>
              </a:ext>
            </a:extLst>
          </p:cNvPr>
          <p:cNvGrpSpPr/>
          <p:nvPr/>
        </p:nvGrpSpPr>
        <p:grpSpPr>
          <a:xfrm>
            <a:off x="422823" y="464079"/>
            <a:ext cx="11141005" cy="2077620"/>
            <a:chOff x="422823" y="464079"/>
            <a:chExt cx="11141005" cy="2077620"/>
          </a:xfrm>
        </p:grpSpPr>
        <p:sp>
          <p:nvSpPr>
            <p:cNvPr id="160" name="Rectangle 159">
              <a:extLst>
                <a:ext uri="{FF2B5EF4-FFF2-40B4-BE49-F238E27FC236}">
                  <a16:creationId xmlns:a16="http://schemas.microsoft.com/office/drawing/2014/main" id="{129EBF9C-3DCE-40EC-8CFB-1CB201B252BE}"/>
                </a:ext>
              </a:extLst>
            </p:cNvPr>
            <p:cNvSpPr/>
            <p:nvPr/>
          </p:nvSpPr>
          <p:spPr>
            <a:xfrm>
              <a:off x="422823" y="464079"/>
              <a:ext cx="11141005" cy="2077620"/>
            </a:xfrm>
            <a:prstGeom prst="rect">
              <a:avLst/>
            </a:prstGeom>
            <a:noFill/>
            <a:ln w="12700" cap="flat" cmpd="sng" algn="ctr">
              <a:solidFill>
                <a:srgbClr val="002060"/>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28600" indent="-228600">
                <a:lnSpc>
                  <a:spcPct val="150000"/>
                </a:lnSpc>
                <a:buAutoNum type="arabicPeriod"/>
              </a:pPr>
              <a:endParaRPr lang="en-US" sz="1200">
                <a:solidFill>
                  <a:srgbClr val="002060"/>
                </a:solidFill>
              </a:endParaRPr>
            </a:p>
            <a:p>
              <a:pPr marL="228600" indent="-228600">
                <a:lnSpc>
                  <a:spcPct val="150000"/>
                </a:lnSpc>
                <a:buAutoNum type="arabicPeriod"/>
              </a:pPr>
              <a:endParaRPr lang="en-US" sz="1200">
                <a:solidFill>
                  <a:srgbClr val="002060"/>
                </a:solidFill>
              </a:endParaRPr>
            </a:p>
            <a:p>
              <a:pPr marL="228600" indent="-228600">
                <a:lnSpc>
                  <a:spcPct val="150000"/>
                </a:lnSpc>
                <a:buAutoNum type="arabicPeriod"/>
              </a:pPr>
              <a:r>
                <a:rPr lang="en-US" sz="1400">
                  <a:solidFill>
                    <a:srgbClr val="002060"/>
                  </a:solidFill>
                </a:rPr>
                <a:t>Total rider coming in and out are the same number. </a:t>
              </a:r>
              <a:endParaRPr lang="en-US" sz="1400"/>
            </a:p>
            <a:p>
              <a:pPr marL="228600" indent="-228600">
                <a:lnSpc>
                  <a:spcPct val="150000"/>
                </a:lnSpc>
                <a:buAutoNum type="arabicPeriod"/>
              </a:pPr>
              <a:r>
                <a:rPr lang="en-US" sz="1400">
                  <a:solidFill>
                    <a:srgbClr val="002060"/>
                  </a:solidFill>
                </a:rPr>
                <a:t>No key events or promotions during the period of data provided (Jan – Mar 2021) due to COVID-19 SMM measures.</a:t>
              </a:r>
              <a:endParaRPr lang="en-US" sz="1400">
                <a:solidFill>
                  <a:srgbClr val="FFFFFF"/>
                </a:solidFill>
              </a:endParaRPr>
            </a:p>
            <a:p>
              <a:pPr marL="228600" indent="-228600">
                <a:lnSpc>
                  <a:spcPct val="150000"/>
                </a:lnSpc>
                <a:buAutoNum type="arabicPeriod"/>
              </a:pPr>
              <a:r>
                <a:rPr lang="en-US" sz="1400">
                  <a:solidFill>
                    <a:srgbClr val="002060"/>
                  </a:solidFill>
                </a:rPr>
                <a:t>Maximum bus capacity reduced from 88 to 50 pax due to COVID-19 SMM measures.</a:t>
              </a:r>
            </a:p>
            <a:p>
              <a:pPr marL="228600" indent="-228600">
                <a:lnSpc>
                  <a:spcPct val="150000"/>
                </a:lnSpc>
                <a:buAutoNum type="arabicPeriod"/>
              </a:pPr>
              <a:r>
                <a:rPr lang="en-US" sz="1400">
                  <a:solidFill>
                    <a:srgbClr val="002060"/>
                  </a:solidFill>
                  <a:ea typeface="+mn-lt"/>
                  <a:cs typeface="+mn-lt"/>
                </a:rPr>
                <a:t>Bus stops and bus routes cannot be removed. </a:t>
              </a:r>
              <a:endParaRPr lang="en-US" sz="1400">
                <a:solidFill>
                  <a:srgbClr val="002060"/>
                </a:solidFill>
              </a:endParaRPr>
            </a:p>
          </p:txBody>
        </p:sp>
        <p:sp>
          <p:nvSpPr>
            <p:cNvPr id="3097" name="Freeform 11">
              <a:extLst>
                <a:ext uri="{FF2B5EF4-FFF2-40B4-BE49-F238E27FC236}">
                  <a16:creationId xmlns:a16="http://schemas.microsoft.com/office/drawing/2014/main" id="{B43BCD4D-C119-4545-A18A-03EFECDDCAC1}"/>
                </a:ext>
              </a:extLst>
            </p:cNvPr>
            <p:cNvSpPr>
              <a:spLocks noChangeArrowheads="1"/>
            </p:cNvSpPr>
            <p:nvPr/>
          </p:nvSpPr>
          <p:spPr bwMode="auto">
            <a:xfrm>
              <a:off x="2912302" y="632160"/>
              <a:ext cx="651268" cy="278527"/>
            </a:xfrm>
            <a:custGeom>
              <a:avLst/>
              <a:gdLst>
                <a:gd name="connsiteX0" fmla="*/ 101600 w 1271588"/>
                <a:gd name="connsiteY0" fmla="*/ 225425 h 565150"/>
                <a:gd name="connsiteX1" fmla="*/ 41275 w 1271588"/>
                <a:gd name="connsiteY1" fmla="*/ 285750 h 565150"/>
                <a:gd name="connsiteX2" fmla="*/ 101600 w 1271588"/>
                <a:gd name="connsiteY2" fmla="*/ 346075 h 565150"/>
                <a:gd name="connsiteX3" fmla="*/ 161925 w 1271588"/>
                <a:gd name="connsiteY3" fmla="*/ 285750 h 565150"/>
                <a:gd name="connsiteX4" fmla="*/ 101600 w 1271588"/>
                <a:gd name="connsiteY4" fmla="*/ 225425 h 565150"/>
                <a:gd name="connsiteX5" fmla="*/ 512763 w 1271588"/>
                <a:gd name="connsiteY5" fmla="*/ 217488 h 565150"/>
                <a:gd name="connsiteX6" fmla="*/ 640543 w 1271588"/>
                <a:gd name="connsiteY6" fmla="*/ 217488 h 565150"/>
                <a:gd name="connsiteX7" fmla="*/ 691940 w 1271588"/>
                <a:gd name="connsiteY7" fmla="*/ 281190 h 565150"/>
                <a:gd name="connsiteX8" fmla="*/ 818292 w 1271588"/>
                <a:gd name="connsiteY8" fmla="*/ 281190 h 565150"/>
                <a:gd name="connsiteX9" fmla="*/ 869689 w 1271588"/>
                <a:gd name="connsiteY9" fmla="*/ 243971 h 565150"/>
                <a:gd name="connsiteX10" fmla="*/ 928225 w 1271588"/>
                <a:gd name="connsiteY10" fmla="*/ 243971 h 565150"/>
                <a:gd name="connsiteX11" fmla="*/ 956779 w 1271588"/>
                <a:gd name="connsiteY11" fmla="*/ 286916 h 565150"/>
                <a:gd name="connsiteX12" fmla="*/ 1107402 w 1271588"/>
                <a:gd name="connsiteY12" fmla="*/ 286916 h 565150"/>
                <a:gd name="connsiteX13" fmla="*/ 1180215 w 1271588"/>
                <a:gd name="connsiteY13" fmla="*/ 241108 h 565150"/>
                <a:gd name="connsiteX14" fmla="*/ 1271588 w 1271588"/>
                <a:gd name="connsiteY14" fmla="*/ 301231 h 565150"/>
                <a:gd name="connsiteX15" fmla="*/ 1230185 w 1271588"/>
                <a:gd name="connsiteY15" fmla="*/ 341313 h 565150"/>
                <a:gd name="connsiteX16" fmla="*/ 513477 w 1271588"/>
                <a:gd name="connsiteY16" fmla="*/ 341313 h 565150"/>
                <a:gd name="connsiteX17" fmla="*/ 518474 w 1271588"/>
                <a:gd name="connsiteY17" fmla="*/ 282622 h 565150"/>
                <a:gd name="connsiteX18" fmla="*/ 512763 w 1271588"/>
                <a:gd name="connsiteY18" fmla="*/ 217488 h 565150"/>
                <a:gd name="connsiteX19" fmla="*/ 243682 w 1271588"/>
                <a:gd name="connsiteY19" fmla="*/ 0 h 565150"/>
                <a:gd name="connsiteX20" fmla="*/ 487364 w 1271588"/>
                <a:gd name="connsiteY20" fmla="*/ 282575 h 565150"/>
                <a:gd name="connsiteX21" fmla="*/ 243682 w 1271588"/>
                <a:gd name="connsiteY21" fmla="*/ 565150 h 565150"/>
                <a:gd name="connsiteX22" fmla="*/ 0 w 1271588"/>
                <a:gd name="connsiteY22" fmla="*/ 282575 h 565150"/>
                <a:gd name="connsiteX23" fmla="*/ 243682 w 1271588"/>
                <a:gd name="connsiteY23" fmla="*/ 0 h 5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1588" h="565150">
                  <a:moveTo>
                    <a:pt x="101600" y="225425"/>
                  </a:moveTo>
                  <a:cubicBezTo>
                    <a:pt x="68283" y="225425"/>
                    <a:pt x="41275" y="252433"/>
                    <a:pt x="41275" y="285750"/>
                  </a:cubicBezTo>
                  <a:cubicBezTo>
                    <a:pt x="41275" y="319067"/>
                    <a:pt x="68283" y="346075"/>
                    <a:pt x="101600" y="346075"/>
                  </a:cubicBezTo>
                  <a:cubicBezTo>
                    <a:pt x="134917" y="346075"/>
                    <a:pt x="161925" y="319067"/>
                    <a:pt x="161925" y="285750"/>
                  </a:cubicBezTo>
                  <a:cubicBezTo>
                    <a:pt x="161925" y="252433"/>
                    <a:pt x="134917" y="225425"/>
                    <a:pt x="101600" y="225425"/>
                  </a:cubicBezTo>
                  <a:close/>
                  <a:moveTo>
                    <a:pt x="512763" y="217488"/>
                  </a:moveTo>
                  <a:cubicBezTo>
                    <a:pt x="512763" y="217488"/>
                    <a:pt x="512763" y="217488"/>
                    <a:pt x="640543" y="217488"/>
                  </a:cubicBezTo>
                  <a:cubicBezTo>
                    <a:pt x="640543" y="217488"/>
                    <a:pt x="640543" y="217488"/>
                    <a:pt x="691940" y="281190"/>
                  </a:cubicBezTo>
                  <a:cubicBezTo>
                    <a:pt x="691940" y="281190"/>
                    <a:pt x="691940" y="281190"/>
                    <a:pt x="818292" y="281190"/>
                  </a:cubicBezTo>
                  <a:cubicBezTo>
                    <a:pt x="818292" y="281190"/>
                    <a:pt x="818292" y="281190"/>
                    <a:pt x="869689" y="243971"/>
                  </a:cubicBezTo>
                  <a:cubicBezTo>
                    <a:pt x="869689" y="243971"/>
                    <a:pt x="869689" y="243971"/>
                    <a:pt x="928225" y="243971"/>
                  </a:cubicBezTo>
                  <a:cubicBezTo>
                    <a:pt x="928225" y="243971"/>
                    <a:pt x="928225" y="243971"/>
                    <a:pt x="956779" y="286916"/>
                  </a:cubicBezTo>
                  <a:cubicBezTo>
                    <a:pt x="956779" y="286916"/>
                    <a:pt x="956779" y="286916"/>
                    <a:pt x="1107402" y="286916"/>
                  </a:cubicBezTo>
                  <a:cubicBezTo>
                    <a:pt x="1107402" y="286916"/>
                    <a:pt x="1107402" y="286916"/>
                    <a:pt x="1180215" y="241108"/>
                  </a:cubicBezTo>
                  <a:cubicBezTo>
                    <a:pt x="1180215" y="241108"/>
                    <a:pt x="1180215" y="241108"/>
                    <a:pt x="1271588" y="301231"/>
                  </a:cubicBezTo>
                  <a:cubicBezTo>
                    <a:pt x="1271588" y="301231"/>
                    <a:pt x="1271588" y="301231"/>
                    <a:pt x="1230185" y="341313"/>
                  </a:cubicBezTo>
                  <a:cubicBezTo>
                    <a:pt x="1230185" y="341313"/>
                    <a:pt x="1230185" y="341313"/>
                    <a:pt x="513477" y="341313"/>
                  </a:cubicBezTo>
                  <a:cubicBezTo>
                    <a:pt x="517046" y="321988"/>
                    <a:pt x="518474" y="302663"/>
                    <a:pt x="518474" y="282622"/>
                  </a:cubicBezTo>
                  <a:cubicBezTo>
                    <a:pt x="518474" y="260433"/>
                    <a:pt x="516333" y="238961"/>
                    <a:pt x="512763" y="217488"/>
                  </a:cubicBezTo>
                  <a:close/>
                  <a:moveTo>
                    <a:pt x="243682" y="0"/>
                  </a:moveTo>
                  <a:cubicBezTo>
                    <a:pt x="378264" y="0"/>
                    <a:pt x="487364" y="126513"/>
                    <a:pt x="487364" y="282575"/>
                  </a:cubicBezTo>
                  <a:cubicBezTo>
                    <a:pt x="487364" y="438637"/>
                    <a:pt x="378264" y="565150"/>
                    <a:pt x="243682" y="565150"/>
                  </a:cubicBezTo>
                  <a:cubicBezTo>
                    <a:pt x="109100" y="565150"/>
                    <a:pt x="0" y="438637"/>
                    <a:pt x="0" y="282575"/>
                  </a:cubicBezTo>
                  <a:cubicBezTo>
                    <a:pt x="0" y="126513"/>
                    <a:pt x="109100" y="0"/>
                    <a:pt x="243682" y="0"/>
                  </a:cubicBezTo>
                  <a:close/>
                </a:path>
              </a:pathLst>
            </a:custGeom>
            <a:solidFill>
              <a:srgbClr val="FF8C00"/>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11" name="TextBox 210">
              <a:extLst>
                <a:ext uri="{FF2B5EF4-FFF2-40B4-BE49-F238E27FC236}">
                  <a16:creationId xmlns:a16="http://schemas.microsoft.com/office/drawing/2014/main" id="{BE8EF75F-4A8F-4CC0-B3A0-4689491D690B}"/>
                </a:ext>
              </a:extLst>
            </p:cNvPr>
            <p:cNvSpPr txBox="1"/>
            <p:nvPr/>
          </p:nvSpPr>
          <p:spPr>
            <a:xfrm>
              <a:off x="452831" y="562149"/>
              <a:ext cx="274320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400">
                  <a:solidFill>
                    <a:srgbClr val="002060"/>
                  </a:solidFill>
                </a:rPr>
                <a:t>Key Assumptions</a:t>
              </a:r>
            </a:p>
          </p:txBody>
        </p:sp>
      </p:grpSp>
      <p:grpSp>
        <p:nvGrpSpPr>
          <p:cNvPr id="70" name="Group 69">
            <a:extLst>
              <a:ext uri="{FF2B5EF4-FFF2-40B4-BE49-F238E27FC236}">
                <a16:creationId xmlns:a16="http://schemas.microsoft.com/office/drawing/2014/main" id="{1C6C7C9E-B94C-40CE-A89F-A87214022882}"/>
              </a:ext>
            </a:extLst>
          </p:cNvPr>
          <p:cNvGrpSpPr/>
          <p:nvPr/>
        </p:nvGrpSpPr>
        <p:grpSpPr>
          <a:xfrm>
            <a:off x="425099" y="2677161"/>
            <a:ext cx="11209278" cy="4025199"/>
            <a:chOff x="445444" y="453725"/>
            <a:chExt cx="11209278" cy="4025199"/>
          </a:xfrm>
        </p:grpSpPr>
        <p:graphicFrame>
          <p:nvGraphicFramePr>
            <p:cNvPr id="28" name="Diagram 3">
              <a:extLst>
                <a:ext uri="{FF2B5EF4-FFF2-40B4-BE49-F238E27FC236}">
                  <a16:creationId xmlns:a16="http://schemas.microsoft.com/office/drawing/2014/main" id="{9D58B7B4-DE29-4DDF-BB8A-729D2B705659}"/>
                </a:ext>
              </a:extLst>
            </p:cNvPr>
            <p:cNvGraphicFramePr/>
            <p:nvPr>
              <p:extLst>
                <p:ext uri="{D42A27DB-BD31-4B8C-83A1-F6EECF244321}">
                  <p14:modId xmlns:p14="http://schemas.microsoft.com/office/powerpoint/2010/main" val="2869353792"/>
                </p:ext>
              </p:extLst>
            </p:nvPr>
          </p:nvGraphicFramePr>
          <p:xfrm>
            <a:off x="3164297" y="509170"/>
            <a:ext cx="8486460" cy="39697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5" name="Group 44">
              <a:extLst>
                <a:ext uri="{FF2B5EF4-FFF2-40B4-BE49-F238E27FC236}">
                  <a16:creationId xmlns:a16="http://schemas.microsoft.com/office/drawing/2014/main" id="{8DAC9C6C-086A-4E16-A310-6100E5979C46}"/>
                </a:ext>
              </a:extLst>
            </p:cNvPr>
            <p:cNvGrpSpPr/>
            <p:nvPr/>
          </p:nvGrpSpPr>
          <p:grpSpPr>
            <a:xfrm>
              <a:off x="445444" y="453725"/>
              <a:ext cx="11209278" cy="3721561"/>
              <a:chOff x="445444" y="453725"/>
              <a:chExt cx="11209278" cy="3721561"/>
            </a:xfrm>
          </p:grpSpPr>
          <p:sp>
            <p:nvSpPr>
              <p:cNvPr id="47" name="Rectangle 46">
                <a:extLst>
                  <a:ext uri="{FF2B5EF4-FFF2-40B4-BE49-F238E27FC236}">
                    <a16:creationId xmlns:a16="http://schemas.microsoft.com/office/drawing/2014/main" id="{B72F6C48-B470-4163-9AC9-2982A10656DA}"/>
                  </a:ext>
                </a:extLst>
              </p:cNvPr>
              <p:cNvSpPr/>
              <p:nvPr/>
            </p:nvSpPr>
            <p:spPr>
              <a:xfrm>
                <a:off x="445444" y="453725"/>
                <a:ext cx="11209278" cy="3721561"/>
              </a:xfrm>
              <a:prstGeom prst="rect">
                <a:avLst/>
              </a:prstGeom>
              <a:noFill/>
              <a:ln w="12700" cap="flat" cmpd="sng" algn="ctr">
                <a:solidFill>
                  <a:srgbClr val="002060"/>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575757"/>
                  </a:solidFill>
                </a:endParaRPr>
              </a:p>
            </p:txBody>
          </p:sp>
          <p:sp>
            <p:nvSpPr>
              <p:cNvPr id="49" name="Title 1">
                <a:extLst>
                  <a:ext uri="{FF2B5EF4-FFF2-40B4-BE49-F238E27FC236}">
                    <a16:creationId xmlns:a16="http://schemas.microsoft.com/office/drawing/2014/main" id="{1A40ECD8-EC71-4C0D-A629-C5042C9FBE1B}"/>
                  </a:ext>
                </a:extLst>
              </p:cNvPr>
              <p:cNvSpPr txBox="1">
                <a:spLocks/>
              </p:cNvSpPr>
              <p:nvPr/>
            </p:nvSpPr>
            <p:spPr>
              <a:xfrm>
                <a:off x="747769" y="1934356"/>
                <a:ext cx="2441474"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solidFill>
                    <a:latin typeface="+mj-lt"/>
                    <a:ea typeface="+mj-ea"/>
                    <a:cs typeface="+mj-cs"/>
                    <a:sym typeface="Trebuchet MS" panose="020B0603020202020204" pitchFamily="34" charset="0"/>
                  </a:defRPr>
                </a:lvl1pPr>
              </a:lstStyle>
              <a:p>
                <a:r>
                  <a:rPr lang="en-US">
                    <a:solidFill>
                      <a:srgbClr val="002060"/>
                    </a:solidFill>
                  </a:rPr>
                  <a:t>Next steps</a:t>
                </a:r>
              </a:p>
            </p:txBody>
          </p:sp>
          <p:sp>
            <p:nvSpPr>
              <p:cNvPr id="124" name="TextBox 123">
                <a:extLst>
                  <a:ext uri="{FF2B5EF4-FFF2-40B4-BE49-F238E27FC236}">
                    <a16:creationId xmlns:a16="http://schemas.microsoft.com/office/drawing/2014/main" id="{C91A31F3-23FB-421F-8BC0-FD3F5F868D91}"/>
                  </a:ext>
                </a:extLst>
              </p:cNvPr>
              <p:cNvSpPr txBox="1"/>
              <p:nvPr/>
            </p:nvSpPr>
            <p:spPr>
              <a:xfrm>
                <a:off x="663515" y="2366842"/>
                <a:ext cx="2818617"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a:solidFill>
                      <a:srgbClr val="002060"/>
                    </a:solidFill>
                  </a:rPr>
                  <a:t>Time frame: 6 - 9 months</a:t>
                </a:r>
              </a:p>
            </p:txBody>
          </p:sp>
          <p:pic>
            <p:nvPicPr>
              <p:cNvPr id="1727" name="Graphic 1727" descr="Bus with solid fill">
                <a:extLst>
                  <a:ext uri="{FF2B5EF4-FFF2-40B4-BE49-F238E27FC236}">
                    <a16:creationId xmlns:a16="http://schemas.microsoft.com/office/drawing/2014/main" id="{4F4925B4-226E-4CE5-9A48-DF473BE5B5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54125" y="1133694"/>
                <a:ext cx="968388" cy="941117"/>
              </a:xfrm>
              <a:prstGeom prst="rect">
                <a:avLst/>
              </a:prstGeom>
            </p:spPr>
          </p:pic>
          <p:grpSp>
            <p:nvGrpSpPr>
              <p:cNvPr id="417" name="Group 416">
                <a:extLst>
                  <a:ext uri="{FF2B5EF4-FFF2-40B4-BE49-F238E27FC236}">
                    <a16:creationId xmlns:a16="http://schemas.microsoft.com/office/drawing/2014/main" id="{3422634B-E74A-464E-8891-948490F63923}"/>
                  </a:ext>
                </a:extLst>
              </p:cNvPr>
              <p:cNvGrpSpPr/>
              <p:nvPr/>
            </p:nvGrpSpPr>
            <p:grpSpPr>
              <a:xfrm>
                <a:off x="5642452" y="3381289"/>
                <a:ext cx="608750" cy="640500"/>
                <a:chOff x="4279958" y="337110"/>
                <a:chExt cx="839954" cy="839954"/>
              </a:xfrm>
            </p:grpSpPr>
            <p:pic>
              <p:nvPicPr>
                <p:cNvPr id="3132" name="Graphic 3131" descr="Arrow circle">
                  <a:extLst>
                    <a:ext uri="{FF2B5EF4-FFF2-40B4-BE49-F238E27FC236}">
                      <a16:creationId xmlns:a16="http://schemas.microsoft.com/office/drawing/2014/main" id="{BA0FB811-9988-4232-A46F-6EF4FC07AD2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79958" y="337110"/>
                  <a:ext cx="839954" cy="839954"/>
                </a:xfrm>
                <a:prstGeom prst="rect">
                  <a:avLst/>
                </a:prstGeom>
              </p:spPr>
            </p:pic>
            <p:pic>
              <p:nvPicPr>
                <p:cNvPr id="3133" name="Graphic 3132" descr="Single gear">
                  <a:extLst>
                    <a:ext uri="{FF2B5EF4-FFF2-40B4-BE49-F238E27FC236}">
                      <a16:creationId xmlns:a16="http://schemas.microsoft.com/office/drawing/2014/main" id="{01E138E9-826C-4F51-97A8-242CE7FFD6D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03173" y="531709"/>
                  <a:ext cx="436137" cy="460275"/>
                </a:xfrm>
                <a:prstGeom prst="rect">
                  <a:avLst/>
                </a:prstGeom>
              </p:spPr>
            </p:pic>
          </p:grpSp>
          <p:pic>
            <p:nvPicPr>
              <p:cNvPr id="107" name="Graphic 107" descr="Tools with solid fill">
                <a:extLst>
                  <a:ext uri="{FF2B5EF4-FFF2-40B4-BE49-F238E27FC236}">
                    <a16:creationId xmlns:a16="http://schemas.microsoft.com/office/drawing/2014/main" id="{02601E91-3DEE-4781-ACC9-2A3154DCC85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224722" y="1079673"/>
                <a:ext cx="365760" cy="375920"/>
              </a:xfrm>
              <a:prstGeom prst="rect">
                <a:avLst/>
              </a:prstGeom>
            </p:spPr>
          </p:pic>
          <p:pic>
            <p:nvPicPr>
              <p:cNvPr id="108" name="Graphic 108" descr="Users with solid fill">
                <a:extLst>
                  <a:ext uri="{FF2B5EF4-FFF2-40B4-BE49-F238E27FC236}">
                    <a16:creationId xmlns:a16="http://schemas.microsoft.com/office/drawing/2014/main" id="{590458A9-D7D6-4978-B569-22D281AE5CF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57433" y="3340879"/>
                <a:ext cx="558800" cy="508000"/>
              </a:xfrm>
              <a:prstGeom prst="rect">
                <a:avLst/>
              </a:prstGeom>
            </p:spPr>
          </p:pic>
          <p:pic>
            <p:nvPicPr>
              <p:cNvPr id="127" name="Graphic 127" descr="Send with solid fill">
                <a:extLst>
                  <a:ext uri="{FF2B5EF4-FFF2-40B4-BE49-F238E27FC236}">
                    <a16:creationId xmlns:a16="http://schemas.microsoft.com/office/drawing/2014/main" id="{50C2EFDE-AE92-48A3-8F2F-DEC4BC51895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143849" y="1143296"/>
                <a:ext cx="447040" cy="436880"/>
              </a:xfrm>
              <a:prstGeom prst="rect">
                <a:avLst/>
              </a:prstGeom>
            </p:spPr>
          </p:pic>
          <p:pic>
            <p:nvPicPr>
              <p:cNvPr id="5328" name="Graphic 5328" descr="Bar chart with solid fill">
                <a:extLst>
                  <a:ext uri="{FF2B5EF4-FFF2-40B4-BE49-F238E27FC236}">
                    <a16:creationId xmlns:a16="http://schemas.microsoft.com/office/drawing/2014/main" id="{79187648-B5C6-4EDC-88C1-489201FB6DA0}"/>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207421" y="780393"/>
                <a:ext cx="396993" cy="396993"/>
              </a:xfrm>
              <a:prstGeom prst="rect">
                <a:avLst/>
              </a:prstGeom>
            </p:spPr>
          </p:pic>
        </p:grpSp>
      </p:grpSp>
    </p:spTree>
    <p:extLst>
      <p:ext uri="{BB962C8B-B14F-4D97-AF65-F5344CB8AC3E}">
        <p14:creationId xmlns:p14="http://schemas.microsoft.com/office/powerpoint/2010/main" val="33912156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lowchart: Connector 3">
            <a:extLst>
              <a:ext uri="{FF2B5EF4-FFF2-40B4-BE49-F238E27FC236}">
                <a16:creationId xmlns:a16="http://schemas.microsoft.com/office/drawing/2014/main" id="{B5093534-E4E0-4265-83EB-A4FA8D3A8C7C}"/>
              </a:ext>
            </a:extLst>
          </p:cNvPr>
          <p:cNvSpPr>
            <a:spLocks noChangeAspect="1"/>
          </p:cNvSpPr>
          <p:nvPr/>
        </p:nvSpPr>
        <p:spPr>
          <a:xfrm>
            <a:off x="3820357" y="1233749"/>
            <a:ext cx="4017115" cy="3996764"/>
          </a:xfrm>
          <a:prstGeom prst="flowChartConnector">
            <a:avLst/>
          </a:prstGeom>
          <a:noFill/>
          <a:ln w="57150"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SG" sz="5400" b="1">
                <a:solidFill>
                  <a:srgbClr val="FF8C00"/>
                </a:solidFill>
              </a:rPr>
              <a:t>Q &amp; A</a:t>
            </a:r>
            <a:endParaRPr lang="en-US" sz="5400">
              <a:solidFill>
                <a:srgbClr val="FF8C00"/>
              </a:solidFill>
            </a:endParaRPr>
          </a:p>
        </p:txBody>
      </p:sp>
    </p:spTree>
    <p:extLst>
      <p:ext uri="{BB962C8B-B14F-4D97-AF65-F5344CB8AC3E}">
        <p14:creationId xmlns:p14="http://schemas.microsoft.com/office/powerpoint/2010/main" val="391111100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0D89B7-B51B-4806-86F9-1B4EA9464B10}"/>
              </a:ext>
            </a:extLst>
          </p:cNvPr>
          <p:cNvGraphicFramePr>
            <a:graphicFrameLocks noChangeAspect="1"/>
          </p:cNvGraphicFramePr>
          <p:nvPr>
            <p:custDataLst>
              <p:tags r:id="rId3"/>
            </p:custDataLst>
            <p:extLst>
              <p:ext uri="{D42A27DB-BD31-4B8C-83A1-F6EECF244321}">
                <p14:modId xmlns:p14="http://schemas.microsoft.com/office/powerpoint/2010/main" val="104054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49" name="think-cell Slide" r:id="rId7" imgW="351" imgH="351" progId="TCLayout.ActiveDocument.1">
                  <p:embed/>
                </p:oleObj>
              </mc:Choice>
              <mc:Fallback>
                <p:oleObj name="think-cell Slide" r:id="rId7" imgW="351" imgH="351" progId="TCLayout.ActiveDocument.1">
                  <p:embed/>
                  <p:pic>
                    <p:nvPicPr>
                      <p:cNvPr id="9" name="Object 8" hidden="1">
                        <a:extLst>
                          <a:ext uri="{FF2B5EF4-FFF2-40B4-BE49-F238E27FC236}">
                            <a16:creationId xmlns:a16="http://schemas.microsoft.com/office/drawing/2014/main" id="{050D89B7-B51B-4806-86F9-1B4EA9464B1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BcgText 1"/>
          <p:cNvSpPr txBox="1"/>
          <p:nvPr userDrawn="1">
            <p:custDataLst>
              <p:tags r:id="rId4"/>
            </p:custDataLst>
          </p:nvPr>
        </p:nvSpPr>
        <p:spPr>
          <a:xfrm>
            <a:off x="639248" y="3040042"/>
            <a:ext cx="7180497" cy="548640"/>
          </a:xfrm>
          <a:prstGeom prst="rect">
            <a:avLst/>
          </a:prstGeom>
          <a:noFill/>
          <a:ln cap="rnd">
            <a:noFill/>
          </a:ln>
        </p:spPr>
        <p:txBody>
          <a:bodyPr wrap="square" lIns="0" tIns="0" rIns="0" bIns="0" rtlCol="0" anchor="b">
            <a:noAutofit/>
          </a:bodyPr>
          <a:lstStyle/>
          <a:p>
            <a:r>
              <a:rPr lang="en-US" sz="2000">
                <a:solidFill>
                  <a:schemeClr val="bg1"/>
                </a:solidFill>
              </a:rPr>
              <a:t>Appendix</a:t>
            </a:r>
          </a:p>
        </p:txBody>
      </p:sp>
    </p:spTree>
    <p:custDataLst>
      <p:tags r:id="rId2"/>
    </p:custDataLst>
    <p:extLst>
      <p:ext uri="{BB962C8B-B14F-4D97-AF65-F5344CB8AC3E}">
        <p14:creationId xmlns:p14="http://schemas.microsoft.com/office/powerpoint/2010/main" val="177100609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lowchart: Connector 17">
            <a:extLst>
              <a:ext uri="{FF2B5EF4-FFF2-40B4-BE49-F238E27FC236}">
                <a16:creationId xmlns:a16="http://schemas.microsoft.com/office/drawing/2014/main" id="{4C8E7E93-D719-4D68-AF75-84A3D92DD60C}"/>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endParaRPr lang="en-SG">
              <a:solidFill>
                <a:schemeClr val="bg1"/>
              </a:solidFill>
            </a:endParaRPr>
          </a:p>
        </p:txBody>
      </p:sp>
      <p:pic>
        <p:nvPicPr>
          <p:cNvPr id="19" name="Graphic 18" descr="Bar chart">
            <a:extLst>
              <a:ext uri="{FF2B5EF4-FFF2-40B4-BE49-F238E27FC236}">
                <a16:creationId xmlns:a16="http://schemas.microsoft.com/office/drawing/2014/main" id="{34C08A26-CA1B-4581-85D4-0D95F9633B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14721" y="32586"/>
            <a:ext cx="553679" cy="553679"/>
          </a:xfrm>
          <a:prstGeom prst="rect">
            <a:avLst/>
          </a:prstGeom>
        </p:spPr>
      </p:pic>
      <p:sp>
        <p:nvSpPr>
          <p:cNvPr id="12" name="TextBox 11">
            <a:extLst>
              <a:ext uri="{FF2B5EF4-FFF2-40B4-BE49-F238E27FC236}">
                <a16:creationId xmlns:a16="http://schemas.microsoft.com/office/drawing/2014/main" id="{844D08C5-3EE5-4BAC-9392-6CA8001CAD4E}"/>
              </a:ext>
            </a:extLst>
          </p:cNvPr>
          <p:cNvSpPr txBox="1"/>
          <p:nvPr/>
        </p:nvSpPr>
        <p:spPr>
          <a:xfrm>
            <a:off x="520208" y="582299"/>
            <a:ext cx="622598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spAutoFit/>
          </a:bodyPr>
          <a:lstStyle/>
          <a:p>
            <a:r>
              <a:rPr lang="en-SG" sz="1800">
                <a:solidFill>
                  <a:srgbClr val="002060"/>
                </a:solidFill>
              </a:rPr>
              <a:t>Analysing average </a:t>
            </a:r>
            <a:r>
              <a:rPr lang="en-SG">
                <a:solidFill>
                  <a:srgbClr val="002060"/>
                </a:solidFill>
              </a:rPr>
              <a:t>n</a:t>
            </a:r>
            <a:r>
              <a:rPr lang="en-SG" sz="1800">
                <a:solidFill>
                  <a:srgbClr val="002060"/>
                </a:solidFill>
              </a:rPr>
              <a:t>umber of riders against bus </a:t>
            </a:r>
            <a:r>
              <a:rPr lang="en-SG">
                <a:solidFill>
                  <a:srgbClr val="002060"/>
                </a:solidFill>
              </a:rPr>
              <a:t>stops</a:t>
            </a:r>
            <a:endParaRPr lang="en-US"/>
          </a:p>
        </p:txBody>
      </p:sp>
      <p:pic>
        <p:nvPicPr>
          <p:cNvPr id="11" name="Picture 10">
            <a:extLst>
              <a:ext uri="{FF2B5EF4-FFF2-40B4-BE49-F238E27FC236}">
                <a16:creationId xmlns:a16="http://schemas.microsoft.com/office/drawing/2014/main" id="{CD86A313-65D2-4D12-B76F-922156737525}"/>
              </a:ext>
            </a:extLst>
          </p:cNvPr>
          <p:cNvPicPr>
            <a:picLocks noChangeAspect="1"/>
          </p:cNvPicPr>
          <p:nvPr/>
        </p:nvPicPr>
        <p:blipFill rotWithShape="1">
          <a:blip r:embed="rId5"/>
          <a:srcRect t="1672"/>
          <a:stretch/>
        </p:blipFill>
        <p:spPr>
          <a:xfrm>
            <a:off x="4197143" y="1361165"/>
            <a:ext cx="6757692" cy="4744629"/>
          </a:xfrm>
          <a:prstGeom prst="rect">
            <a:avLst/>
          </a:prstGeom>
        </p:spPr>
      </p:pic>
      <p:sp>
        <p:nvSpPr>
          <p:cNvPr id="13" name="Rectangle 12">
            <a:extLst>
              <a:ext uri="{FF2B5EF4-FFF2-40B4-BE49-F238E27FC236}">
                <a16:creationId xmlns:a16="http://schemas.microsoft.com/office/drawing/2014/main" id="{003E35E4-DB87-4D35-8663-60FF12DD7B69}"/>
              </a:ext>
            </a:extLst>
          </p:cNvPr>
          <p:cNvSpPr/>
          <p:nvPr/>
        </p:nvSpPr>
        <p:spPr>
          <a:xfrm>
            <a:off x="6028821" y="2941779"/>
            <a:ext cx="420456" cy="2368647"/>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00B050"/>
              </a:solidFill>
            </a:endParaRPr>
          </a:p>
        </p:txBody>
      </p:sp>
      <p:sp>
        <p:nvSpPr>
          <p:cNvPr id="21" name="Rectangle 20">
            <a:extLst>
              <a:ext uri="{FF2B5EF4-FFF2-40B4-BE49-F238E27FC236}">
                <a16:creationId xmlns:a16="http://schemas.microsoft.com/office/drawing/2014/main" id="{46156451-ECB4-4520-895C-009D1F9E8343}"/>
              </a:ext>
            </a:extLst>
          </p:cNvPr>
          <p:cNvSpPr/>
          <p:nvPr/>
        </p:nvSpPr>
        <p:spPr>
          <a:xfrm>
            <a:off x="9552946" y="3294544"/>
            <a:ext cx="420456" cy="1767043"/>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sp>
        <p:nvSpPr>
          <p:cNvPr id="14" name="TextBox 13">
            <a:extLst>
              <a:ext uri="{FF2B5EF4-FFF2-40B4-BE49-F238E27FC236}">
                <a16:creationId xmlns:a16="http://schemas.microsoft.com/office/drawing/2014/main" id="{CD92118D-BCDA-4C90-B9D2-09972FA65EE3}"/>
              </a:ext>
            </a:extLst>
          </p:cNvPr>
          <p:cNvSpPr txBox="1"/>
          <p:nvPr/>
        </p:nvSpPr>
        <p:spPr>
          <a:xfrm>
            <a:off x="5500789" y="2391664"/>
            <a:ext cx="1466670" cy="421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8400"/>
              </a:solidFill>
            </a:endParaRPr>
          </a:p>
          <a:p>
            <a:pPr algn="ctr"/>
            <a:r>
              <a:rPr lang="en-SG" sz="1200">
                <a:solidFill>
                  <a:srgbClr val="FF8400"/>
                </a:solidFill>
              </a:rPr>
              <a:t>25,208 </a:t>
            </a:r>
          </a:p>
        </p:txBody>
      </p:sp>
      <p:sp>
        <p:nvSpPr>
          <p:cNvPr id="23" name="TextBox 22">
            <a:extLst>
              <a:ext uri="{FF2B5EF4-FFF2-40B4-BE49-F238E27FC236}">
                <a16:creationId xmlns:a16="http://schemas.microsoft.com/office/drawing/2014/main" id="{437837FB-28C6-4D49-A0CB-199C96E6B187}"/>
              </a:ext>
            </a:extLst>
          </p:cNvPr>
          <p:cNvSpPr txBox="1"/>
          <p:nvPr/>
        </p:nvSpPr>
        <p:spPr>
          <a:xfrm>
            <a:off x="9028006" y="2813969"/>
            <a:ext cx="1475635" cy="421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8400"/>
              </a:solidFill>
            </a:endParaRPr>
          </a:p>
          <a:p>
            <a:pPr algn="ctr"/>
            <a:r>
              <a:rPr lang="en-SG" sz="1200">
                <a:solidFill>
                  <a:srgbClr val="FF8400"/>
                </a:solidFill>
              </a:rPr>
              <a:t>16,817 </a:t>
            </a:r>
          </a:p>
        </p:txBody>
      </p:sp>
      <p:sp>
        <p:nvSpPr>
          <p:cNvPr id="26" name="Rectangle 25">
            <a:extLst>
              <a:ext uri="{FF2B5EF4-FFF2-40B4-BE49-F238E27FC236}">
                <a16:creationId xmlns:a16="http://schemas.microsoft.com/office/drawing/2014/main" id="{22DD1760-D9EC-405F-9AAD-63EC690DC033}"/>
              </a:ext>
            </a:extLst>
          </p:cNvPr>
          <p:cNvSpPr/>
          <p:nvPr/>
        </p:nvSpPr>
        <p:spPr>
          <a:xfrm>
            <a:off x="5334255" y="1478173"/>
            <a:ext cx="420456" cy="3763645"/>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FFFF"/>
              </a:solidFill>
            </a:endParaRPr>
          </a:p>
        </p:txBody>
      </p:sp>
      <p:sp>
        <p:nvSpPr>
          <p:cNvPr id="27" name="TextBox 26">
            <a:extLst>
              <a:ext uri="{FF2B5EF4-FFF2-40B4-BE49-F238E27FC236}">
                <a16:creationId xmlns:a16="http://schemas.microsoft.com/office/drawing/2014/main" id="{B2BF4484-08EE-483A-BA89-BC8EDC410538}"/>
              </a:ext>
            </a:extLst>
          </p:cNvPr>
          <p:cNvSpPr txBox="1"/>
          <p:nvPr/>
        </p:nvSpPr>
        <p:spPr>
          <a:xfrm>
            <a:off x="5153439" y="1062235"/>
            <a:ext cx="792652" cy="26057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SG" sz="1200">
                <a:solidFill>
                  <a:srgbClr val="FF8400"/>
                </a:solidFill>
              </a:rPr>
              <a:t>60,357 </a:t>
            </a:r>
          </a:p>
        </p:txBody>
      </p:sp>
      <p:sp>
        <p:nvSpPr>
          <p:cNvPr id="4" name="TextBox 3">
            <a:extLst>
              <a:ext uri="{FF2B5EF4-FFF2-40B4-BE49-F238E27FC236}">
                <a16:creationId xmlns:a16="http://schemas.microsoft.com/office/drawing/2014/main" id="{19708EDC-3A90-4EC0-A789-51301070BDC6}"/>
              </a:ext>
            </a:extLst>
          </p:cNvPr>
          <p:cNvSpPr txBox="1"/>
          <p:nvPr/>
        </p:nvSpPr>
        <p:spPr>
          <a:xfrm>
            <a:off x="2134527" y="313936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SG">
              <a:solidFill>
                <a:srgbClr val="FF0000"/>
              </a:solidFill>
            </a:endParaRPr>
          </a:p>
        </p:txBody>
      </p:sp>
      <p:sp>
        <p:nvSpPr>
          <p:cNvPr id="7" name="Title 6">
            <a:extLst>
              <a:ext uri="{FF2B5EF4-FFF2-40B4-BE49-F238E27FC236}">
                <a16:creationId xmlns:a16="http://schemas.microsoft.com/office/drawing/2014/main" id="{5040411B-0A54-429E-94AB-0F4DA7C1917E}"/>
              </a:ext>
            </a:extLst>
          </p:cNvPr>
          <p:cNvSpPr>
            <a:spLocks noGrp="1"/>
          </p:cNvSpPr>
          <p:nvPr>
            <p:ph type="title"/>
          </p:nvPr>
        </p:nvSpPr>
        <p:spPr>
          <a:xfrm>
            <a:off x="630000" y="185771"/>
            <a:ext cx="10933350" cy="443198"/>
          </a:xfrm>
        </p:spPr>
        <p:txBody>
          <a:bodyPr/>
          <a:lstStyle/>
          <a:p>
            <a:r>
              <a:rPr lang="en-US" sz="3200">
                <a:solidFill>
                  <a:srgbClr val="002060"/>
                </a:solidFill>
                <a:ea typeface="+mj-lt"/>
                <a:cs typeface="+mj-lt"/>
              </a:rPr>
              <a:t>Total ridership for bus stops (including Beach station)</a:t>
            </a:r>
          </a:p>
        </p:txBody>
      </p:sp>
      <p:pic>
        <p:nvPicPr>
          <p:cNvPr id="2" name="Picture 2" descr="Table&#10;&#10;Description automatically generated">
            <a:extLst>
              <a:ext uri="{FF2B5EF4-FFF2-40B4-BE49-F238E27FC236}">
                <a16:creationId xmlns:a16="http://schemas.microsoft.com/office/drawing/2014/main" id="{BD070F67-C046-4FA4-BC49-57AF06A15A77}"/>
              </a:ext>
            </a:extLst>
          </p:cNvPr>
          <p:cNvPicPr>
            <a:picLocks noChangeAspect="1"/>
          </p:cNvPicPr>
          <p:nvPr/>
        </p:nvPicPr>
        <p:blipFill>
          <a:blip r:embed="rId6"/>
          <a:stretch>
            <a:fillRect/>
          </a:stretch>
        </p:blipFill>
        <p:spPr>
          <a:xfrm>
            <a:off x="933413" y="1045473"/>
            <a:ext cx="2884713" cy="5460091"/>
          </a:xfrm>
          <a:prstGeom prst="rect">
            <a:avLst/>
          </a:prstGeom>
        </p:spPr>
      </p:pic>
    </p:spTree>
    <p:extLst>
      <p:ext uri="{BB962C8B-B14F-4D97-AF65-F5344CB8AC3E}">
        <p14:creationId xmlns:p14="http://schemas.microsoft.com/office/powerpoint/2010/main" val="16565870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lowchart: Connector 17">
            <a:extLst>
              <a:ext uri="{FF2B5EF4-FFF2-40B4-BE49-F238E27FC236}">
                <a16:creationId xmlns:a16="http://schemas.microsoft.com/office/drawing/2014/main" id="{4C8E7E93-D719-4D68-AF75-84A3D92DD60C}"/>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p>
        </p:txBody>
      </p:sp>
      <p:pic>
        <p:nvPicPr>
          <p:cNvPr id="19" name="Graphic 18" descr="Bar chart">
            <a:extLst>
              <a:ext uri="{FF2B5EF4-FFF2-40B4-BE49-F238E27FC236}">
                <a16:creationId xmlns:a16="http://schemas.microsoft.com/office/drawing/2014/main" id="{34C08A26-CA1B-4581-85D4-0D95F9633B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14721" y="32586"/>
            <a:ext cx="553679" cy="553679"/>
          </a:xfrm>
          <a:prstGeom prst="rect">
            <a:avLst/>
          </a:prstGeom>
        </p:spPr>
      </p:pic>
      <p:pic>
        <p:nvPicPr>
          <p:cNvPr id="6" name="Picture 5">
            <a:extLst>
              <a:ext uri="{FF2B5EF4-FFF2-40B4-BE49-F238E27FC236}">
                <a16:creationId xmlns:a16="http://schemas.microsoft.com/office/drawing/2014/main" id="{3476209F-81B0-4A6C-8B12-F6D764D3E106}"/>
              </a:ext>
            </a:extLst>
          </p:cNvPr>
          <p:cNvPicPr>
            <a:picLocks noChangeAspect="1"/>
          </p:cNvPicPr>
          <p:nvPr/>
        </p:nvPicPr>
        <p:blipFill>
          <a:blip r:embed="rId5"/>
          <a:stretch>
            <a:fillRect/>
          </a:stretch>
        </p:blipFill>
        <p:spPr>
          <a:xfrm>
            <a:off x="295377" y="2238785"/>
            <a:ext cx="3886185" cy="3377888"/>
          </a:xfrm>
          <a:prstGeom prst="rect">
            <a:avLst/>
          </a:prstGeom>
        </p:spPr>
      </p:pic>
      <p:pic>
        <p:nvPicPr>
          <p:cNvPr id="9" name="Picture 8">
            <a:extLst>
              <a:ext uri="{FF2B5EF4-FFF2-40B4-BE49-F238E27FC236}">
                <a16:creationId xmlns:a16="http://schemas.microsoft.com/office/drawing/2014/main" id="{A76048B9-7E18-4DEE-8C9E-48B93DFE3F73}"/>
              </a:ext>
            </a:extLst>
          </p:cNvPr>
          <p:cNvPicPr>
            <a:picLocks noChangeAspect="1"/>
          </p:cNvPicPr>
          <p:nvPr/>
        </p:nvPicPr>
        <p:blipFill>
          <a:blip r:embed="rId6"/>
          <a:stretch>
            <a:fillRect/>
          </a:stretch>
        </p:blipFill>
        <p:spPr>
          <a:xfrm>
            <a:off x="4243626" y="2238223"/>
            <a:ext cx="3978473" cy="3377009"/>
          </a:xfrm>
          <a:prstGeom prst="rect">
            <a:avLst/>
          </a:prstGeom>
        </p:spPr>
      </p:pic>
      <p:sp>
        <p:nvSpPr>
          <p:cNvPr id="11" name="Rectangle 10">
            <a:extLst>
              <a:ext uri="{FF2B5EF4-FFF2-40B4-BE49-F238E27FC236}">
                <a16:creationId xmlns:a16="http://schemas.microsoft.com/office/drawing/2014/main" id="{F659B4BD-50AD-4CA3-95ED-DEC3DABB4313}"/>
              </a:ext>
            </a:extLst>
          </p:cNvPr>
          <p:cNvSpPr/>
          <p:nvPr/>
        </p:nvSpPr>
        <p:spPr>
          <a:xfrm>
            <a:off x="2473325" y="2318509"/>
            <a:ext cx="1389529" cy="338117"/>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1200">
                <a:solidFill>
                  <a:srgbClr val="FFFFFF"/>
                </a:solidFill>
              </a:rPr>
              <a:t>Bus Route A</a:t>
            </a:r>
          </a:p>
        </p:txBody>
      </p:sp>
      <p:sp>
        <p:nvSpPr>
          <p:cNvPr id="16" name="Rectangle 15">
            <a:extLst>
              <a:ext uri="{FF2B5EF4-FFF2-40B4-BE49-F238E27FC236}">
                <a16:creationId xmlns:a16="http://schemas.microsoft.com/office/drawing/2014/main" id="{E9F09C74-B1ED-48F0-B094-FCB61FD07FD8}"/>
              </a:ext>
            </a:extLst>
          </p:cNvPr>
          <p:cNvSpPr/>
          <p:nvPr/>
        </p:nvSpPr>
        <p:spPr>
          <a:xfrm>
            <a:off x="6471548" y="2387798"/>
            <a:ext cx="1389529" cy="338117"/>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1200">
                <a:solidFill>
                  <a:srgbClr val="FFFFFF"/>
                </a:solidFill>
              </a:rPr>
              <a:t>Bus Route C</a:t>
            </a:r>
          </a:p>
        </p:txBody>
      </p:sp>
      <p:sp>
        <p:nvSpPr>
          <p:cNvPr id="5" name="Title 1">
            <a:extLst>
              <a:ext uri="{FF2B5EF4-FFF2-40B4-BE49-F238E27FC236}">
                <a16:creationId xmlns:a16="http://schemas.microsoft.com/office/drawing/2014/main" id="{66362E8C-07A8-4B97-87C8-091A9FDB599A}"/>
              </a:ext>
            </a:extLst>
          </p:cNvPr>
          <p:cNvSpPr txBox="1">
            <a:spLocks/>
          </p:cNvSpPr>
          <p:nvPr/>
        </p:nvSpPr>
        <p:spPr>
          <a:xfrm>
            <a:off x="630000" y="622800"/>
            <a:ext cx="7885351" cy="9417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err="1">
                <a:solidFill>
                  <a:srgbClr val="002060"/>
                </a:solidFill>
                <a:ea typeface="+mj-lt"/>
                <a:cs typeface="+mj-lt"/>
              </a:rPr>
              <a:t>Imbiah</a:t>
            </a:r>
            <a:r>
              <a:rPr lang="en-US">
                <a:solidFill>
                  <a:srgbClr val="002060"/>
                </a:solidFill>
                <a:ea typeface="+mj-lt"/>
                <a:cs typeface="+mj-lt"/>
              </a:rPr>
              <a:t> Lookout and </a:t>
            </a:r>
            <a:r>
              <a:rPr lang="en-US" err="1">
                <a:solidFill>
                  <a:srgbClr val="002060"/>
                </a:solidFill>
                <a:ea typeface="+mj-lt"/>
                <a:cs typeface="+mj-lt"/>
              </a:rPr>
              <a:t>Siloso</a:t>
            </a:r>
            <a:r>
              <a:rPr lang="en-US">
                <a:solidFill>
                  <a:srgbClr val="002060"/>
                </a:solidFill>
                <a:ea typeface="+mj-lt"/>
                <a:cs typeface="+mj-lt"/>
              </a:rPr>
              <a:t> point are the top 2 most popular bus stops (ridership)</a:t>
            </a:r>
            <a:endParaRPr lang="en-US">
              <a:ea typeface="+mj-lt"/>
              <a:cs typeface="+mj-lt"/>
            </a:endParaRPr>
          </a:p>
        </p:txBody>
      </p:sp>
      <p:pic>
        <p:nvPicPr>
          <p:cNvPr id="4" name="Picture 6" descr="Chart, bar chart&#10;&#10;Description automatically generated">
            <a:extLst>
              <a:ext uri="{FF2B5EF4-FFF2-40B4-BE49-F238E27FC236}">
                <a16:creationId xmlns:a16="http://schemas.microsoft.com/office/drawing/2014/main" id="{D1E8906C-F7B4-4B64-A4F6-A75BD1D8E774}"/>
              </a:ext>
            </a:extLst>
          </p:cNvPr>
          <p:cNvPicPr>
            <a:picLocks noChangeAspect="1"/>
          </p:cNvPicPr>
          <p:nvPr/>
        </p:nvPicPr>
        <p:blipFill>
          <a:blip r:embed="rId7"/>
          <a:stretch>
            <a:fillRect/>
          </a:stretch>
        </p:blipFill>
        <p:spPr>
          <a:xfrm>
            <a:off x="8281149" y="3644590"/>
            <a:ext cx="3762053" cy="1928575"/>
          </a:xfrm>
          <a:prstGeom prst="rect">
            <a:avLst/>
          </a:prstGeom>
        </p:spPr>
      </p:pic>
      <p:sp>
        <p:nvSpPr>
          <p:cNvPr id="12" name="Rectangle 11">
            <a:extLst>
              <a:ext uri="{FF2B5EF4-FFF2-40B4-BE49-F238E27FC236}">
                <a16:creationId xmlns:a16="http://schemas.microsoft.com/office/drawing/2014/main" id="{67BF33BE-CD6B-41F5-B7CD-03406329964D}"/>
              </a:ext>
            </a:extLst>
          </p:cNvPr>
          <p:cNvSpPr/>
          <p:nvPr/>
        </p:nvSpPr>
        <p:spPr>
          <a:xfrm>
            <a:off x="10541978" y="3255898"/>
            <a:ext cx="1389529" cy="338117"/>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1200">
                <a:solidFill>
                  <a:srgbClr val="FFFFFF"/>
                </a:solidFill>
              </a:rPr>
              <a:t>All 3 Routes</a:t>
            </a:r>
            <a:endParaRPr lang="en-US"/>
          </a:p>
        </p:txBody>
      </p:sp>
    </p:spTree>
    <p:extLst>
      <p:ext uri="{BB962C8B-B14F-4D97-AF65-F5344CB8AC3E}">
        <p14:creationId xmlns:p14="http://schemas.microsoft.com/office/powerpoint/2010/main" val="8556480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lowchart: Connector 17">
            <a:extLst>
              <a:ext uri="{FF2B5EF4-FFF2-40B4-BE49-F238E27FC236}">
                <a16:creationId xmlns:a16="http://schemas.microsoft.com/office/drawing/2014/main" id="{4C8E7E93-D719-4D68-AF75-84A3D92DD60C}"/>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endParaRPr lang="en-SG">
              <a:solidFill>
                <a:schemeClr val="bg1"/>
              </a:solidFill>
            </a:endParaRPr>
          </a:p>
        </p:txBody>
      </p:sp>
      <p:pic>
        <p:nvPicPr>
          <p:cNvPr id="19" name="Graphic 18" descr="Bar chart">
            <a:extLst>
              <a:ext uri="{FF2B5EF4-FFF2-40B4-BE49-F238E27FC236}">
                <a16:creationId xmlns:a16="http://schemas.microsoft.com/office/drawing/2014/main" id="{34C08A26-CA1B-4581-85D4-0D95F9633B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14721" y="32586"/>
            <a:ext cx="553679" cy="553679"/>
          </a:xfrm>
          <a:prstGeom prst="rect">
            <a:avLst/>
          </a:prstGeom>
        </p:spPr>
      </p:pic>
      <p:sp>
        <p:nvSpPr>
          <p:cNvPr id="12" name="TextBox 11">
            <a:extLst>
              <a:ext uri="{FF2B5EF4-FFF2-40B4-BE49-F238E27FC236}">
                <a16:creationId xmlns:a16="http://schemas.microsoft.com/office/drawing/2014/main" id="{844D08C5-3EE5-4BAC-9392-6CA8001CAD4E}"/>
              </a:ext>
            </a:extLst>
          </p:cNvPr>
          <p:cNvSpPr txBox="1"/>
          <p:nvPr/>
        </p:nvSpPr>
        <p:spPr>
          <a:xfrm>
            <a:off x="632267" y="1052946"/>
            <a:ext cx="622598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spAutoFit/>
          </a:bodyPr>
          <a:lstStyle/>
          <a:p>
            <a:endParaRPr lang="en-SG">
              <a:solidFill>
                <a:srgbClr val="002060"/>
              </a:solidFill>
            </a:endParaRPr>
          </a:p>
        </p:txBody>
      </p:sp>
      <p:sp>
        <p:nvSpPr>
          <p:cNvPr id="14" name="TextBox 13">
            <a:extLst>
              <a:ext uri="{FF2B5EF4-FFF2-40B4-BE49-F238E27FC236}">
                <a16:creationId xmlns:a16="http://schemas.microsoft.com/office/drawing/2014/main" id="{CD92118D-BCDA-4C90-B9D2-09972FA65EE3}"/>
              </a:ext>
            </a:extLst>
          </p:cNvPr>
          <p:cNvSpPr txBox="1"/>
          <p:nvPr/>
        </p:nvSpPr>
        <p:spPr>
          <a:xfrm>
            <a:off x="7132364" y="2436487"/>
            <a:ext cx="1179800" cy="3317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FF8400"/>
              </a:solidFill>
            </a:endParaRPr>
          </a:p>
        </p:txBody>
      </p:sp>
      <p:sp>
        <p:nvSpPr>
          <p:cNvPr id="4" name="TextBox 3">
            <a:extLst>
              <a:ext uri="{FF2B5EF4-FFF2-40B4-BE49-F238E27FC236}">
                <a16:creationId xmlns:a16="http://schemas.microsoft.com/office/drawing/2014/main" id="{19708EDC-3A90-4EC0-A789-51301070BDC6}"/>
              </a:ext>
            </a:extLst>
          </p:cNvPr>
          <p:cNvSpPr txBox="1"/>
          <p:nvPr/>
        </p:nvSpPr>
        <p:spPr>
          <a:xfrm>
            <a:off x="2134527" y="313936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SG">
              <a:solidFill>
                <a:srgbClr val="FF0000"/>
              </a:solidFill>
            </a:endParaRPr>
          </a:p>
        </p:txBody>
      </p:sp>
      <p:sp>
        <p:nvSpPr>
          <p:cNvPr id="7" name="Title 6">
            <a:extLst>
              <a:ext uri="{FF2B5EF4-FFF2-40B4-BE49-F238E27FC236}">
                <a16:creationId xmlns:a16="http://schemas.microsoft.com/office/drawing/2014/main" id="{5040411B-0A54-429E-94AB-0F4DA7C1917E}"/>
              </a:ext>
            </a:extLst>
          </p:cNvPr>
          <p:cNvSpPr>
            <a:spLocks noGrp="1"/>
          </p:cNvSpPr>
          <p:nvPr>
            <p:ph type="title"/>
          </p:nvPr>
        </p:nvSpPr>
        <p:spPr/>
        <p:txBody>
          <a:bodyPr/>
          <a:lstStyle/>
          <a:p>
            <a:r>
              <a:rPr lang="en-US">
                <a:solidFill>
                  <a:srgbClr val="002060"/>
                </a:solidFill>
                <a:ea typeface="+mj-lt"/>
                <a:cs typeface="+mj-lt"/>
              </a:rPr>
              <a:t>Total ridership by route</a:t>
            </a:r>
          </a:p>
        </p:txBody>
      </p:sp>
      <p:pic>
        <p:nvPicPr>
          <p:cNvPr id="3" name="Picture 4" descr="Chart&#10;&#10;Description automatically generated">
            <a:extLst>
              <a:ext uri="{FF2B5EF4-FFF2-40B4-BE49-F238E27FC236}">
                <a16:creationId xmlns:a16="http://schemas.microsoft.com/office/drawing/2014/main" id="{5DEAADBB-8BEB-4916-8B81-E680A113BDAC}"/>
              </a:ext>
            </a:extLst>
          </p:cNvPr>
          <p:cNvPicPr>
            <a:picLocks noChangeAspect="1"/>
          </p:cNvPicPr>
          <p:nvPr/>
        </p:nvPicPr>
        <p:blipFill>
          <a:blip r:embed="rId5"/>
          <a:stretch>
            <a:fillRect/>
          </a:stretch>
        </p:blipFill>
        <p:spPr>
          <a:xfrm>
            <a:off x="634253" y="1422759"/>
            <a:ext cx="10486464" cy="3950068"/>
          </a:xfrm>
          <a:prstGeom prst="rect">
            <a:avLst/>
          </a:prstGeom>
        </p:spPr>
      </p:pic>
    </p:spTree>
    <p:extLst>
      <p:ext uri="{BB962C8B-B14F-4D97-AF65-F5344CB8AC3E}">
        <p14:creationId xmlns:p14="http://schemas.microsoft.com/office/powerpoint/2010/main" val="32950418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4AA63-35D8-4136-8B2F-DE1837A583A2}"/>
              </a:ext>
            </a:extLst>
          </p:cNvPr>
          <p:cNvSpPr>
            <a:spLocks noGrp="1"/>
          </p:cNvSpPr>
          <p:nvPr>
            <p:ph type="title"/>
          </p:nvPr>
        </p:nvSpPr>
        <p:spPr>
          <a:xfrm>
            <a:off x="630000" y="622800"/>
            <a:ext cx="10933350" cy="941796"/>
          </a:xfrm>
        </p:spPr>
        <p:txBody>
          <a:bodyPr/>
          <a:lstStyle/>
          <a:p>
            <a:r>
              <a:rPr lang="en-US">
                <a:solidFill>
                  <a:srgbClr val="002060"/>
                </a:solidFill>
                <a:ea typeface="+mj-lt"/>
                <a:cs typeface="+mj-lt"/>
              </a:rPr>
              <a:t>Bus Frequency of top bus stops </a:t>
            </a:r>
            <a:br>
              <a:rPr lang="en-US">
                <a:ea typeface="+mj-lt"/>
                <a:cs typeface="+mj-lt"/>
              </a:rPr>
            </a:br>
            <a:r>
              <a:rPr lang="en-US" err="1">
                <a:solidFill>
                  <a:srgbClr val="002060"/>
                </a:solidFill>
                <a:ea typeface="+mj-lt"/>
                <a:cs typeface="+mj-lt"/>
              </a:rPr>
              <a:t>Siloso</a:t>
            </a:r>
            <a:r>
              <a:rPr lang="en-US">
                <a:solidFill>
                  <a:srgbClr val="002060"/>
                </a:solidFill>
                <a:ea typeface="+mj-lt"/>
                <a:cs typeface="+mj-lt"/>
              </a:rPr>
              <a:t> Point and </a:t>
            </a:r>
            <a:r>
              <a:rPr lang="en-US" err="1">
                <a:solidFill>
                  <a:srgbClr val="002060"/>
                </a:solidFill>
                <a:ea typeface="+mj-lt"/>
                <a:cs typeface="+mj-lt"/>
              </a:rPr>
              <a:t>Imbiah</a:t>
            </a:r>
            <a:r>
              <a:rPr lang="en-US">
                <a:solidFill>
                  <a:srgbClr val="002060"/>
                </a:solidFill>
                <a:ea typeface="+mj-lt"/>
                <a:cs typeface="+mj-lt"/>
              </a:rPr>
              <a:t> Lookout (Weekday)</a:t>
            </a:r>
            <a:endParaRPr lang="en-US">
              <a:ea typeface="+mj-lt"/>
              <a:cs typeface="+mj-lt"/>
            </a:endParaRPr>
          </a:p>
        </p:txBody>
      </p:sp>
      <p:sp>
        <p:nvSpPr>
          <p:cNvPr id="18" name="Flowchart: Connector 17">
            <a:extLst>
              <a:ext uri="{FF2B5EF4-FFF2-40B4-BE49-F238E27FC236}">
                <a16:creationId xmlns:a16="http://schemas.microsoft.com/office/drawing/2014/main" id="{4C8E7E93-D719-4D68-AF75-84A3D92DD60C}"/>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endParaRPr lang="en-SG" sz="1300" err="1">
              <a:solidFill>
                <a:schemeClr val="bg1"/>
              </a:solidFill>
            </a:endParaRPr>
          </a:p>
        </p:txBody>
      </p:sp>
      <p:pic>
        <p:nvPicPr>
          <p:cNvPr id="19" name="Graphic 18" descr="Bar chart">
            <a:extLst>
              <a:ext uri="{FF2B5EF4-FFF2-40B4-BE49-F238E27FC236}">
                <a16:creationId xmlns:a16="http://schemas.microsoft.com/office/drawing/2014/main" id="{34C08A26-CA1B-4581-85D4-0D95F9633B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14721" y="32586"/>
            <a:ext cx="553679" cy="553679"/>
          </a:xfrm>
          <a:prstGeom prst="rect">
            <a:avLst/>
          </a:prstGeom>
        </p:spPr>
      </p:pic>
      <p:sp>
        <p:nvSpPr>
          <p:cNvPr id="4" name="TextBox 3">
            <a:extLst>
              <a:ext uri="{FF2B5EF4-FFF2-40B4-BE49-F238E27FC236}">
                <a16:creationId xmlns:a16="http://schemas.microsoft.com/office/drawing/2014/main" id="{215644EC-E1A2-4B5F-BA53-79EB189605EC}"/>
              </a:ext>
            </a:extLst>
          </p:cNvPr>
          <p:cNvSpPr txBox="1"/>
          <p:nvPr/>
        </p:nvSpPr>
        <p:spPr>
          <a:xfrm>
            <a:off x="629190" y="6075771"/>
            <a:ext cx="9816476" cy="617045"/>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600">
                <a:solidFill>
                  <a:srgbClr val="002060"/>
                </a:solidFill>
                <a:ea typeface="+mn-lt"/>
                <a:cs typeface="+mn-lt"/>
              </a:rPr>
              <a:t>Based on maximum bus ridership within each hour and bus capacity of 50, actual frequency of buses deployed within each hour on weekdays is higher than required.</a:t>
            </a:r>
            <a:endParaRPr lang="en-US">
              <a:ea typeface="+mn-lt"/>
              <a:cs typeface="+mn-lt"/>
            </a:endParaRPr>
          </a:p>
        </p:txBody>
      </p:sp>
      <p:sp>
        <p:nvSpPr>
          <p:cNvPr id="3" name="TextBox 2">
            <a:extLst>
              <a:ext uri="{FF2B5EF4-FFF2-40B4-BE49-F238E27FC236}">
                <a16:creationId xmlns:a16="http://schemas.microsoft.com/office/drawing/2014/main" id="{2321500F-B116-49E9-B713-1C89E59A92D6}"/>
              </a:ext>
            </a:extLst>
          </p:cNvPr>
          <p:cNvSpPr txBox="1"/>
          <p:nvPr/>
        </p:nvSpPr>
        <p:spPr>
          <a:xfrm>
            <a:off x="628650" y="1577945"/>
            <a:ext cx="2743200" cy="4001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err="1">
                <a:solidFill>
                  <a:schemeClr val="tx1"/>
                </a:solidFill>
              </a:rPr>
              <a:t>Siloso</a:t>
            </a:r>
            <a:r>
              <a:rPr lang="en-US" sz="2000">
                <a:solidFill>
                  <a:schemeClr val="tx1"/>
                </a:solidFill>
              </a:rPr>
              <a:t> Point</a:t>
            </a:r>
          </a:p>
        </p:txBody>
      </p:sp>
      <p:sp>
        <p:nvSpPr>
          <p:cNvPr id="12" name="TextBox 11">
            <a:extLst>
              <a:ext uri="{FF2B5EF4-FFF2-40B4-BE49-F238E27FC236}">
                <a16:creationId xmlns:a16="http://schemas.microsoft.com/office/drawing/2014/main" id="{95E46411-4A0C-41AA-9250-790D71323EA7}"/>
              </a:ext>
            </a:extLst>
          </p:cNvPr>
          <p:cNvSpPr txBox="1"/>
          <p:nvPr/>
        </p:nvSpPr>
        <p:spPr>
          <a:xfrm>
            <a:off x="5843588" y="1577945"/>
            <a:ext cx="2743200" cy="4001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err="1">
                <a:solidFill>
                  <a:schemeClr val="tx1"/>
                </a:solidFill>
              </a:rPr>
              <a:t>Imbiah</a:t>
            </a:r>
            <a:r>
              <a:rPr lang="en-US">
                <a:solidFill>
                  <a:schemeClr val="tx1"/>
                </a:solidFill>
              </a:rPr>
              <a:t> </a:t>
            </a:r>
            <a:r>
              <a:rPr lang="en-US" sz="2000">
                <a:solidFill>
                  <a:schemeClr val="tx1"/>
                </a:solidFill>
              </a:rPr>
              <a:t>Lookout</a:t>
            </a:r>
          </a:p>
        </p:txBody>
      </p:sp>
      <p:cxnSp>
        <p:nvCxnSpPr>
          <p:cNvPr id="5" name="Straight Arrow Connector 4">
            <a:extLst>
              <a:ext uri="{FF2B5EF4-FFF2-40B4-BE49-F238E27FC236}">
                <a16:creationId xmlns:a16="http://schemas.microsoft.com/office/drawing/2014/main" id="{7650244C-E06B-41BA-A77C-2D20639EA927}"/>
              </a:ext>
            </a:extLst>
          </p:cNvPr>
          <p:cNvCxnSpPr/>
          <p:nvPr/>
        </p:nvCxnSpPr>
        <p:spPr>
          <a:xfrm>
            <a:off x="5527676" y="1654176"/>
            <a:ext cx="25399" cy="4319586"/>
          </a:xfrm>
          <a:prstGeom prst="straightConnector1">
            <a:avLst/>
          </a:prstGeom>
          <a:ln w="9525" cap="rnd">
            <a:solidFill>
              <a:schemeClr val="accent5"/>
            </a:solidFill>
            <a:prstDash val="solid"/>
            <a:round/>
            <a:tailEnd type="none"/>
          </a:ln>
        </p:spPr>
        <p:style>
          <a:lnRef idx="1">
            <a:schemeClr val="accent1"/>
          </a:lnRef>
          <a:fillRef idx="0">
            <a:schemeClr val="accent1"/>
          </a:fillRef>
          <a:effectRef idx="0">
            <a:schemeClr val="accent1"/>
          </a:effectRef>
          <a:fontRef idx="minor">
            <a:schemeClr val="tx1"/>
          </a:fontRef>
        </p:style>
      </p:cxnSp>
      <p:pic>
        <p:nvPicPr>
          <p:cNvPr id="8" name="Picture 8" descr="Chart, line chart&#10;&#10;Description automatically generated">
            <a:extLst>
              <a:ext uri="{FF2B5EF4-FFF2-40B4-BE49-F238E27FC236}">
                <a16:creationId xmlns:a16="http://schemas.microsoft.com/office/drawing/2014/main" id="{B55EB88B-1131-49F1-9EBF-9451360D2DC8}"/>
              </a:ext>
            </a:extLst>
          </p:cNvPr>
          <p:cNvPicPr>
            <a:picLocks noChangeAspect="1"/>
          </p:cNvPicPr>
          <p:nvPr/>
        </p:nvPicPr>
        <p:blipFill>
          <a:blip r:embed="rId5"/>
          <a:stretch>
            <a:fillRect/>
          </a:stretch>
        </p:blipFill>
        <p:spPr>
          <a:xfrm>
            <a:off x="5838092" y="1977941"/>
            <a:ext cx="4618892" cy="2022886"/>
          </a:xfrm>
          <a:prstGeom prst="rect">
            <a:avLst/>
          </a:prstGeom>
        </p:spPr>
      </p:pic>
      <p:pic>
        <p:nvPicPr>
          <p:cNvPr id="9" name="Picture 12" descr="Chart, line chart&#10;&#10;Description automatically generated">
            <a:extLst>
              <a:ext uri="{FF2B5EF4-FFF2-40B4-BE49-F238E27FC236}">
                <a16:creationId xmlns:a16="http://schemas.microsoft.com/office/drawing/2014/main" id="{3C5E64A5-AEC6-4C45-A9BB-6D9278736CF1}"/>
              </a:ext>
            </a:extLst>
          </p:cNvPr>
          <p:cNvPicPr>
            <a:picLocks noChangeAspect="1"/>
          </p:cNvPicPr>
          <p:nvPr/>
        </p:nvPicPr>
        <p:blipFill>
          <a:blip r:embed="rId6"/>
          <a:stretch>
            <a:fillRect/>
          </a:stretch>
        </p:blipFill>
        <p:spPr>
          <a:xfrm>
            <a:off x="631092" y="1963325"/>
            <a:ext cx="4618892" cy="2042349"/>
          </a:xfrm>
          <a:prstGeom prst="rect">
            <a:avLst/>
          </a:prstGeom>
        </p:spPr>
      </p:pic>
      <p:pic>
        <p:nvPicPr>
          <p:cNvPr id="10" name="Picture 10" descr="Chart, bar chart&#10;&#10;Description automatically generated">
            <a:extLst>
              <a:ext uri="{FF2B5EF4-FFF2-40B4-BE49-F238E27FC236}">
                <a16:creationId xmlns:a16="http://schemas.microsoft.com/office/drawing/2014/main" id="{391F6A77-68C5-4C52-ABF8-CA8D80177516}"/>
              </a:ext>
            </a:extLst>
          </p:cNvPr>
          <p:cNvPicPr>
            <a:picLocks noChangeAspect="1"/>
          </p:cNvPicPr>
          <p:nvPr/>
        </p:nvPicPr>
        <p:blipFill>
          <a:blip r:embed="rId7"/>
          <a:stretch>
            <a:fillRect/>
          </a:stretch>
        </p:blipFill>
        <p:spPr>
          <a:xfrm>
            <a:off x="5835650" y="3999738"/>
            <a:ext cx="4608512" cy="1946210"/>
          </a:xfrm>
          <a:prstGeom prst="rect">
            <a:avLst/>
          </a:prstGeom>
        </p:spPr>
      </p:pic>
      <p:pic>
        <p:nvPicPr>
          <p:cNvPr id="11" name="Picture 12" descr="Chart, bar chart&#10;&#10;Description automatically generated">
            <a:extLst>
              <a:ext uri="{FF2B5EF4-FFF2-40B4-BE49-F238E27FC236}">
                <a16:creationId xmlns:a16="http://schemas.microsoft.com/office/drawing/2014/main" id="{D3B0CDFF-5E2B-4904-8700-08E7D750F067}"/>
              </a:ext>
            </a:extLst>
          </p:cNvPr>
          <p:cNvPicPr>
            <a:picLocks noChangeAspect="1"/>
          </p:cNvPicPr>
          <p:nvPr/>
        </p:nvPicPr>
        <p:blipFill>
          <a:blip r:embed="rId8"/>
          <a:stretch>
            <a:fillRect/>
          </a:stretch>
        </p:blipFill>
        <p:spPr>
          <a:xfrm>
            <a:off x="628650" y="3999367"/>
            <a:ext cx="4608512" cy="1946955"/>
          </a:xfrm>
          <a:prstGeom prst="rect">
            <a:avLst/>
          </a:prstGeom>
        </p:spPr>
      </p:pic>
    </p:spTree>
    <p:extLst>
      <p:ext uri="{BB962C8B-B14F-4D97-AF65-F5344CB8AC3E}">
        <p14:creationId xmlns:p14="http://schemas.microsoft.com/office/powerpoint/2010/main" val="214903776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4AA63-35D8-4136-8B2F-DE1837A583A2}"/>
              </a:ext>
            </a:extLst>
          </p:cNvPr>
          <p:cNvSpPr>
            <a:spLocks noGrp="1"/>
          </p:cNvSpPr>
          <p:nvPr>
            <p:ph type="title"/>
          </p:nvPr>
        </p:nvSpPr>
        <p:spPr>
          <a:xfrm>
            <a:off x="630000" y="622800"/>
            <a:ext cx="10933350" cy="941796"/>
          </a:xfrm>
        </p:spPr>
        <p:txBody>
          <a:bodyPr/>
          <a:lstStyle/>
          <a:p>
            <a:r>
              <a:rPr lang="en-US">
                <a:solidFill>
                  <a:srgbClr val="002060"/>
                </a:solidFill>
                <a:ea typeface="+mj-lt"/>
                <a:cs typeface="+mj-lt"/>
              </a:rPr>
              <a:t>Bus Frequency of top bus stops </a:t>
            </a:r>
            <a:br>
              <a:rPr lang="en-US">
                <a:ea typeface="+mj-lt"/>
                <a:cs typeface="+mj-lt"/>
              </a:rPr>
            </a:br>
            <a:r>
              <a:rPr lang="en-US" err="1">
                <a:solidFill>
                  <a:srgbClr val="002060"/>
                </a:solidFill>
                <a:ea typeface="+mj-lt"/>
                <a:cs typeface="+mj-lt"/>
              </a:rPr>
              <a:t>Siloso</a:t>
            </a:r>
            <a:r>
              <a:rPr lang="en-US">
                <a:solidFill>
                  <a:srgbClr val="002060"/>
                </a:solidFill>
                <a:ea typeface="+mj-lt"/>
                <a:cs typeface="+mj-lt"/>
              </a:rPr>
              <a:t> Point and </a:t>
            </a:r>
            <a:r>
              <a:rPr lang="en-US" err="1">
                <a:solidFill>
                  <a:srgbClr val="002060"/>
                </a:solidFill>
                <a:ea typeface="+mj-lt"/>
                <a:cs typeface="+mj-lt"/>
              </a:rPr>
              <a:t>Imbiah</a:t>
            </a:r>
            <a:r>
              <a:rPr lang="en-US">
                <a:solidFill>
                  <a:srgbClr val="002060"/>
                </a:solidFill>
                <a:ea typeface="+mj-lt"/>
                <a:cs typeface="+mj-lt"/>
              </a:rPr>
              <a:t> Lookout (Weekend/holidays)</a:t>
            </a:r>
            <a:endParaRPr lang="en-US">
              <a:ea typeface="+mj-lt"/>
              <a:cs typeface="+mj-lt"/>
            </a:endParaRPr>
          </a:p>
        </p:txBody>
      </p:sp>
      <p:sp>
        <p:nvSpPr>
          <p:cNvPr id="18" name="Flowchart: Connector 17">
            <a:extLst>
              <a:ext uri="{FF2B5EF4-FFF2-40B4-BE49-F238E27FC236}">
                <a16:creationId xmlns:a16="http://schemas.microsoft.com/office/drawing/2014/main" id="{4C8E7E93-D719-4D68-AF75-84A3D92DD60C}"/>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p>
        </p:txBody>
      </p:sp>
      <p:pic>
        <p:nvPicPr>
          <p:cNvPr id="19" name="Graphic 18" descr="Bar chart">
            <a:extLst>
              <a:ext uri="{FF2B5EF4-FFF2-40B4-BE49-F238E27FC236}">
                <a16:creationId xmlns:a16="http://schemas.microsoft.com/office/drawing/2014/main" id="{34C08A26-CA1B-4581-85D4-0D95F9633B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14721" y="32586"/>
            <a:ext cx="553679" cy="553679"/>
          </a:xfrm>
          <a:prstGeom prst="rect">
            <a:avLst/>
          </a:prstGeom>
        </p:spPr>
      </p:pic>
      <p:sp>
        <p:nvSpPr>
          <p:cNvPr id="4" name="TextBox 3">
            <a:extLst>
              <a:ext uri="{FF2B5EF4-FFF2-40B4-BE49-F238E27FC236}">
                <a16:creationId xmlns:a16="http://schemas.microsoft.com/office/drawing/2014/main" id="{215644EC-E1A2-4B5F-BA53-79EB189605EC}"/>
              </a:ext>
            </a:extLst>
          </p:cNvPr>
          <p:cNvSpPr txBox="1"/>
          <p:nvPr/>
        </p:nvSpPr>
        <p:spPr>
          <a:xfrm>
            <a:off x="629190" y="6075771"/>
            <a:ext cx="9816476" cy="574236"/>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600">
                <a:solidFill>
                  <a:srgbClr val="002060"/>
                </a:solidFill>
              </a:rPr>
              <a:t>Based on maximum bus ridership within each hour and bus capacity of 50, actual frequency of buses deployed within each hour on weekends is higher than required.</a:t>
            </a:r>
          </a:p>
        </p:txBody>
      </p:sp>
      <p:sp>
        <p:nvSpPr>
          <p:cNvPr id="3" name="TextBox 2">
            <a:extLst>
              <a:ext uri="{FF2B5EF4-FFF2-40B4-BE49-F238E27FC236}">
                <a16:creationId xmlns:a16="http://schemas.microsoft.com/office/drawing/2014/main" id="{2321500F-B116-49E9-B713-1C89E59A92D6}"/>
              </a:ext>
            </a:extLst>
          </p:cNvPr>
          <p:cNvSpPr txBox="1"/>
          <p:nvPr/>
        </p:nvSpPr>
        <p:spPr>
          <a:xfrm>
            <a:off x="628650" y="1577945"/>
            <a:ext cx="2743200" cy="4001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err="1">
                <a:solidFill>
                  <a:schemeClr val="tx1"/>
                </a:solidFill>
              </a:rPr>
              <a:t>Siloso</a:t>
            </a:r>
            <a:r>
              <a:rPr lang="en-US" sz="2000">
                <a:solidFill>
                  <a:schemeClr val="tx1"/>
                </a:solidFill>
              </a:rPr>
              <a:t> Point</a:t>
            </a:r>
          </a:p>
        </p:txBody>
      </p:sp>
      <p:sp>
        <p:nvSpPr>
          <p:cNvPr id="12" name="TextBox 11">
            <a:extLst>
              <a:ext uri="{FF2B5EF4-FFF2-40B4-BE49-F238E27FC236}">
                <a16:creationId xmlns:a16="http://schemas.microsoft.com/office/drawing/2014/main" id="{95E46411-4A0C-41AA-9250-790D71323EA7}"/>
              </a:ext>
            </a:extLst>
          </p:cNvPr>
          <p:cNvSpPr txBox="1"/>
          <p:nvPr/>
        </p:nvSpPr>
        <p:spPr>
          <a:xfrm>
            <a:off x="5843588" y="1577945"/>
            <a:ext cx="2743200" cy="4001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err="1">
                <a:solidFill>
                  <a:schemeClr val="tx1"/>
                </a:solidFill>
              </a:rPr>
              <a:t>Imbiah</a:t>
            </a:r>
            <a:r>
              <a:rPr lang="en-US">
                <a:solidFill>
                  <a:schemeClr val="tx1"/>
                </a:solidFill>
              </a:rPr>
              <a:t> </a:t>
            </a:r>
            <a:r>
              <a:rPr lang="en-US" sz="2000">
                <a:solidFill>
                  <a:schemeClr val="tx1"/>
                </a:solidFill>
              </a:rPr>
              <a:t>Lookout</a:t>
            </a:r>
          </a:p>
        </p:txBody>
      </p:sp>
      <p:cxnSp>
        <p:nvCxnSpPr>
          <p:cNvPr id="5" name="Straight Arrow Connector 4">
            <a:extLst>
              <a:ext uri="{FF2B5EF4-FFF2-40B4-BE49-F238E27FC236}">
                <a16:creationId xmlns:a16="http://schemas.microsoft.com/office/drawing/2014/main" id="{7650244C-E06B-41BA-A77C-2D20639EA927}"/>
              </a:ext>
            </a:extLst>
          </p:cNvPr>
          <p:cNvCxnSpPr/>
          <p:nvPr/>
        </p:nvCxnSpPr>
        <p:spPr>
          <a:xfrm>
            <a:off x="5527676" y="1654176"/>
            <a:ext cx="25399" cy="4319586"/>
          </a:xfrm>
          <a:prstGeom prst="straightConnector1">
            <a:avLst/>
          </a:prstGeom>
          <a:ln w="9525" cap="rnd">
            <a:solidFill>
              <a:schemeClr val="accent5"/>
            </a:solidFill>
            <a:prstDash val="solid"/>
            <a:round/>
            <a:tailEnd type="none"/>
          </a:ln>
        </p:spPr>
        <p:style>
          <a:lnRef idx="1">
            <a:schemeClr val="accent1"/>
          </a:lnRef>
          <a:fillRef idx="0">
            <a:schemeClr val="accent1"/>
          </a:fillRef>
          <a:effectRef idx="0">
            <a:schemeClr val="accent1"/>
          </a:effectRef>
          <a:fontRef idx="minor">
            <a:schemeClr val="tx1"/>
          </a:fontRef>
        </p:style>
      </p:cxnSp>
      <p:pic>
        <p:nvPicPr>
          <p:cNvPr id="10" name="Picture 10" descr="Table&#10;&#10;Description automatically generated">
            <a:extLst>
              <a:ext uri="{FF2B5EF4-FFF2-40B4-BE49-F238E27FC236}">
                <a16:creationId xmlns:a16="http://schemas.microsoft.com/office/drawing/2014/main" id="{BC57136E-9901-4CDB-9B10-C29044E8BCA8}"/>
              </a:ext>
            </a:extLst>
          </p:cNvPr>
          <p:cNvPicPr>
            <a:picLocks noChangeAspect="1"/>
          </p:cNvPicPr>
          <p:nvPr/>
        </p:nvPicPr>
        <p:blipFill>
          <a:blip r:embed="rId5"/>
          <a:stretch>
            <a:fillRect/>
          </a:stretch>
        </p:blipFill>
        <p:spPr>
          <a:xfrm>
            <a:off x="5844988" y="1983667"/>
            <a:ext cx="4679576" cy="1958335"/>
          </a:xfrm>
          <a:prstGeom prst="rect">
            <a:avLst/>
          </a:prstGeom>
        </p:spPr>
      </p:pic>
      <p:pic>
        <p:nvPicPr>
          <p:cNvPr id="11" name="Picture 12" descr="A picture containing graphical user interface&#10;&#10;Description automatically generated">
            <a:extLst>
              <a:ext uri="{FF2B5EF4-FFF2-40B4-BE49-F238E27FC236}">
                <a16:creationId xmlns:a16="http://schemas.microsoft.com/office/drawing/2014/main" id="{31819B31-85B9-4D2E-B13C-BE009B402BB3}"/>
              </a:ext>
            </a:extLst>
          </p:cNvPr>
          <p:cNvPicPr>
            <a:picLocks noChangeAspect="1"/>
          </p:cNvPicPr>
          <p:nvPr/>
        </p:nvPicPr>
        <p:blipFill>
          <a:blip r:embed="rId6"/>
          <a:stretch>
            <a:fillRect/>
          </a:stretch>
        </p:blipFill>
        <p:spPr>
          <a:xfrm>
            <a:off x="627529" y="1979521"/>
            <a:ext cx="4607858" cy="1966628"/>
          </a:xfrm>
          <a:prstGeom prst="rect">
            <a:avLst/>
          </a:prstGeom>
        </p:spPr>
      </p:pic>
      <p:pic>
        <p:nvPicPr>
          <p:cNvPr id="6" name="Picture 6" descr="Chart, bar chart&#10;&#10;Description automatically generated">
            <a:extLst>
              <a:ext uri="{FF2B5EF4-FFF2-40B4-BE49-F238E27FC236}">
                <a16:creationId xmlns:a16="http://schemas.microsoft.com/office/drawing/2014/main" id="{AC523019-759A-4F10-81C2-E17F7288D0AA}"/>
              </a:ext>
            </a:extLst>
          </p:cNvPr>
          <p:cNvPicPr>
            <a:picLocks noChangeAspect="1"/>
          </p:cNvPicPr>
          <p:nvPr/>
        </p:nvPicPr>
        <p:blipFill>
          <a:blip r:embed="rId7"/>
          <a:stretch>
            <a:fillRect/>
          </a:stretch>
        </p:blipFill>
        <p:spPr>
          <a:xfrm>
            <a:off x="628650" y="3951015"/>
            <a:ext cx="4608512" cy="1972219"/>
          </a:xfrm>
          <a:prstGeom prst="rect">
            <a:avLst/>
          </a:prstGeom>
        </p:spPr>
      </p:pic>
      <p:pic>
        <p:nvPicPr>
          <p:cNvPr id="7" name="Picture 12" descr="Chart, bar chart&#10;&#10;Description automatically generated">
            <a:extLst>
              <a:ext uri="{FF2B5EF4-FFF2-40B4-BE49-F238E27FC236}">
                <a16:creationId xmlns:a16="http://schemas.microsoft.com/office/drawing/2014/main" id="{D7C5CD80-1D44-4746-B711-81F43E2686E9}"/>
              </a:ext>
            </a:extLst>
          </p:cNvPr>
          <p:cNvPicPr>
            <a:picLocks noChangeAspect="1"/>
          </p:cNvPicPr>
          <p:nvPr/>
        </p:nvPicPr>
        <p:blipFill>
          <a:blip r:embed="rId8"/>
          <a:stretch>
            <a:fillRect/>
          </a:stretch>
        </p:blipFill>
        <p:spPr>
          <a:xfrm>
            <a:off x="5843587" y="3918341"/>
            <a:ext cx="4679950" cy="1966130"/>
          </a:xfrm>
          <a:prstGeom prst="rect">
            <a:avLst/>
          </a:prstGeom>
        </p:spPr>
      </p:pic>
    </p:spTree>
    <p:extLst>
      <p:ext uri="{BB962C8B-B14F-4D97-AF65-F5344CB8AC3E}">
        <p14:creationId xmlns:p14="http://schemas.microsoft.com/office/powerpoint/2010/main" val="397146515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764925-553F-46C0-AD49-7EDC41FA393B}"/>
              </a:ext>
            </a:extLst>
          </p:cNvPr>
          <p:cNvSpPr>
            <a:spLocks noGrp="1"/>
          </p:cNvSpPr>
          <p:nvPr>
            <p:ph type="title"/>
          </p:nvPr>
        </p:nvSpPr>
        <p:spPr>
          <a:xfrm>
            <a:off x="632241" y="421094"/>
            <a:ext cx="10933350" cy="886397"/>
          </a:xfrm>
        </p:spPr>
        <p:txBody>
          <a:bodyPr/>
          <a:lstStyle/>
          <a:p>
            <a:r>
              <a:rPr lang="en-US" sz="3600">
                <a:solidFill>
                  <a:srgbClr val="002060"/>
                </a:solidFill>
              </a:rPr>
              <a:t>Comparing Minimum Bus Frequency Required: </a:t>
            </a:r>
            <a:br>
              <a:rPr lang="en-US" sz="3600"/>
            </a:br>
            <a:r>
              <a:rPr lang="en-US" sz="2800">
                <a:solidFill>
                  <a:srgbClr val="FF0000"/>
                </a:solidFill>
              </a:rPr>
              <a:t>Selected Weekday</a:t>
            </a:r>
            <a:r>
              <a:rPr lang="en-US" sz="2800"/>
              <a:t> </a:t>
            </a:r>
            <a:r>
              <a:rPr lang="en-US" sz="2800">
                <a:solidFill>
                  <a:srgbClr val="002060"/>
                </a:solidFill>
              </a:rPr>
              <a:t>vs</a:t>
            </a:r>
            <a:r>
              <a:rPr lang="en-US" sz="2800"/>
              <a:t> </a:t>
            </a:r>
            <a:r>
              <a:rPr lang="en-US" sz="2800">
                <a:solidFill>
                  <a:srgbClr val="00B050"/>
                </a:solidFill>
              </a:rPr>
              <a:t>3 Months of Weekdays Data</a:t>
            </a:r>
            <a:r>
              <a:rPr lang="en-US" sz="2800"/>
              <a:t> </a:t>
            </a:r>
          </a:p>
        </p:txBody>
      </p:sp>
      <p:sp>
        <p:nvSpPr>
          <p:cNvPr id="3" name="Flowchart: Connector 2">
            <a:extLst>
              <a:ext uri="{FF2B5EF4-FFF2-40B4-BE49-F238E27FC236}">
                <a16:creationId xmlns:a16="http://schemas.microsoft.com/office/drawing/2014/main" id="{70B07330-2F68-4A35-9040-6BC23E0869D8}"/>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p>
        </p:txBody>
      </p:sp>
      <p:pic>
        <p:nvPicPr>
          <p:cNvPr id="4" name="Graphic 3" descr="Bar chart">
            <a:extLst>
              <a:ext uri="{FF2B5EF4-FFF2-40B4-BE49-F238E27FC236}">
                <a16:creationId xmlns:a16="http://schemas.microsoft.com/office/drawing/2014/main" id="{B5DB32CC-EAC7-41A2-8184-F3E358704B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14721" y="32586"/>
            <a:ext cx="553679" cy="553679"/>
          </a:xfrm>
          <a:prstGeom prst="rect">
            <a:avLst/>
          </a:prstGeom>
        </p:spPr>
      </p:pic>
      <p:pic>
        <p:nvPicPr>
          <p:cNvPr id="5" name="Picture 5" descr="Chart, line chart&#10;&#10;Description automatically generated">
            <a:extLst>
              <a:ext uri="{FF2B5EF4-FFF2-40B4-BE49-F238E27FC236}">
                <a16:creationId xmlns:a16="http://schemas.microsoft.com/office/drawing/2014/main" id="{83C6785E-446C-4CAD-9151-798BFDC1A6C0}"/>
              </a:ext>
            </a:extLst>
          </p:cNvPr>
          <p:cNvPicPr>
            <a:picLocks noChangeAspect="1"/>
          </p:cNvPicPr>
          <p:nvPr/>
        </p:nvPicPr>
        <p:blipFill>
          <a:blip r:embed="rId5"/>
          <a:stretch>
            <a:fillRect/>
          </a:stretch>
        </p:blipFill>
        <p:spPr>
          <a:xfrm>
            <a:off x="635467" y="1667284"/>
            <a:ext cx="5394325" cy="3235347"/>
          </a:xfrm>
          <a:prstGeom prst="rect">
            <a:avLst/>
          </a:prstGeom>
        </p:spPr>
      </p:pic>
      <p:pic>
        <p:nvPicPr>
          <p:cNvPr id="6" name="Picture 7">
            <a:extLst>
              <a:ext uri="{FF2B5EF4-FFF2-40B4-BE49-F238E27FC236}">
                <a16:creationId xmlns:a16="http://schemas.microsoft.com/office/drawing/2014/main" id="{1882E93D-494F-4BA8-9098-F878337761DC}"/>
              </a:ext>
            </a:extLst>
          </p:cNvPr>
          <p:cNvPicPr>
            <a:picLocks noChangeAspect="1"/>
          </p:cNvPicPr>
          <p:nvPr/>
        </p:nvPicPr>
        <p:blipFill>
          <a:blip r:embed="rId6"/>
          <a:stretch>
            <a:fillRect/>
          </a:stretch>
        </p:blipFill>
        <p:spPr>
          <a:xfrm>
            <a:off x="636587" y="5355405"/>
            <a:ext cx="8053387" cy="703315"/>
          </a:xfrm>
          <a:prstGeom prst="rect">
            <a:avLst/>
          </a:prstGeom>
        </p:spPr>
      </p:pic>
      <p:pic>
        <p:nvPicPr>
          <p:cNvPr id="8" name="Picture 9" descr="Chart, line chart&#10;&#10;Description automatically generated">
            <a:extLst>
              <a:ext uri="{FF2B5EF4-FFF2-40B4-BE49-F238E27FC236}">
                <a16:creationId xmlns:a16="http://schemas.microsoft.com/office/drawing/2014/main" id="{750CED42-2432-46DD-B274-1632B83D2A96}"/>
              </a:ext>
            </a:extLst>
          </p:cNvPr>
          <p:cNvPicPr>
            <a:picLocks noChangeAspect="1"/>
          </p:cNvPicPr>
          <p:nvPr/>
        </p:nvPicPr>
        <p:blipFill>
          <a:blip r:embed="rId7"/>
          <a:stretch>
            <a:fillRect/>
          </a:stretch>
        </p:blipFill>
        <p:spPr>
          <a:xfrm>
            <a:off x="6231591" y="1671787"/>
            <a:ext cx="5394324" cy="3226342"/>
          </a:xfrm>
          <a:prstGeom prst="rect">
            <a:avLst/>
          </a:prstGeom>
        </p:spPr>
      </p:pic>
    </p:spTree>
    <p:extLst>
      <p:ext uri="{BB962C8B-B14F-4D97-AF65-F5344CB8AC3E}">
        <p14:creationId xmlns:p14="http://schemas.microsoft.com/office/powerpoint/2010/main" val="37589788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764925-553F-46C0-AD49-7EDC41FA393B}"/>
              </a:ext>
            </a:extLst>
          </p:cNvPr>
          <p:cNvSpPr>
            <a:spLocks noGrp="1"/>
          </p:cNvSpPr>
          <p:nvPr>
            <p:ph type="title"/>
          </p:nvPr>
        </p:nvSpPr>
        <p:spPr>
          <a:xfrm>
            <a:off x="757747" y="421095"/>
            <a:ext cx="10933350" cy="858697"/>
          </a:xfrm>
        </p:spPr>
        <p:txBody>
          <a:bodyPr/>
          <a:lstStyle/>
          <a:p>
            <a:r>
              <a:rPr lang="en-US">
                <a:solidFill>
                  <a:srgbClr val="002060"/>
                </a:solidFill>
              </a:rPr>
              <a:t>Select Weekday Bus Frequency Comparison: </a:t>
            </a:r>
            <a:br>
              <a:rPr lang="en-US">
                <a:solidFill>
                  <a:srgbClr val="002060"/>
                </a:solidFill>
              </a:rPr>
            </a:br>
            <a:r>
              <a:rPr lang="en-US" sz="2800">
                <a:solidFill>
                  <a:srgbClr val="FF0000"/>
                </a:solidFill>
              </a:rPr>
              <a:t>Actual Bus Deployed</a:t>
            </a:r>
            <a:r>
              <a:rPr lang="en-US" sz="2800">
                <a:solidFill>
                  <a:srgbClr val="002060"/>
                </a:solidFill>
              </a:rPr>
              <a:t> vs </a:t>
            </a:r>
            <a:r>
              <a:rPr lang="en-US" sz="2800">
                <a:solidFill>
                  <a:srgbClr val="7030A0"/>
                </a:solidFill>
              </a:rPr>
              <a:t>Minimum Bus Frequency Required</a:t>
            </a:r>
            <a:r>
              <a:rPr lang="en-US" sz="2800">
                <a:solidFill>
                  <a:srgbClr val="002060"/>
                </a:solidFill>
              </a:rPr>
              <a:t> </a:t>
            </a:r>
          </a:p>
        </p:txBody>
      </p:sp>
      <p:pic>
        <p:nvPicPr>
          <p:cNvPr id="3" name="Picture 3">
            <a:extLst>
              <a:ext uri="{FF2B5EF4-FFF2-40B4-BE49-F238E27FC236}">
                <a16:creationId xmlns:a16="http://schemas.microsoft.com/office/drawing/2014/main" id="{4BB0AA97-4D09-4E8C-8C6C-4D3B86D6CB1F}"/>
              </a:ext>
            </a:extLst>
          </p:cNvPr>
          <p:cNvPicPr>
            <a:picLocks noChangeAspect="1"/>
          </p:cNvPicPr>
          <p:nvPr/>
        </p:nvPicPr>
        <p:blipFill>
          <a:blip r:embed="rId2"/>
          <a:stretch>
            <a:fillRect/>
          </a:stretch>
        </p:blipFill>
        <p:spPr>
          <a:xfrm>
            <a:off x="759472" y="5859121"/>
            <a:ext cx="5205046" cy="739710"/>
          </a:xfrm>
          <a:prstGeom prst="rect">
            <a:avLst/>
          </a:prstGeom>
        </p:spPr>
      </p:pic>
      <p:pic>
        <p:nvPicPr>
          <p:cNvPr id="4" name="Picture 4" descr="Chart, line chart&#10;&#10;Description automatically generated">
            <a:extLst>
              <a:ext uri="{FF2B5EF4-FFF2-40B4-BE49-F238E27FC236}">
                <a16:creationId xmlns:a16="http://schemas.microsoft.com/office/drawing/2014/main" id="{17E32B17-67B8-4A5B-A3FF-B2170E712477}"/>
              </a:ext>
            </a:extLst>
          </p:cNvPr>
          <p:cNvPicPr>
            <a:picLocks noChangeAspect="1"/>
          </p:cNvPicPr>
          <p:nvPr/>
        </p:nvPicPr>
        <p:blipFill>
          <a:blip r:embed="rId3"/>
          <a:stretch>
            <a:fillRect/>
          </a:stretch>
        </p:blipFill>
        <p:spPr>
          <a:xfrm>
            <a:off x="759472" y="1525331"/>
            <a:ext cx="6885353" cy="4175695"/>
          </a:xfrm>
          <a:prstGeom prst="rect">
            <a:avLst/>
          </a:prstGeom>
        </p:spPr>
      </p:pic>
      <p:sp>
        <p:nvSpPr>
          <p:cNvPr id="6" name="Flowchart: Connector 5">
            <a:extLst>
              <a:ext uri="{FF2B5EF4-FFF2-40B4-BE49-F238E27FC236}">
                <a16:creationId xmlns:a16="http://schemas.microsoft.com/office/drawing/2014/main" id="{C0AF55F1-44C1-4497-BC9B-D744784B44CE}"/>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p>
        </p:txBody>
      </p:sp>
      <p:pic>
        <p:nvPicPr>
          <p:cNvPr id="8" name="Graphic 7" descr="Bar chart">
            <a:extLst>
              <a:ext uri="{FF2B5EF4-FFF2-40B4-BE49-F238E27FC236}">
                <a16:creationId xmlns:a16="http://schemas.microsoft.com/office/drawing/2014/main" id="{DCF575F8-450B-40AB-B359-4D89A75FB07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414721" y="32586"/>
            <a:ext cx="553679" cy="553679"/>
          </a:xfrm>
          <a:prstGeom prst="rect">
            <a:avLst/>
          </a:prstGeom>
        </p:spPr>
      </p:pic>
    </p:spTree>
    <p:extLst>
      <p:ext uri="{BB962C8B-B14F-4D97-AF65-F5344CB8AC3E}">
        <p14:creationId xmlns:p14="http://schemas.microsoft.com/office/powerpoint/2010/main" val="143177571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39F15-1818-4D2D-A322-2BE665A44DF0}"/>
              </a:ext>
            </a:extLst>
          </p:cNvPr>
          <p:cNvSpPr>
            <a:spLocks noGrp="1"/>
          </p:cNvSpPr>
          <p:nvPr>
            <p:ph type="title"/>
          </p:nvPr>
        </p:nvSpPr>
        <p:spPr>
          <a:xfrm>
            <a:off x="493522" y="145129"/>
            <a:ext cx="10933350" cy="470898"/>
          </a:xfrm>
        </p:spPr>
        <p:txBody>
          <a:bodyPr/>
          <a:lstStyle/>
          <a:p>
            <a:r>
              <a:rPr lang="en-US">
                <a:solidFill>
                  <a:srgbClr val="002060"/>
                </a:solidFill>
                <a:ea typeface="+mj-lt"/>
                <a:cs typeface="+mj-lt"/>
              </a:rPr>
              <a:t>Executive Summary</a:t>
            </a:r>
            <a:endParaRPr lang="en-US">
              <a:solidFill>
                <a:srgbClr val="002060"/>
              </a:solidFill>
            </a:endParaRPr>
          </a:p>
        </p:txBody>
      </p:sp>
      <p:sp>
        <p:nvSpPr>
          <p:cNvPr id="3" name="Text Placeholder 2">
            <a:extLst>
              <a:ext uri="{FF2B5EF4-FFF2-40B4-BE49-F238E27FC236}">
                <a16:creationId xmlns:a16="http://schemas.microsoft.com/office/drawing/2014/main" id="{9771EDC6-5C2F-4F03-A28A-6F11306CF575}"/>
              </a:ext>
            </a:extLst>
          </p:cNvPr>
          <p:cNvSpPr>
            <a:spLocks noGrp="1"/>
          </p:cNvSpPr>
          <p:nvPr>
            <p:ph type="body" sz="quarter" idx="10"/>
          </p:nvPr>
        </p:nvSpPr>
        <p:spPr>
          <a:xfrm>
            <a:off x="492921" y="777717"/>
            <a:ext cx="11513830" cy="5795101"/>
          </a:xfrm>
        </p:spPr>
        <p:txBody>
          <a:bodyPr vert="horz" lIns="0" tIns="0" rIns="0" bIns="0" rtlCol="0" anchor="t">
            <a:noAutofit/>
          </a:bodyPr>
          <a:lstStyle/>
          <a:p>
            <a:r>
              <a:rPr lang="en-US" sz="1800" b="1">
                <a:solidFill>
                  <a:schemeClr val="accent4"/>
                </a:solidFill>
                <a:ea typeface="+mn-lt"/>
                <a:cs typeface="+mn-lt"/>
              </a:rPr>
              <a:t>S</a:t>
            </a:r>
            <a:r>
              <a:rPr lang="en-US" sz="1600" b="1">
                <a:solidFill>
                  <a:schemeClr val="accent4"/>
                </a:solidFill>
                <a:latin typeface="Arial"/>
                <a:ea typeface="+mn-lt"/>
                <a:cs typeface="+mn-lt"/>
              </a:rPr>
              <a:t>ituation </a:t>
            </a:r>
            <a:endParaRPr lang="en-US" sz="1600" b="1">
              <a:solidFill>
                <a:schemeClr val="accent4"/>
              </a:solidFill>
              <a:latin typeface="Arial"/>
              <a:cs typeface="Arial"/>
            </a:endParaRPr>
          </a:p>
          <a:p>
            <a:endParaRPr lang="en-US" sz="1600" b="1">
              <a:solidFill>
                <a:schemeClr val="accent4"/>
              </a:solidFill>
              <a:latin typeface="Arial"/>
              <a:ea typeface="+mn-lt"/>
              <a:cs typeface="+mn-lt"/>
            </a:endParaRPr>
          </a:p>
          <a:p>
            <a:r>
              <a:rPr lang="en-US" sz="1600">
                <a:latin typeface="Arial"/>
                <a:ea typeface="+mn-lt"/>
                <a:cs typeface="+mn-lt"/>
              </a:rPr>
              <a:t>Sentosa Development Corporation (SDC) is currently facing difficulties in meeting the demands of transporting visitors around the island during peak period when there is large number of guest waiting for buses at the bus stops. </a:t>
            </a:r>
            <a:endParaRPr lang="en-US" sz="1600">
              <a:latin typeface="Arial"/>
              <a:cs typeface="Arial"/>
            </a:endParaRPr>
          </a:p>
          <a:p>
            <a:endParaRPr lang="en-US" sz="1600">
              <a:latin typeface="Arial"/>
              <a:ea typeface="+mn-lt"/>
              <a:cs typeface="+mn-lt"/>
            </a:endParaRPr>
          </a:p>
          <a:p>
            <a:r>
              <a:rPr lang="en-US" sz="1600">
                <a:latin typeface="Arial"/>
                <a:ea typeface="+mn-lt"/>
                <a:cs typeface="+mn-lt"/>
              </a:rPr>
              <a:t>Currently, complimentary shuttle services are operated manually through radio dispatch by service captain. It will affect the reputation of Sentosa as a tourist attraction if people leave bad reviews about slow service and long waiting time. </a:t>
            </a:r>
            <a:endParaRPr lang="en-US" sz="1600">
              <a:latin typeface="Arial"/>
              <a:cs typeface="Arial"/>
            </a:endParaRPr>
          </a:p>
          <a:p>
            <a:endParaRPr lang="en-US" sz="1600">
              <a:latin typeface="Arial"/>
              <a:ea typeface="+mn-lt"/>
              <a:cs typeface="+mn-lt"/>
            </a:endParaRPr>
          </a:p>
          <a:p>
            <a:r>
              <a:rPr lang="en-US" sz="1600" b="1">
                <a:solidFill>
                  <a:schemeClr val="accent4"/>
                </a:solidFill>
                <a:latin typeface="Arial"/>
                <a:ea typeface="+mn-lt"/>
                <a:cs typeface="+mn-lt"/>
              </a:rPr>
              <a:t>Solution</a:t>
            </a:r>
            <a:endParaRPr lang="en-US" sz="1600">
              <a:solidFill>
                <a:schemeClr val="accent4"/>
              </a:solidFill>
              <a:latin typeface="Arial"/>
              <a:cs typeface="Arial"/>
            </a:endParaRPr>
          </a:p>
          <a:p>
            <a:endParaRPr lang="en-US" sz="1600" b="1">
              <a:solidFill>
                <a:schemeClr val="accent4"/>
              </a:solidFill>
              <a:latin typeface="Arial"/>
              <a:ea typeface="+mn-lt"/>
              <a:cs typeface="+mn-lt"/>
            </a:endParaRPr>
          </a:p>
          <a:p>
            <a:r>
              <a:rPr lang="en-US" sz="1600">
                <a:latin typeface="Arial"/>
                <a:ea typeface="+mn-lt"/>
                <a:cs typeface="+mn-lt"/>
              </a:rPr>
              <a:t>To better manage the surge in number of guests at bus stops, we would like to recommend a dual approach :-</a:t>
            </a:r>
            <a:endParaRPr lang="en-US" sz="1600">
              <a:latin typeface="Arial"/>
              <a:cs typeface="Arial"/>
            </a:endParaRPr>
          </a:p>
          <a:p>
            <a:endParaRPr lang="en-US" sz="1600">
              <a:latin typeface="Arial"/>
              <a:ea typeface="+mn-lt"/>
              <a:cs typeface="+mn-lt"/>
            </a:endParaRPr>
          </a:p>
          <a:p>
            <a:pPr marL="285750" indent="-285750">
              <a:buFont typeface="Wingdings" panose="020B0604020202020204" pitchFamily="34" charset="0"/>
              <a:buChar char="ü"/>
            </a:pPr>
            <a:r>
              <a:rPr lang="en-US" sz="1600">
                <a:latin typeface="Arial"/>
                <a:ea typeface="+mn-lt"/>
                <a:cs typeface="+mn-lt"/>
              </a:rPr>
              <a:t>Adopting a machine learning model to help SDC to preempt the hourly ridership a week ahead to allow SDC Operations team to plan its bus scheduling to cater to the guest demand; and</a:t>
            </a:r>
            <a:endParaRPr lang="en-US" sz="1600">
              <a:latin typeface="Arial"/>
              <a:cs typeface="Arial"/>
            </a:endParaRPr>
          </a:p>
          <a:p>
            <a:pPr marL="285750" indent="-285750">
              <a:buFont typeface="Wingdings" panose="020B0604020202020204" pitchFamily="34" charset="0"/>
              <a:buChar char="ü"/>
            </a:pPr>
            <a:r>
              <a:rPr lang="en-US" sz="1600">
                <a:latin typeface="Arial"/>
                <a:ea typeface="+mn-lt"/>
                <a:cs typeface="+mn-lt"/>
              </a:rPr>
              <a:t>Adding additional features in existing Sentosa App will allow guests to view the bus arrival times so they can plan their activities accordingly without having to spend the time waiting for buses. </a:t>
            </a:r>
            <a:endParaRPr lang="en-US" sz="1600">
              <a:latin typeface="Arial"/>
              <a:cs typeface="Arial"/>
            </a:endParaRPr>
          </a:p>
          <a:p>
            <a:endParaRPr lang="en-US" sz="1600">
              <a:latin typeface="Arial"/>
              <a:ea typeface="+mn-lt"/>
              <a:cs typeface="+mn-lt"/>
            </a:endParaRPr>
          </a:p>
          <a:p>
            <a:r>
              <a:rPr lang="en-US" sz="1600" b="1">
                <a:solidFill>
                  <a:schemeClr val="accent4"/>
                </a:solidFill>
                <a:latin typeface="Arial"/>
                <a:ea typeface="+mn-lt"/>
                <a:cs typeface="+mn-lt"/>
              </a:rPr>
              <a:t>Impact</a:t>
            </a:r>
            <a:endParaRPr lang="en-US" sz="1600">
              <a:solidFill>
                <a:schemeClr val="accent4"/>
              </a:solidFill>
              <a:latin typeface="Arial"/>
              <a:cs typeface="Arial"/>
            </a:endParaRPr>
          </a:p>
          <a:p>
            <a:endParaRPr lang="en-US" sz="1600" b="1">
              <a:solidFill>
                <a:schemeClr val="accent4"/>
              </a:solidFill>
              <a:latin typeface="Arial"/>
              <a:ea typeface="+mn-lt"/>
              <a:cs typeface="+mn-lt"/>
            </a:endParaRPr>
          </a:p>
          <a:p>
            <a:pPr marL="285750" indent="-285750">
              <a:buFont typeface="Wingdings" panose="020B0604020202020204" pitchFamily="34" charset="0"/>
              <a:buChar char="§"/>
            </a:pPr>
            <a:r>
              <a:rPr lang="en-US" sz="1600">
                <a:latin typeface="Arial"/>
                <a:ea typeface="+mn-lt"/>
                <a:cs typeface="+mn-lt"/>
              </a:rPr>
              <a:t>More dynamic scheduling ahead of demand surges instead of current fixated schedules.</a:t>
            </a:r>
            <a:endParaRPr lang="en-US" sz="1600">
              <a:latin typeface="Arial"/>
              <a:cs typeface="Arial"/>
            </a:endParaRPr>
          </a:p>
          <a:p>
            <a:pPr marL="285750" indent="-285750">
              <a:buFont typeface="Wingdings" panose="020B0604020202020204" pitchFamily="34" charset="0"/>
              <a:buChar char="§"/>
            </a:pPr>
            <a:r>
              <a:rPr lang="en-US" sz="1600">
                <a:latin typeface="Arial"/>
                <a:ea typeface="+mn-lt"/>
                <a:cs typeface="+mn-lt"/>
              </a:rPr>
              <a:t>Potential cost savings to remove under-utilized buses during non-peak hours.</a:t>
            </a:r>
            <a:endParaRPr lang="en-US" sz="1600">
              <a:latin typeface="Arial"/>
              <a:cs typeface="Arial"/>
            </a:endParaRPr>
          </a:p>
          <a:p>
            <a:pPr marL="285750" indent="-285750">
              <a:buFont typeface="Wingdings" panose="020B0604020202020204" pitchFamily="34" charset="0"/>
              <a:buChar char="§"/>
            </a:pPr>
            <a:r>
              <a:rPr lang="en-US" sz="1600">
                <a:latin typeface="Arial"/>
                <a:ea typeface="+mn-lt"/>
                <a:cs typeface="+mn-lt"/>
              </a:rPr>
              <a:t>Increase in customer satisfaction as they can better plan their time in Sentosa with knowledge of real time bus information through Sentosa App</a:t>
            </a:r>
            <a:r>
              <a:rPr lang="en-US" sz="1800">
                <a:latin typeface="Arial"/>
                <a:ea typeface="+mn-lt"/>
                <a:cs typeface="+mn-lt"/>
              </a:rPr>
              <a:t>.</a:t>
            </a:r>
            <a:endParaRPr lang="en-US" sz="1800">
              <a:latin typeface="Arial"/>
              <a:cs typeface="Arial"/>
            </a:endParaRPr>
          </a:p>
          <a:p>
            <a:endParaRPr lang="en-US" sz="1800"/>
          </a:p>
        </p:txBody>
      </p:sp>
    </p:spTree>
    <p:extLst>
      <p:ext uri="{BB962C8B-B14F-4D97-AF65-F5344CB8AC3E}">
        <p14:creationId xmlns:p14="http://schemas.microsoft.com/office/powerpoint/2010/main" val="5318256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EE4F4-60D4-46CA-A79F-1CD22235EEA0}"/>
              </a:ext>
            </a:extLst>
          </p:cNvPr>
          <p:cNvSpPr>
            <a:spLocks noGrp="1"/>
          </p:cNvSpPr>
          <p:nvPr>
            <p:ph type="title"/>
          </p:nvPr>
        </p:nvSpPr>
        <p:spPr>
          <a:xfrm>
            <a:off x="630000" y="560047"/>
            <a:ext cx="10933350" cy="470898"/>
          </a:xfrm>
        </p:spPr>
        <p:txBody>
          <a:bodyPr/>
          <a:lstStyle/>
          <a:p>
            <a:r>
              <a:rPr lang="en-SG">
                <a:solidFill>
                  <a:srgbClr val="002060"/>
                </a:solidFill>
              </a:rPr>
              <a:t>Calculation for Popularity Factor</a:t>
            </a:r>
          </a:p>
        </p:txBody>
      </p:sp>
      <p:sp>
        <p:nvSpPr>
          <p:cNvPr id="3" name="Text Placeholder 2">
            <a:extLst>
              <a:ext uri="{FF2B5EF4-FFF2-40B4-BE49-F238E27FC236}">
                <a16:creationId xmlns:a16="http://schemas.microsoft.com/office/drawing/2014/main" id="{3AAD55FA-63B7-4DBA-8DC0-293DEF7C309C}"/>
              </a:ext>
            </a:extLst>
          </p:cNvPr>
          <p:cNvSpPr>
            <a:spLocks noGrp="1"/>
          </p:cNvSpPr>
          <p:nvPr>
            <p:ph type="body" sz="quarter" idx="10"/>
          </p:nvPr>
        </p:nvSpPr>
        <p:spPr>
          <a:xfrm>
            <a:off x="629399" y="4854228"/>
            <a:ext cx="10129468" cy="1252798"/>
          </a:xfrm>
        </p:spPr>
        <p:txBody>
          <a:bodyPr vert="horz" lIns="0" tIns="0" rIns="0" bIns="0" rtlCol="0" anchor="t">
            <a:noAutofit/>
          </a:bodyPr>
          <a:lstStyle/>
          <a:p>
            <a:r>
              <a:rPr lang="en-SG" sz="1800">
                <a:solidFill>
                  <a:srgbClr val="002060"/>
                </a:solidFill>
              </a:rPr>
              <a:t>The score for Popularity Factor is calculated with the following weightage. </a:t>
            </a:r>
          </a:p>
          <a:p>
            <a:endParaRPr lang="en-SG" sz="1800">
              <a:solidFill>
                <a:srgbClr val="002060"/>
              </a:solidFill>
            </a:endParaRPr>
          </a:p>
          <a:p>
            <a:r>
              <a:rPr lang="en-SG" sz="1800">
                <a:solidFill>
                  <a:srgbClr val="002060"/>
                </a:solidFill>
              </a:rPr>
              <a:t>We put Attraction as the highest percentage as we want to focus on guests more interested in Attractions compared to F&amp;B and Hotels.</a:t>
            </a:r>
          </a:p>
        </p:txBody>
      </p:sp>
      <p:pic>
        <p:nvPicPr>
          <p:cNvPr id="6" name="Picture 6" descr="Table&#10;&#10;Description automatically generated">
            <a:extLst>
              <a:ext uri="{FF2B5EF4-FFF2-40B4-BE49-F238E27FC236}">
                <a16:creationId xmlns:a16="http://schemas.microsoft.com/office/drawing/2014/main" id="{7CB028D9-5E81-4D63-A1E2-97D2DBFCDC09}"/>
              </a:ext>
            </a:extLst>
          </p:cNvPr>
          <p:cNvPicPr>
            <a:picLocks noChangeAspect="1"/>
          </p:cNvPicPr>
          <p:nvPr/>
        </p:nvPicPr>
        <p:blipFill>
          <a:blip r:embed="rId2"/>
          <a:stretch>
            <a:fillRect/>
          </a:stretch>
        </p:blipFill>
        <p:spPr>
          <a:xfrm>
            <a:off x="626533" y="3192717"/>
            <a:ext cx="10134601" cy="1310764"/>
          </a:xfrm>
          <a:prstGeom prst="rect">
            <a:avLst/>
          </a:prstGeom>
        </p:spPr>
      </p:pic>
      <p:pic>
        <p:nvPicPr>
          <p:cNvPr id="5" name="Picture 6">
            <a:extLst>
              <a:ext uri="{FF2B5EF4-FFF2-40B4-BE49-F238E27FC236}">
                <a16:creationId xmlns:a16="http://schemas.microsoft.com/office/drawing/2014/main" id="{EFAB945F-9334-4743-9C72-A318D57D242D}"/>
              </a:ext>
            </a:extLst>
          </p:cNvPr>
          <p:cNvPicPr>
            <a:picLocks noChangeAspect="1"/>
          </p:cNvPicPr>
          <p:nvPr/>
        </p:nvPicPr>
        <p:blipFill>
          <a:blip r:embed="rId3"/>
          <a:stretch>
            <a:fillRect/>
          </a:stretch>
        </p:blipFill>
        <p:spPr>
          <a:xfrm>
            <a:off x="628650" y="1226997"/>
            <a:ext cx="8164512" cy="1753440"/>
          </a:xfrm>
          <a:prstGeom prst="rect">
            <a:avLst/>
          </a:prstGeom>
        </p:spPr>
      </p:pic>
      <p:sp>
        <p:nvSpPr>
          <p:cNvPr id="4" name="Flowchart: Connector 3">
            <a:extLst>
              <a:ext uri="{FF2B5EF4-FFF2-40B4-BE49-F238E27FC236}">
                <a16:creationId xmlns:a16="http://schemas.microsoft.com/office/drawing/2014/main" id="{47FBA980-748F-45F3-A601-867538EAE4C8}"/>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p>
        </p:txBody>
      </p:sp>
      <p:pic>
        <p:nvPicPr>
          <p:cNvPr id="9" name="Graphic 8" descr="Bar chart">
            <a:extLst>
              <a:ext uri="{FF2B5EF4-FFF2-40B4-BE49-F238E27FC236}">
                <a16:creationId xmlns:a16="http://schemas.microsoft.com/office/drawing/2014/main" id="{D1197DB7-AECA-45D2-B625-C5A366E0F1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414721" y="32586"/>
            <a:ext cx="553679" cy="553679"/>
          </a:xfrm>
          <a:prstGeom prst="rect">
            <a:avLst/>
          </a:prstGeom>
        </p:spPr>
      </p:pic>
    </p:spTree>
    <p:extLst>
      <p:ext uri="{BB962C8B-B14F-4D97-AF65-F5344CB8AC3E}">
        <p14:creationId xmlns:p14="http://schemas.microsoft.com/office/powerpoint/2010/main" val="276159783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EE4F4-60D4-46CA-A79F-1CD22235EEA0}"/>
              </a:ext>
            </a:extLst>
          </p:cNvPr>
          <p:cNvSpPr>
            <a:spLocks noGrp="1"/>
          </p:cNvSpPr>
          <p:nvPr>
            <p:ph type="title"/>
          </p:nvPr>
        </p:nvSpPr>
        <p:spPr>
          <a:xfrm>
            <a:off x="282867" y="351867"/>
            <a:ext cx="10692211" cy="443198"/>
          </a:xfrm>
        </p:spPr>
        <p:txBody>
          <a:bodyPr/>
          <a:lstStyle/>
          <a:p>
            <a:r>
              <a:rPr lang="en-SG" sz="3200">
                <a:solidFill>
                  <a:srgbClr val="002060"/>
                </a:solidFill>
              </a:rPr>
              <a:t>Hypothesis Testing for Correlation between Variables</a:t>
            </a:r>
            <a:endParaRPr lang="en-SG" sz="3200" err="1">
              <a:solidFill>
                <a:srgbClr val="002060"/>
              </a:solidFill>
            </a:endParaRPr>
          </a:p>
        </p:txBody>
      </p:sp>
      <p:pic>
        <p:nvPicPr>
          <p:cNvPr id="4" name="Picture 4">
            <a:extLst>
              <a:ext uri="{FF2B5EF4-FFF2-40B4-BE49-F238E27FC236}">
                <a16:creationId xmlns:a16="http://schemas.microsoft.com/office/drawing/2014/main" id="{46E58862-E3FD-4841-8757-18ED8AB46909}"/>
              </a:ext>
            </a:extLst>
          </p:cNvPr>
          <p:cNvPicPr>
            <a:picLocks noChangeAspect="1"/>
          </p:cNvPicPr>
          <p:nvPr/>
        </p:nvPicPr>
        <p:blipFill>
          <a:blip r:embed="rId2"/>
          <a:stretch>
            <a:fillRect/>
          </a:stretch>
        </p:blipFill>
        <p:spPr>
          <a:xfrm>
            <a:off x="1470843" y="1007679"/>
            <a:ext cx="8407399" cy="2282387"/>
          </a:xfrm>
          <a:prstGeom prst="rect">
            <a:avLst/>
          </a:prstGeom>
        </p:spPr>
      </p:pic>
      <p:sp>
        <p:nvSpPr>
          <p:cNvPr id="6" name="Text Placeholder 5">
            <a:extLst>
              <a:ext uri="{FF2B5EF4-FFF2-40B4-BE49-F238E27FC236}">
                <a16:creationId xmlns:a16="http://schemas.microsoft.com/office/drawing/2014/main" id="{1C835B3A-380E-4994-B53F-7959A6AC8E61}"/>
              </a:ext>
            </a:extLst>
          </p:cNvPr>
          <p:cNvSpPr>
            <a:spLocks noGrp="1"/>
          </p:cNvSpPr>
          <p:nvPr>
            <p:ph type="body" sz="quarter" idx="10"/>
          </p:nvPr>
        </p:nvSpPr>
        <p:spPr>
          <a:xfrm>
            <a:off x="451600" y="5340150"/>
            <a:ext cx="10764468" cy="1252798"/>
          </a:xfrm>
        </p:spPr>
        <p:txBody>
          <a:bodyPr vert="horz" lIns="0" tIns="0" rIns="0" bIns="0" rtlCol="0" anchor="t">
            <a:noAutofit/>
          </a:bodyPr>
          <a:lstStyle/>
          <a:p>
            <a:r>
              <a:rPr lang="en-US" sz="1800">
                <a:solidFill>
                  <a:srgbClr val="002060"/>
                </a:solidFill>
                <a:ea typeface="+mn-lt"/>
                <a:cs typeface="+mn-lt"/>
              </a:rPr>
              <a:t>Variable flag and Total Riders are correlated if P-Value is less than 0.05</a:t>
            </a:r>
            <a:endParaRPr lang="en-US" sz="1800">
              <a:solidFill>
                <a:srgbClr val="002060"/>
              </a:solidFill>
            </a:endParaRPr>
          </a:p>
          <a:p>
            <a:endParaRPr lang="en-US" sz="1800">
              <a:solidFill>
                <a:srgbClr val="002060"/>
              </a:solidFill>
            </a:endParaRPr>
          </a:p>
          <a:p>
            <a:r>
              <a:rPr lang="en-US" sz="1800">
                <a:solidFill>
                  <a:srgbClr val="002060"/>
                </a:solidFill>
                <a:ea typeface="+mn-lt"/>
                <a:cs typeface="+mn-lt"/>
              </a:rPr>
              <a:t>The variable flag will affect the total ridership if they are correlated.</a:t>
            </a:r>
            <a:endParaRPr lang="en-US" sz="1800">
              <a:solidFill>
                <a:srgbClr val="002060"/>
              </a:solidFill>
            </a:endParaRPr>
          </a:p>
          <a:p>
            <a:pPr>
              <a:buNone/>
            </a:pPr>
            <a:endParaRPr lang="en-US" sz="1800">
              <a:solidFill>
                <a:srgbClr val="002060"/>
              </a:solidFill>
            </a:endParaRPr>
          </a:p>
        </p:txBody>
      </p:sp>
      <p:graphicFrame>
        <p:nvGraphicFramePr>
          <p:cNvPr id="8" name="Table 7">
            <a:extLst>
              <a:ext uri="{FF2B5EF4-FFF2-40B4-BE49-F238E27FC236}">
                <a16:creationId xmlns:a16="http://schemas.microsoft.com/office/drawing/2014/main" id="{BD3CD10A-81F4-4A69-8AAA-07E4E7005A3F}"/>
              </a:ext>
            </a:extLst>
          </p:cNvPr>
          <p:cNvGraphicFramePr>
            <a:graphicFrameLocks noGrp="1"/>
          </p:cNvGraphicFramePr>
          <p:nvPr>
            <p:extLst>
              <p:ext uri="{D42A27DB-BD31-4B8C-83A1-F6EECF244321}">
                <p14:modId xmlns:p14="http://schemas.microsoft.com/office/powerpoint/2010/main" val="462426823"/>
              </p:ext>
            </p:extLst>
          </p:nvPr>
        </p:nvGraphicFramePr>
        <p:xfrm>
          <a:off x="457199" y="3478405"/>
          <a:ext cx="10990558" cy="1594612"/>
        </p:xfrm>
        <a:graphic>
          <a:graphicData uri="http://schemas.openxmlformats.org/drawingml/2006/table">
            <a:tbl>
              <a:tblPr firstRow="1" bandRow="1">
                <a:tableStyleId>{5C22544A-7EE6-4342-B048-85BDC9FD1C3A}</a:tableStyleId>
              </a:tblPr>
              <a:tblGrid>
                <a:gridCol w="1422577">
                  <a:extLst>
                    <a:ext uri="{9D8B030D-6E8A-4147-A177-3AD203B41FA5}">
                      <a16:colId xmlns:a16="http://schemas.microsoft.com/office/drawing/2014/main" val="2174956918"/>
                    </a:ext>
                  </a:extLst>
                </a:gridCol>
                <a:gridCol w="1040586">
                  <a:extLst>
                    <a:ext uri="{9D8B030D-6E8A-4147-A177-3AD203B41FA5}">
                      <a16:colId xmlns:a16="http://schemas.microsoft.com/office/drawing/2014/main" val="2413877519"/>
                    </a:ext>
                  </a:extLst>
                </a:gridCol>
                <a:gridCol w="1224996">
                  <a:extLst>
                    <a:ext uri="{9D8B030D-6E8A-4147-A177-3AD203B41FA5}">
                      <a16:colId xmlns:a16="http://schemas.microsoft.com/office/drawing/2014/main" val="764563891"/>
                    </a:ext>
                  </a:extLst>
                </a:gridCol>
                <a:gridCol w="1224996">
                  <a:extLst>
                    <a:ext uri="{9D8B030D-6E8A-4147-A177-3AD203B41FA5}">
                      <a16:colId xmlns:a16="http://schemas.microsoft.com/office/drawing/2014/main" val="4039934441"/>
                    </a:ext>
                  </a:extLst>
                </a:gridCol>
                <a:gridCol w="1224996">
                  <a:extLst>
                    <a:ext uri="{9D8B030D-6E8A-4147-A177-3AD203B41FA5}">
                      <a16:colId xmlns:a16="http://schemas.microsoft.com/office/drawing/2014/main" val="1916176617"/>
                    </a:ext>
                  </a:extLst>
                </a:gridCol>
                <a:gridCol w="1224996">
                  <a:extLst>
                    <a:ext uri="{9D8B030D-6E8A-4147-A177-3AD203B41FA5}">
                      <a16:colId xmlns:a16="http://schemas.microsoft.com/office/drawing/2014/main" val="142172526"/>
                    </a:ext>
                  </a:extLst>
                </a:gridCol>
                <a:gridCol w="1224996">
                  <a:extLst>
                    <a:ext uri="{9D8B030D-6E8A-4147-A177-3AD203B41FA5}">
                      <a16:colId xmlns:a16="http://schemas.microsoft.com/office/drawing/2014/main" val="2454693205"/>
                    </a:ext>
                  </a:extLst>
                </a:gridCol>
                <a:gridCol w="1174749">
                  <a:extLst>
                    <a:ext uri="{9D8B030D-6E8A-4147-A177-3AD203B41FA5}">
                      <a16:colId xmlns:a16="http://schemas.microsoft.com/office/drawing/2014/main" val="1100605213"/>
                    </a:ext>
                  </a:extLst>
                </a:gridCol>
                <a:gridCol w="1227666">
                  <a:extLst>
                    <a:ext uri="{9D8B030D-6E8A-4147-A177-3AD203B41FA5}">
                      <a16:colId xmlns:a16="http://schemas.microsoft.com/office/drawing/2014/main" val="2625988615"/>
                    </a:ext>
                  </a:extLst>
                </a:gridCol>
              </a:tblGrid>
              <a:tr h="571500">
                <a:tc>
                  <a:txBody>
                    <a:bodyPr/>
                    <a:lstStyle/>
                    <a:p>
                      <a:pPr marL="0" algn="ctr" rtl="0" eaLnBrk="1" latinLnBrk="0" hangingPunct="1">
                        <a:spcBef>
                          <a:spcPts val="0"/>
                        </a:spcBef>
                        <a:spcAft>
                          <a:spcPts val="0"/>
                        </a:spcAft>
                      </a:pPr>
                      <a:r>
                        <a:rPr lang="en-US" sz="1200" kern="1200" err="1">
                          <a:effectLst/>
                        </a:rPr>
                        <a:t>Mannuwhitneyu</a:t>
                      </a:r>
                      <a:r>
                        <a:rPr lang="en-US" sz="1200" kern="1200">
                          <a:effectLst/>
                        </a:rPr>
                        <a:t> test</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Rain flag</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Weekend flag</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Saturday flag</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Sunday flag</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Midweek flag</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Holiday flag</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Weekday Holiday flag</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Weekend Holiday flag</a:t>
                      </a:r>
                      <a:endParaRPr lang="en-US" sz="1200">
                        <a:effectLst/>
                      </a:endParaRPr>
                    </a:p>
                  </a:txBody>
                  <a:tcPr marL="0" marR="0" marT="0" marB="0" anchor="ctr"/>
                </a:tc>
                <a:extLst>
                  <a:ext uri="{0D108BD9-81ED-4DB2-BD59-A6C34878D82A}">
                    <a16:rowId xmlns:a16="http://schemas.microsoft.com/office/drawing/2014/main" val="1772524146"/>
                  </a:ext>
                </a:extLst>
              </a:tr>
              <a:tr h="511556">
                <a:tc>
                  <a:txBody>
                    <a:bodyPr/>
                    <a:lstStyle/>
                    <a:p>
                      <a:pPr marL="0" algn="ctr" rtl="0" eaLnBrk="1" latinLnBrk="0" hangingPunct="1">
                        <a:spcBef>
                          <a:spcPts val="0"/>
                        </a:spcBef>
                        <a:spcAft>
                          <a:spcPts val="0"/>
                        </a:spcAft>
                      </a:pPr>
                      <a:r>
                        <a:rPr lang="en-US" sz="1200" kern="1200">
                          <a:effectLst/>
                        </a:rPr>
                        <a:t>P-Value</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0.00</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0.00</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0.00</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0.00</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0.99</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0.00</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0.00</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0.00</a:t>
                      </a:r>
                      <a:endParaRPr lang="en-US" sz="1200">
                        <a:effectLst/>
                      </a:endParaRPr>
                    </a:p>
                  </a:txBody>
                  <a:tcPr marL="0" marR="0" marT="0" marB="0" anchor="ctr"/>
                </a:tc>
                <a:extLst>
                  <a:ext uri="{0D108BD9-81ED-4DB2-BD59-A6C34878D82A}">
                    <a16:rowId xmlns:a16="http://schemas.microsoft.com/office/drawing/2014/main" val="34260748"/>
                  </a:ext>
                </a:extLst>
              </a:tr>
              <a:tr h="511556">
                <a:tc>
                  <a:txBody>
                    <a:bodyPr/>
                    <a:lstStyle/>
                    <a:p>
                      <a:pPr marL="0" algn="ctr" rtl="0" eaLnBrk="1" latinLnBrk="0" hangingPunct="1">
                        <a:spcBef>
                          <a:spcPts val="0"/>
                        </a:spcBef>
                        <a:spcAft>
                          <a:spcPts val="0"/>
                        </a:spcAft>
                      </a:pPr>
                      <a:r>
                        <a:rPr lang="en-US" sz="1200" kern="1200">
                          <a:effectLst/>
                        </a:rPr>
                        <a:t>Null H0</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Reject</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Reject</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Reject</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Reject</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solidFill>
                            <a:srgbClr val="FF0000"/>
                          </a:solidFill>
                          <a:effectLst/>
                        </a:rPr>
                        <a:t>Accept</a:t>
                      </a:r>
                      <a:endParaRPr lang="en-US" sz="1200">
                        <a:solidFill>
                          <a:srgbClr val="FF0000"/>
                        </a:solidFill>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Reject</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Reject</a:t>
                      </a:r>
                      <a:endParaRPr lang="en-US" sz="1200">
                        <a:effectLst/>
                      </a:endParaRPr>
                    </a:p>
                  </a:txBody>
                  <a:tcPr marL="0" marR="0" marT="0" marB="0" anchor="ctr"/>
                </a:tc>
                <a:tc>
                  <a:txBody>
                    <a:bodyPr/>
                    <a:lstStyle/>
                    <a:p>
                      <a:pPr marL="0" algn="ctr" rtl="0" eaLnBrk="1" latinLnBrk="0" hangingPunct="1">
                        <a:spcBef>
                          <a:spcPts val="0"/>
                        </a:spcBef>
                        <a:spcAft>
                          <a:spcPts val="0"/>
                        </a:spcAft>
                      </a:pPr>
                      <a:r>
                        <a:rPr lang="en-US" sz="1200" kern="1200">
                          <a:effectLst/>
                        </a:rPr>
                        <a:t>Reject</a:t>
                      </a:r>
                      <a:endParaRPr lang="en-US" sz="1200">
                        <a:effectLst/>
                      </a:endParaRPr>
                    </a:p>
                  </a:txBody>
                  <a:tcPr marL="0" marR="0" marT="0" marB="0" anchor="ctr"/>
                </a:tc>
                <a:extLst>
                  <a:ext uri="{0D108BD9-81ED-4DB2-BD59-A6C34878D82A}">
                    <a16:rowId xmlns:a16="http://schemas.microsoft.com/office/drawing/2014/main" val="3464155639"/>
                  </a:ext>
                </a:extLst>
              </a:tr>
            </a:tbl>
          </a:graphicData>
        </a:graphic>
      </p:graphicFrame>
      <p:sp>
        <p:nvSpPr>
          <p:cNvPr id="5" name="Flowchart: Connector 4">
            <a:extLst>
              <a:ext uri="{FF2B5EF4-FFF2-40B4-BE49-F238E27FC236}">
                <a16:creationId xmlns:a16="http://schemas.microsoft.com/office/drawing/2014/main" id="{A1E26808-A725-4784-8277-2918659CAA65}"/>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p>
        </p:txBody>
      </p:sp>
      <p:pic>
        <p:nvPicPr>
          <p:cNvPr id="10" name="Graphic 9" descr="Bar chart">
            <a:extLst>
              <a:ext uri="{FF2B5EF4-FFF2-40B4-BE49-F238E27FC236}">
                <a16:creationId xmlns:a16="http://schemas.microsoft.com/office/drawing/2014/main" id="{F0E86C43-04BE-4069-8197-3FA5A1E628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14721" y="32586"/>
            <a:ext cx="553679" cy="553679"/>
          </a:xfrm>
          <a:prstGeom prst="rect">
            <a:avLst/>
          </a:prstGeom>
        </p:spPr>
      </p:pic>
    </p:spTree>
    <p:extLst>
      <p:ext uri="{BB962C8B-B14F-4D97-AF65-F5344CB8AC3E}">
        <p14:creationId xmlns:p14="http://schemas.microsoft.com/office/powerpoint/2010/main" val="10424307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Connector 1">
            <a:extLst>
              <a:ext uri="{FF2B5EF4-FFF2-40B4-BE49-F238E27FC236}">
                <a16:creationId xmlns:a16="http://schemas.microsoft.com/office/drawing/2014/main" id="{D2AC414D-C8F9-4E07-9D41-5AAD3600E4CA}"/>
              </a:ext>
            </a:extLst>
          </p:cNvPr>
          <p:cNvSpPr>
            <a:spLocks noChangeAspect="1"/>
          </p:cNvSpPr>
          <p:nvPr/>
        </p:nvSpPr>
        <p:spPr>
          <a:xfrm>
            <a:off x="3820357" y="1233749"/>
            <a:ext cx="4017115" cy="3996764"/>
          </a:xfrm>
          <a:prstGeom prst="flowChartConnector">
            <a:avLst/>
          </a:prstGeom>
          <a:noFill/>
          <a:ln w="571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600">
              <a:solidFill>
                <a:srgbClr val="002060"/>
              </a:solidFill>
              <a:ea typeface="+mn-lt"/>
              <a:cs typeface="+mn-lt"/>
            </a:endParaRPr>
          </a:p>
          <a:p>
            <a:pPr algn="ctr"/>
            <a:endParaRPr lang="en-US" sz="3200">
              <a:solidFill>
                <a:srgbClr val="FFFFFF"/>
              </a:solidFill>
              <a:ea typeface="+mn-lt"/>
              <a:cs typeface="+mn-lt"/>
            </a:endParaRPr>
          </a:p>
          <a:p>
            <a:pPr algn="ctr"/>
            <a:r>
              <a:rPr lang="en-US" sz="3200" b="1">
                <a:solidFill>
                  <a:srgbClr val="FFFFFF"/>
                </a:solidFill>
                <a:ea typeface="+mn-lt"/>
                <a:cs typeface="+mn-lt"/>
              </a:rPr>
              <a:t>Appendix:</a:t>
            </a:r>
            <a:endParaRPr lang="en-SG" sz="3200" b="1">
              <a:solidFill>
                <a:srgbClr val="FFFFFF"/>
              </a:solidFill>
              <a:ea typeface="+mn-lt"/>
              <a:cs typeface="+mn-lt"/>
            </a:endParaRPr>
          </a:p>
          <a:p>
            <a:pPr algn="ctr"/>
            <a:r>
              <a:rPr lang="en-US" sz="3200">
                <a:solidFill>
                  <a:srgbClr val="FFFFFF"/>
                </a:solidFill>
                <a:ea typeface="+mn-lt"/>
                <a:cs typeface="+mn-lt"/>
              </a:rPr>
              <a:t>Modelling Test For Daily Prediction </a:t>
            </a:r>
            <a:endParaRPr lang="en-SG" sz="3200">
              <a:ea typeface="+mn-lt"/>
              <a:cs typeface="+mn-lt"/>
            </a:endParaRPr>
          </a:p>
          <a:p>
            <a:pPr algn="ctr"/>
            <a:endParaRPr lang="en-SG" sz="2800" b="1"/>
          </a:p>
        </p:txBody>
      </p:sp>
    </p:spTree>
    <p:extLst>
      <p:ext uri="{BB962C8B-B14F-4D97-AF65-F5344CB8AC3E}">
        <p14:creationId xmlns:p14="http://schemas.microsoft.com/office/powerpoint/2010/main" val="9966980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3493F-F903-4297-A83F-FCC5CC0BF756}"/>
              </a:ext>
            </a:extLst>
          </p:cNvPr>
          <p:cNvSpPr>
            <a:spLocks noGrp="1"/>
          </p:cNvSpPr>
          <p:nvPr>
            <p:ph type="title"/>
          </p:nvPr>
        </p:nvSpPr>
        <p:spPr>
          <a:xfrm>
            <a:off x="547374" y="480325"/>
            <a:ext cx="10256417" cy="601171"/>
          </a:xfrm>
        </p:spPr>
        <p:txBody>
          <a:bodyPr/>
          <a:lstStyle/>
          <a:p>
            <a:r>
              <a:rPr lang="en-US">
                <a:solidFill>
                  <a:srgbClr val="002060"/>
                </a:solidFill>
              </a:rPr>
              <a:t>Preprocessing for Modelling Test for Daily Prediction</a:t>
            </a:r>
          </a:p>
        </p:txBody>
      </p:sp>
      <p:pic>
        <p:nvPicPr>
          <p:cNvPr id="4" name="Picture 4">
            <a:extLst>
              <a:ext uri="{FF2B5EF4-FFF2-40B4-BE49-F238E27FC236}">
                <a16:creationId xmlns:a16="http://schemas.microsoft.com/office/drawing/2014/main" id="{A0243221-DFB5-465E-ADC6-F46920AB8BAD}"/>
              </a:ext>
            </a:extLst>
          </p:cNvPr>
          <p:cNvPicPr>
            <a:picLocks noChangeAspect="1"/>
          </p:cNvPicPr>
          <p:nvPr/>
        </p:nvPicPr>
        <p:blipFill>
          <a:blip r:embed="rId2"/>
          <a:stretch>
            <a:fillRect/>
          </a:stretch>
        </p:blipFill>
        <p:spPr>
          <a:xfrm>
            <a:off x="618104" y="1392359"/>
            <a:ext cx="4134152" cy="3965562"/>
          </a:xfrm>
          <a:prstGeom prst="rect">
            <a:avLst/>
          </a:prstGeom>
        </p:spPr>
      </p:pic>
      <p:sp>
        <p:nvSpPr>
          <p:cNvPr id="5" name="TextBox 4">
            <a:extLst>
              <a:ext uri="{FF2B5EF4-FFF2-40B4-BE49-F238E27FC236}">
                <a16:creationId xmlns:a16="http://schemas.microsoft.com/office/drawing/2014/main" id="{09C603B1-83E3-40C7-AD23-240A45A6713E}"/>
              </a:ext>
            </a:extLst>
          </p:cNvPr>
          <p:cNvSpPr txBox="1"/>
          <p:nvPr/>
        </p:nvSpPr>
        <p:spPr>
          <a:xfrm>
            <a:off x="1602840" y="5567786"/>
            <a:ext cx="2743200"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a:solidFill>
                  <a:schemeClr val="tx1"/>
                </a:solidFill>
              </a:rPr>
              <a:t>TS's ACF &amp; PACF</a:t>
            </a:r>
          </a:p>
        </p:txBody>
      </p:sp>
      <p:pic>
        <p:nvPicPr>
          <p:cNvPr id="6" name="Picture 6">
            <a:extLst>
              <a:ext uri="{FF2B5EF4-FFF2-40B4-BE49-F238E27FC236}">
                <a16:creationId xmlns:a16="http://schemas.microsoft.com/office/drawing/2014/main" id="{0A4441F9-3BF1-4F69-A316-B658D09F3EE0}"/>
              </a:ext>
            </a:extLst>
          </p:cNvPr>
          <p:cNvPicPr>
            <a:picLocks noChangeAspect="1"/>
          </p:cNvPicPr>
          <p:nvPr/>
        </p:nvPicPr>
        <p:blipFill>
          <a:blip r:embed="rId3"/>
          <a:stretch>
            <a:fillRect/>
          </a:stretch>
        </p:blipFill>
        <p:spPr>
          <a:xfrm>
            <a:off x="5014686" y="2142449"/>
            <a:ext cx="6903961" cy="867674"/>
          </a:xfrm>
          <a:prstGeom prst="rect">
            <a:avLst/>
          </a:prstGeom>
        </p:spPr>
      </p:pic>
      <p:pic>
        <p:nvPicPr>
          <p:cNvPr id="7" name="Picture 7" descr="Graphical user interface&#10;&#10;Description automatically generated">
            <a:extLst>
              <a:ext uri="{FF2B5EF4-FFF2-40B4-BE49-F238E27FC236}">
                <a16:creationId xmlns:a16="http://schemas.microsoft.com/office/drawing/2014/main" id="{BAACB8E4-69DD-479F-80D3-67E0293AB487}"/>
              </a:ext>
            </a:extLst>
          </p:cNvPr>
          <p:cNvPicPr>
            <a:picLocks noChangeAspect="1"/>
          </p:cNvPicPr>
          <p:nvPr/>
        </p:nvPicPr>
        <p:blipFill>
          <a:blip r:embed="rId4"/>
          <a:stretch>
            <a:fillRect/>
          </a:stretch>
        </p:blipFill>
        <p:spPr>
          <a:xfrm>
            <a:off x="4908052" y="3164592"/>
            <a:ext cx="4484915" cy="3605107"/>
          </a:xfrm>
          <a:prstGeom prst="rect">
            <a:avLst/>
          </a:prstGeom>
        </p:spPr>
      </p:pic>
      <p:pic>
        <p:nvPicPr>
          <p:cNvPr id="8" name="Picture 8">
            <a:extLst>
              <a:ext uri="{FF2B5EF4-FFF2-40B4-BE49-F238E27FC236}">
                <a16:creationId xmlns:a16="http://schemas.microsoft.com/office/drawing/2014/main" id="{2D9F6303-CB72-4F30-934B-2477D027F983}"/>
              </a:ext>
            </a:extLst>
          </p:cNvPr>
          <p:cNvPicPr>
            <a:picLocks noChangeAspect="1"/>
          </p:cNvPicPr>
          <p:nvPr/>
        </p:nvPicPr>
        <p:blipFill rotWithShape="1">
          <a:blip r:embed="rId5"/>
          <a:srcRect t="3066" r="33151" b="2500"/>
          <a:stretch/>
        </p:blipFill>
        <p:spPr>
          <a:xfrm>
            <a:off x="4962623" y="1325233"/>
            <a:ext cx="4704219" cy="724530"/>
          </a:xfrm>
          <a:prstGeom prst="rect">
            <a:avLst/>
          </a:prstGeom>
        </p:spPr>
      </p:pic>
      <p:sp>
        <p:nvSpPr>
          <p:cNvPr id="9" name="TextBox 8">
            <a:extLst>
              <a:ext uri="{FF2B5EF4-FFF2-40B4-BE49-F238E27FC236}">
                <a16:creationId xmlns:a16="http://schemas.microsoft.com/office/drawing/2014/main" id="{3179ADB1-85CE-4DE6-A4AE-524B8EB2D41D}"/>
              </a:ext>
            </a:extLst>
          </p:cNvPr>
          <p:cNvSpPr txBox="1"/>
          <p:nvPr/>
        </p:nvSpPr>
        <p:spPr>
          <a:xfrm>
            <a:off x="9389176" y="3167156"/>
            <a:ext cx="2356007" cy="95847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TS with Difference Technique &amp; Stationarity Test</a:t>
            </a:r>
          </a:p>
        </p:txBody>
      </p:sp>
      <p:grpSp>
        <p:nvGrpSpPr>
          <p:cNvPr id="3" name="Group 2">
            <a:extLst>
              <a:ext uri="{FF2B5EF4-FFF2-40B4-BE49-F238E27FC236}">
                <a16:creationId xmlns:a16="http://schemas.microsoft.com/office/drawing/2014/main" id="{E9266EB4-E081-4093-AF07-5B4F8ADB0019}"/>
              </a:ext>
            </a:extLst>
          </p:cNvPr>
          <p:cNvGrpSpPr/>
          <p:nvPr/>
        </p:nvGrpSpPr>
        <p:grpSpPr>
          <a:xfrm>
            <a:off x="10931699" y="-199070"/>
            <a:ext cx="1519721" cy="1519870"/>
            <a:chOff x="10931699" y="-199070"/>
            <a:chExt cx="1519721" cy="1519870"/>
          </a:xfrm>
        </p:grpSpPr>
        <p:sp>
          <p:nvSpPr>
            <p:cNvPr id="11" name="Flowchart: Connector 10">
              <a:extLst>
                <a:ext uri="{FF2B5EF4-FFF2-40B4-BE49-F238E27FC236}">
                  <a16:creationId xmlns:a16="http://schemas.microsoft.com/office/drawing/2014/main" id="{36B65383-5444-4D11-ADB0-5EA510031933}"/>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Machine Learning Modelling</a:t>
              </a:r>
              <a:endParaRPr lang="en-SG">
                <a:solidFill>
                  <a:schemeClr val="bg1"/>
                </a:solidFill>
              </a:endParaRPr>
            </a:p>
          </p:txBody>
        </p:sp>
        <p:pic>
          <p:nvPicPr>
            <p:cNvPr id="12" name="Graphic 11" descr="Arrow circle">
              <a:extLst>
                <a:ext uri="{FF2B5EF4-FFF2-40B4-BE49-F238E27FC236}">
                  <a16:creationId xmlns:a16="http://schemas.microsoft.com/office/drawing/2014/main" id="{2BE2E832-E119-4AB1-BAE4-04E27045070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88667" y="-83187"/>
              <a:ext cx="720089" cy="720089"/>
            </a:xfrm>
            <a:prstGeom prst="rect">
              <a:avLst/>
            </a:prstGeom>
          </p:spPr>
        </p:pic>
        <p:pic>
          <p:nvPicPr>
            <p:cNvPr id="13" name="Graphic 12" descr="Single gear">
              <a:extLst>
                <a:ext uri="{FF2B5EF4-FFF2-40B4-BE49-F238E27FC236}">
                  <a16:creationId xmlns:a16="http://schemas.microsoft.com/office/drawing/2014/main" id="{3EA176BD-BB12-40F6-A03F-A78831EB5E1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514733" y="114594"/>
              <a:ext cx="311754" cy="311754"/>
            </a:xfrm>
            <a:prstGeom prst="rect">
              <a:avLst/>
            </a:prstGeom>
          </p:spPr>
        </p:pic>
      </p:grpSp>
    </p:spTree>
    <p:extLst>
      <p:ext uri="{BB962C8B-B14F-4D97-AF65-F5344CB8AC3E}">
        <p14:creationId xmlns:p14="http://schemas.microsoft.com/office/powerpoint/2010/main" val="124085722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9C603B1-83E3-40C7-AD23-240A45A6713E}"/>
              </a:ext>
            </a:extLst>
          </p:cNvPr>
          <p:cNvSpPr txBox="1"/>
          <p:nvPr/>
        </p:nvSpPr>
        <p:spPr>
          <a:xfrm>
            <a:off x="1346476" y="6310840"/>
            <a:ext cx="2743200"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a:solidFill>
                  <a:schemeClr val="tx1"/>
                </a:solidFill>
              </a:rPr>
              <a:t>TS Log Diff's ACF &amp; PACF</a:t>
            </a:r>
          </a:p>
        </p:txBody>
      </p:sp>
      <p:sp>
        <p:nvSpPr>
          <p:cNvPr id="9" name="TextBox 8">
            <a:extLst>
              <a:ext uri="{FF2B5EF4-FFF2-40B4-BE49-F238E27FC236}">
                <a16:creationId xmlns:a16="http://schemas.microsoft.com/office/drawing/2014/main" id="{3179ADB1-85CE-4DE6-A4AE-524B8EB2D41D}"/>
              </a:ext>
            </a:extLst>
          </p:cNvPr>
          <p:cNvSpPr txBox="1"/>
          <p:nvPr/>
        </p:nvSpPr>
        <p:spPr>
          <a:xfrm>
            <a:off x="8509919" y="3074237"/>
            <a:ext cx="2631428" cy="120032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TS Log Transformed with Difference Technique &amp; Stationarity Test</a:t>
            </a:r>
          </a:p>
        </p:txBody>
      </p:sp>
      <p:pic>
        <p:nvPicPr>
          <p:cNvPr id="3" name="Picture 9">
            <a:extLst>
              <a:ext uri="{FF2B5EF4-FFF2-40B4-BE49-F238E27FC236}">
                <a16:creationId xmlns:a16="http://schemas.microsoft.com/office/drawing/2014/main" id="{F490B9E4-E4C6-44FE-92D7-DFF88C9C04E8}"/>
              </a:ext>
            </a:extLst>
          </p:cNvPr>
          <p:cNvPicPr>
            <a:picLocks noChangeAspect="1"/>
          </p:cNvPicPr>
          <p:nvPr/>
        </p:nvPicPr>
        <p:blipFill>
          <a:blip r:embed="rId2"/>
          <a:stretch>
            <a:fillRect/>
          </a:stretch>
        </p:blipFill>
        <p:spPr>
          <a:xfrm>
            <a:off x="741861" y="1595716"/>
            <a:ext cx="3952723" cy="4475348"/>
          </a:xfrm>
          <a:prstGeom prst="rect">
            <a:avLst/>
          </a:prstGeom>
        </p:spPr>
      </p:pic>
      <p:pic>
        <p:nvPicPr>
          <p:cNvPr id="10" name="Picture 10" descr="Text&#10;&#10;Description automatically generated">
            <a:extLst>
              <a:ext uri="{FF2B5EF4-FFF2-40B4-BE49-F238E27FC236}">
                <a16:creationId xmlns:a16="http://schemas.microsoft.com/office/drawing/2014/main" id="{A4589F60-54A0-4840-83C8-3CA2E9115C9D}"/>
              </a:ext>
            </a:extLst>
          </p:cNvPr>
          <p:cNvPicPr>
            <a:picLocks noChangeAspect="1"/>
          </p:cNvPicPr>
          <p:nvPr/>
        </p:nvPicPr>
        <p:blipFill>
          <a:blip r:embed="rId3"/>
          <a:stretch>
            <a:fillRect/>
          </a:stretch>
        </p:blipFill>
        <p:spPr>
          <a:xfrm>
            <a:off x="5060154" y="1459005"/>
            <a:ext cx="4049486" cy="753987"/>
          </a:xfrm>
          <a:prstGeom prst="rect">
            <a:avLst/>
          </a:prstGeom>
        </p:spPr>
      </p:pic>
      <p:pic>
        <p:nvPicPr>
          <p:cNvPr id="11" name="Picture 11" descr="Graphical user interface&#10;&#10;Description automatically generated">
            <a:extLst>
              <a:ext uri="{FF2B5EF4-FFF2-40B4-BE49-F238E27FC236}">
                <a16:creationId xmlns:a16="http://schemas.microsoft.com/office/drawing/2014/main" id="{CF98E824-4F82-4929-9719-C647B13D1C49}"/>
              </a:ext>
            </a:extLst>
          </p:cNvPr>
          <p:cNvPicPr>
            <a:picLocks noChangeAspect="1"/>
          </p:cNvPicPr>
          <p:nvPr/>
        </p:nvPicPr>
        <p:blipFill>
          <a:blip r:embed="rId4"/>
          <a:stretch>
            <a:fillRect/>
          </a:stretch>
        </p:blipFill>
        <p:spPr>
          <a:xfrm>
            <a:off x="5098769" y="3071590"/>
            <a:ext cx="3347961" cy="3617676"/>
          </a:xfrm>
          <a:prstGeom prst="rect">
            <a:avLst/>
          </a:prstGeom>
        </p:spPr>
      </p:pic>
      <p:pic>
        <p:nvPicPr>
          <p:cNvPr id="12" name="Picture 12">
            <a:extLst>
              <a:ext uri="{FF2B5EF4-FFF2-40B4-BE49-F238E27FC236}">
                <a16:creationId xmlns:a16="http://schemas.microsoft.com/office/drawing/2014/main" id="{D9BB96CA-1C75-4A6B-89BF-583AD774395E}"/>
              </a:ext>
            </a:extLst>
          </p:cNvPr>
          <p:cNvPicPr>
            <a:picLocks noChangeAspect="1"/>
          </p:cNvPicPr>
          <p:nvPr/>
        </p:nvPicPr>
        <p:blipFill>
          <a:blip r:embed="rId5"/>
          <a:stretch>
            <a:fillRect/>
          </a:stretch>
        </p:blipFill>
        <p:spPr>
          <a:xfrm>
            <a:off x="5135638" y="2168224"/>
            <a:ext cx="6746723" cy="743552"/>
          </a:xfrm>
          <a:prstGeom prst="rect">
            <a:avLst/>
          </a:prstGeom>
        </p:spPr>
      </p:pic>
      <p:grpSp>
        <p:nvGrpSpPr>
          <p:cNvPr id="4" name="Group 3">
            <a:extLst>
              <a:ext uri="{FF2B5EF4-FFF2-40B4-BE49-F238E27FC236}">
                <a16:creationId xmlns:a16="http://schemas.microsoft.com/office/drawing/2014/main" id="{544D715A-8263-44CD-B9C9-79985E548F45}"/>
              </a:ext>
            </a:extLst>
          </p:cNvPr>
          <p:cNvGrpSpPr/>
          <p:nvPr/>
        </p:nvGrpSpPr>
        <p:grpSpPr>
          <a:xfrm>
            <a:off x="10931699" y="-199070"/>
            <a:ext cx="1519721" cy="1519870"/>
            <a:chOff x="10931699" y="-199070"/>
            <a:chExt cx="1519721" cy="1519870"/>
          </a:xfrm>
        </p:grpSpPr>
        <p:sp>
          <p:nvSpPr>
            <p:cNvPr id="14" name="Flowchart: Connector 13">
              <a:extLst>
                <a:ext uri="{FF2B5EF4-FFF2-40B4-BE49-F238E27FC236}">
                  <a16:creationId xmlns:a16="http://schemas.microsoft.com/office/drawing/2014/main" id="{3F453E07-66A5-4052-A842-80DAA5029195}"/>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Machine Learning Modelling</a:t>
              </a:r>
              <a:endParaRPr lang="en-SG">
                <a:solidFill>
                  <a:schemeClr val="bg1"/>
                </a:solidFill>
              </a:endParaRPr>
            </a:p>
          </p:txBody>
        </p:sp>
        <p:pic>
          <p:nvPicPr>
            <p:cNvPr id="15" name="Graphic 14" descr="Arrow circle">
              <a:extLst>
                <a:ext uri="{FF2B5EF4-FFF2-40B4-BE49-F238E27FC236}">
                  <a16:creationId xmlns:a16="http://schemas.microsoft.com/office/drawing/2014/main" id="{8C9A031E-25FE-4525-989C-49148E096A6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88667" y="-83187"/>
              <a:ext cx="720089" cy="720089"/>
            </a:xfrm>
            <a:prstGeom prst="rect">
              <a:avLst/>
            </a:prstGeom>
          </p:spPr>
        </p:pic>
        <p:pic>
          <p:nvPicPr>
            <p:cNvPr id="16" name="Graphic 15" descr="Single gear">
              <a:extLst>
                <a:ext uri="{FF2B5EF4-FFF2-40B4-BE49-F238E27FC236}">
                  <a16:creationId xmlns:a16="http://schemas.microsoft.com/office/drawing/2014/main" id="{E0E3F087-BE52-4728-B658-13D0DF034AC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514733" y="114594"/>
              <a:ext cx="311754" cy="311754"/>
            </a:xfrm>
            <a:prstGeom prst="rect">
              <a:avLst/>
            </a:prstGeom>
          </p:spPr>
        </p:pic>
      </p:grpSp>
      <p:sp>
        <p:nvSpPr>
          <p:cNvPr id="8" name="Title 1">
            <a:extLst>
              <a:ext uri="{FF2B5EF4-FFF2-40B4-BE49-F238E27FC236}">
                <a16:creationId xmlns:a16="http://schemas.microsoft.com/office/drawing/2014/main" id="{24E0F9B0-3D9B-4F16-8453-BA5E1BEEC67A}"/>
              </a:ext>
            </a:extLst>
          </p:cNvPr>
          <p:cNvSpPr txBox="1">
            <a:spLocks/>
          </p:cNvSpPr>
          <p:nvPr/>
        </p:nvSpPr>
        <p:spPr>
          <a:xfrm>
            <a:off x="574916" y="562951"/>
            <a:ext cx="10192152" cy="4708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a:solidFill>
                  <a:srgbClr val="002060"/>
                </a:solidFill>
              </a:rPr>
              <a:t>Preprocessing for Modelling Test for Daily Prediction</a:t>
            </a:r>
          </a:p>
        </p:txBody>
      </p:sp>
    </p:spTree>
    <p:extLst>
      <p:ext uri="{BB962C8B-B14F-4D97-AF65-F5344CB8AC3E}">
        <p14:creationId xmlns:p14="http://schemas.microsoft.com/office/powerpoint/2010/main" val="143594369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9C603B1-83E3-40C7-AD23-240A45A6713E}"/>
              </a:ext>
            </a:extLst>
          </p:cNvPr>
          <p:cNvSpPr txBox="1"/>
          <p:nvPr/>
        </p:nvSpPr>
        <p:spPr>
          <a:xfrm>
            <a:off x="1796798" y="5791259"/>
            <a:ext cx="2743200"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a:solidFill>
                  <a:schemeClr val="tx1"/>
                </a:solidFill>
              </a:rPr>
              <a:t>TS Diff's ACF &amp; PACF</a:t>
            </a:r>
          </a:p>
        </p:txBody>
      </p:sp>
      <p:sp>
        <p:nvSpPr>
          <p:cNvPr id="9" name="TextBox 8">
            <a:extLst>
              <a:ext uri="{FF2B5EF4-FFF2-40B4-BE49-F238E27FC236}">
                <a16:creationId xmlns:a16="http://schemas.microsoft.com/office/drawing/2014/main" id="{3179ADB1-85CE-4DE6-A4AE-524B8EB2D41D}"/>
              </a:ext>
            </a:extLst>
          </p:cNvPr>
          <p:cNvSpPr txBox="1"/>
          <p:nvPr/>
        </p:nvSpPr>
        <p:spPr>
          <a:xfrm>
            <a:off x="6233099" y="5757666"/>
            <a:ext cx="5000054"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AR Model with TS Diff (No </a:t>
            </a:r>
            <a:r>
              <a:rPr lang="en-US" err="1">
                <a:solidFill>
                  <a:schemeClr val="tx1"/>
                </a:solidFill>
              </a:rPr>
              <a:t>Exog</a:t>
            </a:r>
            <a:r>
              <a:rPr lang="en-US">
                <a:solidFill>
                  <a:schemeClr val="tx1"/>
                </a:solidFill>
              </a:rPr>
              <a:t> Parameters)</a:t>
            </a:r>
          </a:p>
        </p:txBody>
      </p:sp>
      <p:pic>
        <p:nvPicPr>
          <p:cNvPr id="4" name="Picture 5" descr="Chart, line chart&#10;&#10;Description automatically generated">
            <a:extLst>
              <a:ext uri="{FF2B5EF4-FFF2-40B4-BE49-F238E27FC236}">
                <a16:creationId xmlns:a16="http://schemas.microsoft.com/office/drawing/2014/main" id="{71974ED0-949D-4F9C-98BF-F953E32EC188}"/>
              </a:ext>
            </a:extLst>
          </p:cNvPr>
          <p:cNvPicPr>
            <a:picLocks noChangeAspect="1"/>
          </p:cNvPicPr>
          <p:nvPr/>
        </p:nvPicPr>
        <p:blipFill>
          <a:blip r:embed="rId2"/>
          <a:stretch>
            <a:fillRect/>
          </a:stretch>
        </p:blipFill>
        <p:spPr>
          <a:xfrm>
            <a:off x="5889040" y="1494607"/>
            <a:ext cx="5385207" cy="4216924"/>
          </a:xfrm>
          <a:prstGeom prst="rect">
            <a:avLst/>
          </a:prstGeom>
        </p:spPr>
      </p:pic>
      <p:pic>
        <p:nvPicPr>
          <p:cNvPr id="6" name="Picture 6" descr="Graphical user interface, application&#10;&#10;Description automatically generated">
            <a:extLst>
              <a:ext uri="{FF2B5EF4-FFF2-40B4-BE49-F238E27FC236}">
                <a16:creationId xmlns:a16="http://schemas.microsoft.com/office/drawing/2014/main" id="{E3ADEC42-E3A8-473D-AE75-070A05E47158}"/>
              </a:ext>
            </a:extLst>
          </p:cNvPr>
          <p:cNvPicPr>
            <a:picLocks noChangeAspect="1"/>
          </p:cNvPicPr>
          <p:nvPr/>
        </p:nvPicPr>
        <p:blipFill>
          <a:blip r:embed="rId3"/>
          <a:stretch>
            <a:fillRect/>
          </a:stretch>
        </p:blipFill>
        <p:spPr>
          <a:xfrm>
            <a:off x="483634" y="1562070"/>
            <a:ext cx="5271249" cy="4074857"/>
          </a:xfrm>
          <a:prstGeom prst="rect">
            <a:avLst/>
          </a:prstGeom>
        </p:spPr>
      </p:pic>
      <p:grpSp>
        <p:nvGrpSpPr>
          <p:cNvPr id="3" name="Group 2">
            <a:extLst>
              <a:ext uri="{FF2B5EF4-FFF2-40B4-BE49-F238E27FC236}">
                <a16:creationId xmlns:a16="http://schemas.microsoft.com/office/drawing/2014/main" id="{A5AD30ED-255D-4ACB-A147-15B24091BD6C}"/>
              </a:ext>
            </a:extLst>
          </p:cNvPr>
          <p:cNvGrpSpPr/>
          <p:nvPr/>
        </p:nvGrpSpPr>
        <p:grpSpPr>
          <a:xfrm>
            <a:off x="10931699" y="-199070"/>
            <a:ext cx="1519721" cy="1519870"/>
            <a:chOff x="10931699" y="-199070"/>
            <a:chExt cx="1519721" cy="1519870"/>
          </a:xfrm>
        </p:grpSpPr>
        <p:sp>
          <p:nvSpPr>
            <p:cNvPr id="8" name="Flowchart: Connector 7">
              <a:extLst>
                <a:ext uri="{FF2B5EF4-FFF2-40B4-BE49-F238E27FC236}">
                  <a16:creationId xmlns:a16="http://schemas.microsoft.com/office/drawing/2014/main" id="{D8F7EB54-AB03-4E60-976E-88A7E17C27AA}"/>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Machine Learning Modelling</a:t>
              </a:r>
              <a:endParaRPr lang="en-SG">
                <a:solidFill>
                  <a:schemeClr val="bg1"/>
                </a:solidFill>
              </a:endParaRPr>
            </a:p>
          </p:txBody>
        </p:sp>
        <p:pic>
          <p:nvPicPr>
            <p:cNvPr id="10" name="Graphic 9" descr="Arrow circle">
              <a:extLst>
                <a:ext uri="{FF2B5EF4-FFF2-40B4-BE49-F238E27FC236}">
                  <a16:creationId xmlns:a16="http://schemas.microsoft.com/office/drawing/2014/main" id="{D047BCBE-D940-499E-994E-AF003FBDCF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88667" y="-83187"/>
              <a:ext cx="720089" cy="720089"/>
            </a:xfrm>
            <a:prstGeom prst="rect">
              <a:avLst/>
            </a:prstGeom>
          </p:spPr>
        </p:pic>
        <p:pic>
          <p:nvPicPr>
            <p:cNvPr id="11" name="Graphic 10" descr="Single gear">
              <a:extLst>
                <a:ext uri="{FF2B5EF4-FFF2-40B4-BE49-F238E27FC236}">
                  <a16:creationId xmlns:a16="http://schemas.microsoft.com/office/drawing/2014/main" id="{5D7FC90C-096C-4101-BC08-238C43D82C5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514733" y="114594"/>
              <a:ext cx="311754" cy="311754"/>
            </a:xfrm>
            <a:prstGeom prst="rect">
              <a:avLst/>
            </a:prstGeom>
          </p:spPr>
        </p:pic>
      </p:grpSp>
      <p:sp>
        <p:nvSpPr>
          <p:cNvPr id="15" name="Title 1">
            <a:extLst>
              <a:ext uri="{FF2B5EF4-FFF2-40B4-BE49-F238E27FC236}">
                <a16:creationId xmlns:a16="http://schemas.microsoft.com/office/drawing/2014/main" id="{658BFC63-999C-4845-BF27-8CF09DDEF960}"/>
              </a:ext>
            </a:extLst>
          </p:cNvPr>
          <p:cNvSpPr>
            <a:spLocks noGrp="1"/>
          </p:cNvSpPr>
          <p:nvPr>
            <p:ph type="title"/>
          </p:nvPr>
        </p:nvSpPr>
        <p:spPr>
          <a:xfrm>
            <a:off x="574916" y="544590"/>
            <a:ext cx="7306616" cy="941796"/>
          </a:xfrm>
        </p:spPr>
        <p:txBody>
          <a:bodyPr/>
          <a:lstStyle/>
          <a:p>
            <a:r>
              <a:rPr lang="en-US">
                <a:solidFill>
                  <a:srgbClr val="002060"/>
                </a:solidFill>
              </a:rPr>
              <a:t>Modelling Test for Daily Prediction</a:t>
            </a:r>
          </a:p>
        </p:txBody>
      </p:sp>
    </p:spTree>
    <p:extLst>
      <p:ext uri="{BB962C8B-B14F-4D97-AF65-F5344CB8AC3E}">
        <p14:creationId xmlns:p14="http://schemas.microsoft.com/office/powerpoint/2010/main" val="311624491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9C603B1-83E3-40C7-AD23-240A45A6713E}"/>
              </a:ext>
            </a:extLst>
          </p:cNvPr>
          <p:cNvSpPr txBox="1"/>
          <p:nvPr/>
        </p:nvSpPr>
        <p:spPr>
          <a:xfrm>
            <a:off x="1518935" y="6160754"/>
            <a:ext cx="356307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err="1">
                <a:solidFill>
                  <a:schemeClr val="tx1"/>
                </a:solidFill>
              </a:rPr>
              <a:t>Exog</a:t>
            </a:r>
            <a:r>
              <a:rPr lang="en-US">
                <a:solidFill>
                  <a:schemeClr val="tx1"/>
                </a:solidFill>
              </a:rPr>
              <a:t> Variables Tabular Format</a:t>
            </a:r>
          </a:p>
        </p:txBody>
      </p:sp>
      <p:sp>
        <p:nvSpPr>
          <p:cNvPr id="9" name="TextBox 8">
            <a:extLst>
              <a:ext uri="{FF2B5EF4-FFF2-40B4-BE49-F238E27FC236}">
                <a16:creationId xmlns:a16="http://schemas.microsoft.com/office/drawing/2014/main" id="{3179ADB1-85CE-4DE6-A4AE-524B8EB2D41D}"/>
              </a:ext>
            </a:extLst>
          </p:cNvPr>
          <p:cNvSpPr txBox="1"/>
          <p:nvPr/>
        </p:nvSpPr>
        <p:spPr>
          <a:xfrm>
            <a:off x="6678726" y="5570162"/>
            <a:ext cx="5535209"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ARMA Model with TS Diff(With </a:t>
            </a:r>
            <a:r>
              <a:rPr lang="en-US" err="1">
                <a:solidFill>
                  <a:schemeClr val="tx1"/>
                </a:solidFill>
              </a:rPr>
              <a:t>Exog</a:t>
            </a:r>
            <a:r>
              <a:rPr lang="en-US">
                <a:solidFill>
                  <a:schemeClr val="tx1"/>
                </a:solidFill>
              </a:rPr>
              <a:t> Parameters)</a:t>
            </a:r>
          </a:p>
        </p:txBody>
      </p:sp>
      <p:pic>
        <p:nvPicPr>
          <p:cNvPr id="3" name="Picture 6" descr="Table&#10;&#10;Description automatically generated">
            <a:extLst>
              <a:ext uri="{FF2B5EF4-FFF2-40B4-BE49-F238E27FC236}">
                <a16:creationId xmlns:a16="http://schemas.microsoft.com/office/drawing/2014/main" id="{92F2F078-2A64-4F81-AAB6-04F45D935590}"/>
              </a:ext>
            </a:extLst>
          </p:cNvPr>
          <p:cNvPicPr>
            <a:picLocks noChangeAspect="1"/>
          </p:cNvPicPr>
          <p:nvPr/>
        </p:nvPicPr>
        <p:blipFill>
          <a:blip r:embed="rId2"/>
          <a:stretch>
            <a:fillRect/>
          </a:stretch>
        </p:blipFill>
        <p:spPr>
          <a:xfrm>
            <a:off x="317139" y="1392080"/>
            <a:ext cx="6399176" cy="4650736"/>
          </a:xfrm>
          <a:prstGeom prst="rect">
            <a:avLst/>
          </a:prstGeom>
        </p:spPr>
      </p:pic>
      <p:pic>
        <p:nvPicPr>
          <p:cNvPr id="7" name="Picture 7" descr="Chart, line chart&#10;&#10;Description automatically generated">
            <a:extLst>
              <a:ext uri="{FF2B5EF4-FFF2-40B4-BE49-F238E27FC236}">
                <a16:creationId xmlns:a16="http://schemas.microsoft.com/office/drawing/2014/main" id="{32A083E4-1136-43B2-AA61-204C83559131}"/>
              </a:ext>
            </a:extLst>
          </p:cNvPr>
          <p:cNvPicPr>
            <a:picLocks noChangeAspect="1"/>
          </p:cNvPicPr>
          <p:nvPr/>
        </p:nvPicPr>
        <p:blipFill>
          <a:blip r:embed="rId3"/>
          <a:stretch>
            <a:fillRect/>
          </a:stretch>
        </p:blipFill>
        <p:spPr>
          <a:xfrm>
            <a:off x="6948260" y="1669680"/>
            <a:ext cx="5005008" cy="3797864"/>
          </a:xfrm>
          <a:prstGeom prst="rect">
            <a:avLst/>
          </a:prstGeom>
        </p:spPr>
      </p:pic>
      <p:grpSp>
        <p:nvGrpSpPr>
          <p:cNvPr id="4" name="Group 3">
            <a:extLst>
              <a:ext uri="{FF2B5EF4-FFF2-40B4-BE49-F238E27FC236}">
                <a16:creationId xmlns:a16="http://schemas.microsoft.com/office/drawing/2014/main" id="{0EA88A3E-121D-406F-903F-AD39A0C87108}"/>
              </a:ext>
            </a:extLst>
          </p:cNvPr>
          <p:cNvGrpSpPr/>
          <p:nvPr/>
        </p:nvGrpSpPr>
        <p:grpSpPr>
          <a:xfrm>
            <a:off x="10931699" y="-199070"/>
            <a:ext cx="1519721" cy="1519870"/>
            <a:chOff x="10931699" y="-199070"/>
            <a:chExt cx="1519721" cy="1519870"/>
          </a:xfrm>
        </p:grpSpPr>
        <p:sp>
          <p:nvSpPr>
            <p:cNvPr id="10" name="Flowchart: Connector 9">
              <a:extLst>
                <a:ext uri="{FF2B5EF4-FFF2-40B4-BE49-F238E27FC236}">
                  <a16:creationId xmlns:a16="http://schemas.microsoft.com/office/drawing/2014/main" id="{FB88759E-A66D-4BA0-8E09-5E0B54808503}"/>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Machine Learning Modelling</a:t>
              </a:r>
              <a:endParaRPr lang="en-SG">
                <a:solidFill>
                  <a:schemeClr val="bg1"/>
                </a:solidFill>
              </a:endParaRPr>
            </a:p>
          </p:txBody>
        </p:sp>
        <p:pic>
          <p:nvPicPr>
            <p:cNvPr id="11" name="Graphic 10" descr="Arrow circle">
              <a:extLst>
                <a:ext uri="{FF2B5EF4-FFF2-40B4-BE49-F238E27FC236}">
                  <a16:creationId xmlns:a16="http://schemas.microsoft.com/office/drawing/2014/main" id="{D52BFD96-56FB-48AB-89C2-4D47AC734C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88667" y="-83187"/>
              <a:ext cx="720089" cy="720089"/>
            </a:xfrm>
            <a:prstGeom prst="rect">
              <a:avLst/>
            </a:prstGeom>
          </p:spPr>
        </p:pic>
        <p:pic>
          <p:nvPicPr>
            <p:cNvPr id="12" name="Graphic 11" descr="Single gear">
              <a:extLst>
                <a:ext uri="{FF2B5EF4-FFF2-40B4-BE49-F238E27FC236}">
                  <a16:creationId xmlns:a16="http://schemas.microsoft.com/office/drawing/2014/main" id="{B5E6D255-1A4F-44B0-A47C-A7B95150C93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514733" y="114594"/>
              <a:ext cx="311754" cy="311754"/>
            </a:xfrm>
            <a:prstGeom prst="rect">
              <a:avLst/>
            </a:prstGeom>
          </p:spPr>
        </p:pic>
      </p:grpSp>
      <p:sp>
        <p:nvSpPr>
          <p:cNvPr id="15" name="Title 1">
            <a:extLst>
              <a:ext uri="{FF2B5EF4-FFF2-40B4-BE49-F238E27FC236}">
                <a16:creationId xmlns:a16="http://schemas.microsoft.com/office/drawing/2014/main" id="{4873594C-8EC3-4605-881E-C1D16C0B8A73}"/>
              </a:ext>
            </a:extLst>
          </p:cNvPr>
          <p:cNvSpPr txBox="1">
            <a:spLocks/>
          </p:cNvSpPr>
          <p:nvPr/>
        </p:nvSpPr>
        <p:spPr>
          <a:xfrm>
            <a:off x="620354" y="564927"/>
            <a:ext cx="8174717" cy="4708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a:solidFill>
                  <a:srgbClr val="002060"/>
                </a:solidFill>
              </a:rPr>
              <a:t>Modelling Test for Daily Prediction</a:t>
            </a:r>
          </a:p>
        </p:txBody>
      </p:sp>
    </p:spTree>
    <p:extLst>
      <p:ext uri="{BB962C8B-B14F-4D97-AF65-F5344CB8AC3E}">
        <p14:creationId xmlns:p14="http://schemas.microsoft.com/office/powerpoint/2010/main" val="35445933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9C603B1-83E3-40C7-AD23-240A45A6713E}"/>
              </a:ext>
            </a:extLst>
          </p:cNvPr>
          <p:cNvSpPr txBox="1"/>
          <p:nvPr/>
        </p:nvSpPr>
        <p:spPr>
          <a:xfrm>
            <a:off x="621666" y="5992480"/>
            <a:ext cx="5219507"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MA Model With TS Diff (With </a:t>
            </a:r>
            <a:r>
              <a:rPr lang="en-US" err="1">
                <a:solidFill>
                  <a:schemeClr val="tx1"/>
                </a:solidFill>
              </a:rPr>
              <a:t>Exog</a:t>
            </a:r>
            <a:r>
              <a:rPr lang="en-US">
                <a:solidFill>
                  <a:schemeClr val="tx1"/>
                </a:solidFill>
              </a:rPr>
              <a:t> Parameters)</a:t>
            </a:r>
          </a:p>
        </p:txBody>
      </p:sp>
      <p:sp>
        <p:nvSpPr>
          <p:cNvPr id="9" name="TextBox 8">
            <a:extLst>
              <a:ext uri="{FF2B5EF4-FFF2-40B4-BE49-F238E27FC236}">
                <a16:creationId xmlns:a16="http://schemas.microsoft.com/office/drawing/2014/main" id="{3179ADB1-85CE-4DE6-A4AE-524B8EB2D41D}"/>
              </a:ext>
            </a:extLst>
          </p:cNvPr>
          <p:cNvSpPr txBox="1"/>
          <p:nvPr/>
        </p:nvSpPr>
        <p:spPr>
          <a:xfrm>
            <a:off x="6265088" y="6050734"/>
            <a:ext cx="5390525"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ARIMA Model with TS Log (With </a:t>
            </a:r>
            <a:r>
              <a:rPr lang="en-US" err="1">
                <a:solidFill>
                  <a:schemeClr val="tx1"/>
                </a:solidFill>
              </a:rPr>
              <a:t>Exog</a:t>
            </a:r>
            <a:r>
              <a:rPr lang="en-US">
                <a:solidFill>
                  <a:schemeClr val="tx1"/>
                </a:solidFill>
              </a:rPr>
              <a:t> Parameters)</a:t>
            </a:r>
          </a:p>
        </p:txBody>
      </p:sp>
      <p:pic>
        <p:nvPicPr>
          <p:cNvPr id="4" name="Picture 5" descr="Chart, line chart&#10;&#10;Description automatically generated">
            <a:extLst>
              <a:ext uri="{FF2B5EF4-FFF2-40B4-BE49-F238E27FC236}">
                <a16:creationId xmlns:a16="http://schemas.microsoft.com/office/drawing/2014/main" id="{566D1659-13FF-47F8-88C8-68034A0DB9EE}"/>
              </a:ext>
            </a:extLst>
          </p:cNvPr>
          <p:cNvPicPr>
            <a:picLocks noChangeAspect="1"/>
          </p:cNvPicPr>
          <p:nvPr/>
        </p:nvPicPr>
        <p:blipFill>
          <a:blip r:embed="rId2"/>
          <a:stretch>
            <a:fillRect/>
          </a:stretch>
        </p:blipFill>
        <p:spPr>
          <a:xfrm>
            <a:off x="479124" y="1715334"/>
            <a:ext cx="5438753" cy="4157025"/>
          </a:xfrm>
          <a:prstGeom prst="rect">
            <a:avLst/>
          </a:prstGeom>
        </p:spPr>
      </p:pic>
      <p:pic>
        <p:nvPicPr>
          <p:cNvPr id="6" name="Picture 7">
            <a:extLst>
              <a:ext uri="{FF2B5EF4-FFF2-40B4-BE49-F238E27FC236}">
                <a16:creationId xmlns:a16="http://schemas.microsoft.com/office/drawing/2014/main" id="{9A02E292-73CE-41B4-88EF-76B9EA903288}"/>
              </a:ext>
            </a:extLst>
          </p:cNvPr>
          <p:cNvPicPr>
            <a:picLocks noChangeAspect="1"/>
          </p:cNvPicPr>
          <p:nvPr/>
        </p:nvPicPr>
        <p:blipFill>
          <a:blip r:embed="rId3"/>
          <a:stretch>
            <a:fillRect/>
          </a:stretch>
        </p:blipFill>
        <p:spPr>
          <a:xfrm>
            <a:off x="6309795" y="1785303"/>
            <a:ext cx="5221039" cy="4091650"/>
          </a:xfrm>
          <a:prstGeom prst="rect">
            <a:avLst/>
          </a:prstGeom>
        </p:spPr>
      </p:pic>
      <p:grpSp>
        <p:nvGrpSpPr>
          <p:cNvPr id="3" name="Group 2">
            <a:extLst>
              <a:ext uri="{FF2B5EF4-FFF2-40B4-BE49-F238E27FC236}">
                <a16:creationId xmlns:a16="http://schemas.microsoft.com/office/drawing/2014/main" id="{1D469522-D02F-4DCD-8628-F3F045D43F1F}"/>
              </a:ext>
            </a:extLst>
          </p:cNvPr>
          <p:cNvGrpSpPr/>
          <p:nvPr/>
        </p:nvGrpSpPr>
        <p:grpSpPr>
          <a:xfrm>
            <a:off x="10931699" y="-199070"/>
            <a:ext cx="1519721" cy="1519870"/>
            <a:chOff x="10931699" y="-199070"/>
            <a:chExt cx="1519721" cy="1519870"/>
          </a:xfrm>
        </p:grpSpPr>
        <p:sp>
          <p:nvSpPr>
            <p:cNvPr id="8" name="Flowchart: Connector 7">
              <a:extLst>
                <a:ext uri="{FF2B5EF4-FFF2-40B4-BE49-F238E27FC236}">
                  <a16:creationId xmlns:a16="http://schemas.microsoft.com/office/drawing/2014/main" id="{676F2B4C-8FC1-47E1-8C27-4C3B1856401F}"/>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Machine Learning Modelling</a:t>
              </a:r>
              <a:endParaRPr lang="en-SG">
                <a:solidFill>
                  <a:schemeClr val="bg1"/>
                </a:solidFill>
              </a:endParaRPr>
            </a:p>
          </p:txBody>
        </p:sp>
        <p:pic>
          <p:nvPicPr>
            <p:cNvPr id="10" name="Graphic 9" descr="Arrow circle">
              <a:extLst>
                <a:ext uri="{FF2B5EF4-FFF2-40B4-BE49-F238E27FC236}">
                  <a16:creationId xmlns:a16="http://schemas.microsoft.com/office/drawing/2014/main" id="{A81B4593-1899-427A-8116-1AEF9B3679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88667" y="-83187"/>
              <a:ext cx="720089" cy="720089"/>
            </a:xfrm>
            <a:prstGeom prst="rect">
              <a:avLst/>
            </a:prstGeom>
          </p:spPr>
        </p:pic>
        <p:pic>
          <p:nvPicPr>
            <p:cNvPr id="11" name="Graphic 10" descr="Single gear">
              <a:extLst>
                <a:ext uri="{FF2B5EF4-FFF2-40B4-BE49-F238E27FC236}">
                  <a16:creationId xmlns:a16="http://schemas.microsoft.com/office/drawing/2014/main" id="{F45096F8-4115-43EC-ACF5-C2112DB7024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514733" y="114594"/>
              <a:ext cx="311754" cy="311754"/>
            </a:xfrm>
            <a:prstGeom prst="rect">
              <a:avLst/>
            </a:prstGeom>
          </p:spPr>
        </p:pic>
      </p:grpSp>
      <p:sp>
        <p:nvSpPr>
          <p:cNvPr id="15" name="Title 1">
            <a:extLst>
              <a:ext uri="{FF2B5EF4-FFF2-40B4-BE49-F238E27FC236}">
                <a16:creationId xmlns:a16="http://schemas.microsoft.com/office/drawing/2014/main" id="{9555C023-9397-4E75-9856-EB47265A03DE}"/>
              </a:ext>
            </a:extLst>
          </p:cNvPr>
          <p:cNvSpPr txBox="1">
            <a:spLocks/>
          </p:cNvSpPr>
          <p:nvPr/>
        </p:nvSpPr>
        <p:spPr>
          <a:xfrm>
            <a:off x="475671" y="564927"/>
            <a:ext cx="8705223" cy="9417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a:solidFill>
                  <a:srgbClr val="002060"/>
                </a:solidFill>
              </a:rPr>
              <a:t>Modelling Test for Daily Prediction</a:t>
            </a:r>
          </a:p>
          <a:p>
            <a:r>
              <a:rPr lang="en-US">
                <a:solidFill>
                  <a:srgbClr val="002060"/>
                </a:solidFill>
                <a:ea typeface="+mj-lt"/>
                <a:cs typeface="+mj-lt"/>
              </a:rPr>
              <a:t>(Moving Average &amp; Arima)</a:t>
            </a:r>
            <a:endParaRPr lang="en-US"/>
          </a:p>
        </p:txBody>
      </p:sp>
    </p:spTree>
    <p:extLst>
      <p:ext uri="{BB962C8B-B14F-4D97-AF65-F5344CB8AC3E}">
        <p14:creationId xmlns:p14="http://schemas.microsoft.com/office/powerpoint/2010/main" val="136870687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9C603B1-83E3-40C7-AD23-240A45A6713E}"/>
              </a:ext>
            </a:extLst>
          </p:cNvPr>
          <p:cNvSpPr txBox="1"/>
          <p:nvPr/>
        </p:nvSpPr>
        <p:spPr>
          <a:xfrm>
            <a:off x="1344011" y="5825426"/>
            <a:ext cx="3801609"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Auto Arima Model With TS Diff (With </a:t>
            </a:r>
            <a:r>
              <a:rPr lang="en-US" err="1">
                <a:solidFill>
                  <a:schemeClr val="tx1"/>
                </a:solidFill>
              </a:rPr>
              <a:t>Exog</a:t>
            </a:r>
            <a:r>
              <a:rPr lang="en-US">
                <a:solidFill>
                  <a:schemeClr val="tx1"/>
                </a:solidFill>
              </a:rPr>
              <a:t> Parameters)</a:t>
            </a:r>
          </a:p>
        </p:txBody>
      </p:sp>
      <p:sp>
        <p:nvSpPr>
          <p:cNvPr id="9" name="TextBox 8">
            <a:extLst>
              <a:ext uri="{FF2B5EF4-FFF2-40B4-BE49-F238E27FC236}">
                <a16:creationId xmlns:a16="http://schemas.microsoft.com/office/drawing/2014/main" id="{3179ADB1-85CE-4DE6-A4AE-524B8EB2D41D}"/>
              </a:ext>
            </a:extLst>
          </p:cNvPr>
          <p:cNvSpPr txBox="1"/>
          <p:nvPr/>
        </p:nvSpPr>
        <p:spPr>
          <a:xfrm>
            <a:off x="7133190" y="5825425"/>
            <a:ext cx="3808653"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a:solidFill>
                  <a:schemeClr val="tx1"/>
                </a:solidFill>
              </a:rPr>
              <a:t>Auto Sarima Model with TS Log (With </a:t>
            </a:r>
            <a:r>
              <a:rPr lang="en-US" err="1">
                <a:solidFill>
                  <a:schemeClr val="tx1"/>
                </a:solidFill>
              </a:rPr>
              <a:t>Exog</a:t>
            </a:r>
            <a:r>
              <a:rPr lang="en-US">
                <a:solidFill>
                  <a:schemeClr val="tx1"/>
                </a:solidFill>
              </a:rPr>
              <a:t> Parameters)</a:t>
            </a:r>
          </a:p>
        </p:txBody>
      </p:sp>
      <p:pic>
        <p:nvPicPr>
          <p:cNvPr id="3" name="Picture 6" descr="Chart, line chart&#10;&#10;Description automatically generated">
            <a:extLst>
              <a:ext uri="{FF2B5EF4-FFF2-40B4-BE49-F238E27FC236}">
                <a16:creationId xmlns:a16="http://schemas.microsoft.com/office/drawing/2014/main" id="{3A9AAE25-4049-446E-8E70-55A209C4D22D}"/>
              </a:ext>
            </a:extLst>
          </p:cNvPr>
          <p:cNvPicPr>
            <a:picLocks noChangeAspect="1"/>
          </p:cNvPicPr>
          <p:nvPr/>
        </p:nvPicPr>
        <p:blipFill>
          <a:blip r:embed="rId2"/>
          <a:stretch>
            <a:fillRect/>
          </a:stretch>
        </p:blipFill>
        <p:spPr>
          <a:xfrm>
            <a:off x="529955" y="1509795"/>
            <a:ext cx="5425739" cy="4213515"/>
          </a:xfrm>
          <a:prstGeom prst="rect">
            <a:avLst/>
          </a:prstGeom>
        </p:spPr>
      </p:pic>
      <p:pic>
        <p:nvPicPr>
          <p:cNvPr id="7" name="Picture 7" descr="Chart, line chart&#10;&#10;Description automatically generated">
            <a:extLst>
              <a:ext uri="{FF2B5EF4-FFF2-40B4-BE49-F238E27FC236}">
                <a16:creationId xmlns:a16="http://schemas.microsoft.com/office/drawing/2014/main" id="{501F7DE2-8991-44A1-9009-B56CC32D49AD}"/>
              </a:ext>
            </a:extLst>
          </p:cNvPr>
          <p:cNvPicPr>
            <a:picLocks noChangeAspect="1"/>
          </p:cNvPicPr>
          <p:nvPr/>
        </p:nvPicPr>
        <p:blipFill>
          <a:blip r:embed="rId3"/>
          <a:stretch>
            <a:fillRect/>
          </a:stretch>
        </p:blipFill>
        <p:spPr>
          <a:xfrm>
            <a:off x="6280552" y="1505254"/>
            <a:ext cx="5377358" cy="4207898"/>
          </a:xfrm>
          <a:prstGeom prst="rect">
            <a:avLst/>
          </a:prstGeom>
        </p:spPr>
      </p:pic>
      <p:grpSp>
        <p:nvGrpSpPr>
          <p:cNvPr id="4" name="Group 3">
            <a:extLst>
              <a:ext uri="{FF2B5EF4-FFF2-40B4-BE49-F238E27FC236}">
                <a16:creationId xmlns:a16="http://schemas.microsoft.com/office/drawing/2014/main" id="{A54BDC52-FC29-4018-B0D6-87D401425E35}"/>
              </a:ext>
            </a:extLst>
          </p:cNvPr>
          <p:cNvGrpSpPr/>
          <p:nvPr/>
        </p:nvGrpSpPr>
        <p:grpSpPr>
          <a:xfrm>
            <a:off x="10931699" y="-199070"/>
            <a:ext cx="1519721" cy="1519870"/>
            <a:chOff x="10931699" y="-199070"/>
            <a:chExt cx="1519721" cy="1519870"/>
          </a:xfrm>
        </p:grpSpPr>
        <p:sp>
          <p:nvSpPr>
            <p:cNvPr id="10" name="Flowchart: Connector 9">
              <a:extLst>
                <a:ext uri="{FF2B5EF4-FFF2-40B4-BE49-F238E27FC236}">
                  <a16:creationId xmlns:a16="http://schemas.microsoft.com/office/drawing/2014/main" id="{08FAAD1B-2C5C-49A3-9782-7BD05B84E0F1}"/>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Machine Learning Modelling</a:t>
              </a:r>
              <a:endParaRPr lang="en-SG">
                <a:solidFill>
                  <a:schemeClr val="bg1"/>
                </a:solidFill>
              </a:endParaRPr>
            </a:p>
          </p:txBody>
        </p:sp>
        <p:pic>
          <p:nvPicPr>
            <p:cNvPr id="11" name="Graphic 10" descr="Arrow circle">
              <a:extLst>
                <a:ext uri="{FF2B5EF4-FFF2-40B4-BE49-F238E27FC236}">
                  <a16:creationId xmlns:a16="http://schemas.microsoft.com/office/drawing/2014/main" id="{0EBE8769-5769-4D51-BB3F-33A3A9BF78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88667" y="-83187"/>
              <a:ext cx="720089" cy="720089"/>
            </a:xfrm>
            <a:prstGeom prst="rect">
              <a:avLst/>
            </a:prstGeom>
          </p:spPr>
        </p:pic>
        <p:pic>
          <p:nvPicPr>
            <p:cNvPr id="12" name="Graphic 11" descr="Single gear">
              <a:extLst>
                <a:ext uri="{FF2B5EF4-FFF2-40B4-BE49-F238E27FC236}">
                  <a16:creationId xmlns:a16="http://schemas.microsoft.com/office/drawing/2014/main" id="{8058A622-8617-4B9A-A312-9F25E966208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514733" y="114594"/>
              <a:ext cx="311754" cy="311754"/>
            </a:xfrm>
            <a:prstGeom prst="rect">
              <a:avLst/>
            </a:prstGeom>
          </p:spPr>
        </p:pic>
      </p:grpSp>
      <p:sp>
        <p:nvSpPr>
          <p:cNvPr id="15" name="Title 1">
            <a:extLst>
              <a:ext uri="{FF2B5EF4-FFF2-40B4-BE49-F238E27FC236}">
                <a16:creationId xmlns:a16="http://schemas.microsoft.com/office/drawing/2014/main" id="{5FE92ADB-55CC-4BEA-8221-1ACFF22DD1F0}"/>
              </a:ext>
            </a:extLst>
          </p:cNvPr>
          <p:cNvSpPr txBox="1">
            <a:spLocks/>
          </p:cNvSpPr>
          <p:nvPr/>
        </p:nvSpPr>
        <p:spPr>
          <a:xfrm>
            <a:off x="630000" y="391306"/>
            <a:ext cx="8348337" cy="9417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a:solidFill>
                  <a:srgbClr val="002060"/>
                </a:solidFill>
              </a:rPr>
              <a:t>Modelling Test for Daily Prediction</a:t>
            </a:r>
          </a:p>
          <a:p>
            <a:r>
              <a:rPr lang="en-US" sz="3200">
                <a:solidFill>
                  <a:srgbClr val="002060"/>
                </a:solidFill>
              </a:rPr>
              <a:t>(Auto Arima &amp; Auto Sarima)</a:t>
            </a:r>
          </a:p>
        </p:txBody>
      </p:sp>
    </p:spTree>
    <p:extLst>
      <p:ext uri="{BB962C8B-B14F-4D97-AF65-F5344CB8AC3E}">
        <p14:creationId xmlns:p14="http://schemas.microsoft.com/office/powerpoint/2010/main" val="389154865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3493F-F903-4297-A83F-FCC5CC0BF756}"/>
              </a:ext>
            </a:extLst>
          </p:cNvPr>
          <p:cNvSpPr>
            <a:spLocks noGrp="1"/>
          </p:cNvSpPr>
          <p:nvPr>
            <p:ph type="title"/>
          </p:nvPr>
        </p:nvSpPr>
        <p:spPr>
          <a:xfrm>
            <a:off x="630000" y="208040"/>
            <a:ext cx="10933350" cy="941796"/>
          </a:xfrm>
        </p:spPr>
        <p:txBody>
          <a:bodyPr/>
          <a:lstStyle/>
          <a:p>
            <a:r>
              <a:rPr lang="en-US">
                <a:solidFill>
                  <a:srgbClr val="002060"/>
                </a:solidFill>
                <a:ea typeface="+mj-lt"/>
                <a:cs typeface="+mj-lt"/>
              </a:rPr>
              <a:t>Modelling Test for Daily Prediction</a:t>
            </a:r>
            <a:endParaRPr lang="en-US">
              <a:ea typeface="+mj-lt"/>
              <a:cs typeface="+mj-lt"/>
            </a:endParaRPr>
          </a:p>
          <a:p>
            <a:r>
              <a:rPr lang="en-US">
                <a:solidFill>
                  <a:srgbClr val="002060"/>
                </a:solidFill>
                <a:ea typeface="+mj-lt"/>
                <a:cs typeface="+mj-lt"/>
              </a:rPr>
              <a:t>(Tune </a:t>
            </a:r>
            <a:r>
              <a:rPr lang="en-US" err="1">
                <a:solidFill>
                  <a:srgbClr val="002060"/>
                </a:solidFill>
                <a:ea typeface="+mj-lt"/>
                <a:cs typeface="+mj-lt"/>
              </a:rPr>
              <a:t>Sarimax</a:t>
            </a:r>
            <a:r>
              <a:rPr lang="en-US">
                <a:solidFill>
                  <a:srgbClr val="002060"/>
                </a:solidFill>
                <a:ea typeface="+mj-lt"/>
                <a:cs typeface="+mj-lt"/>
              </a:rPr>
              <a:t> &amp; Tune Sarima)</a:t>
            </a:r>
          </a:p>
        </p:txBody>
      </p:sp>
      <p:sp>
        <p:nvSpPr>
          <p:cNvPr id="5" name="TextBox 4">
            <a:extLst>
              <a:ext uri="{FF2B5EF4-FFF2-40B4-BE49-F238E27FC236}">
                <a16:creationId xmlns:a16="http://schemas.microsoft.com/office/drawing/2014/main" id="{09C603B1-83E3-40C7-AD23-240A45A6713E}"/>
              </a:ext>
            </a:extLst>
          </p:cNvPr>
          <p:cNvSpPr txBox="1"/>
          <p:nvPr/>
        </p:nvSpPr>
        <p:spPr>
          <a:xfrm>
            <a:off x="786099" y="5929143"/>
            <a:ext cx="4762950" cy="83099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a:solidFill>
                  <a:schemeClr val="tx1"/>
                </a:solidFill>
              </a:rPr>
              <a:t>Example of Tune SARIMAX Model With Ts Log, Different Combination of PDQ, Seasonal PDQ (With </a:t>
            </a:r>
            <a:r>
              <a:rPr lang="en-US" sz="1600" err="1">
                <a:solidFill>
                  <a:schemeClr val="tx1"/>
                </a:solidFill>
              </a:rPr>
              <a:t>Exog</a:t>
            </a:r>
            <a:r>
              <a:rPr lang="en-US" sz="1600">
                <a:solidFill>
                  <a:schemeClr val="tx1"/>
                </a:solidFill>
              </a:rPr>
              <a:t> Parameters)</a:t>
            </a:r>
          </a:p>
        </p:txBody>
      </p:sp>
      <p:sp>
        <p:nvSpPr>
          <p:cNvPr id="9" name="TextBox 8">
            <a:extLst>
              <a:ext uri="{FF2B5EF4-FFF2-40B4-BE49-F238E27FC236}">
                <a16:creationId xmlns:a16="http://schemas.microsoft.com/office/drawing/2014/main" id="{3179ADB1-85CE-4DE6-A4AE-524B8EB2D41D}"/>
              </a:ext>
            </a:extLst>
          </p:cNvPr>
          <p:cNvSpPr txBox="1"/>
          <p:nvPr/>
        </p:nvSpPr>
        <p:spPr>
          <a:xfrm>
            <a:off x="6602684" y="5962304"/>
            <a:ext cx="4146247" cy="58477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a:solidFill>
                  <a:schemeClr val="tx1"/>
                </a:solidFill>
              </a:rPr>
              <a:t>Tune Sarima Model with TS Log</a:t>
            </a:r>
          </a:p>
          <a:p>
            <a:pPr algn="ctr"/>
            <a:r>
              <a:rPr lang="en-US" sz="1600">
                <a:solidFill>
                  <a:schemeClr val="tx1"/>
                </a:solidFill>
              </a:rPr>
              <a:t>(With </a:t>
            </a:r>
            <a:r>
              <a:rPr lang="en-US" sz="1600" err="1">
                <a:solidFill>
                  <a:schemeClr val="tx1"/>
                </a:solidFill>
              </a:rPr>
              <a:t>Exog</a:t>
            </a:r>
            <a:r>
              <a:rPr lang="en-US" sz="1600">
                <a:solidFill>
                  <a:schemeClr val="tx1"/>
                </a:solidFill>
              </a:rPr>
              <a:t> Parameters)</a:t>
            </a:r>
          </a:p>
        </p:txBody>
      </p:sp>
      <p:pic>
        <p:nvPicPr>
          <p:cNvPr id="4" name="Picture 5" descr="Graphical user interface, text, application&#10;&#10;Description automatically generated">
            <a:extLst>
              <a:ext uri="{FF2B5EF4-FFF2-40B4-BE49-F238E27FC236}">
                <a16:creationId xmlns:a16="http://schemas.microsoft.com/office/drawing/2014/main" id="{79B30297-A01B-430C-8EB8-745A3D069B7F}"/>
              </a:ext>
            </a:extLst>
          </p:cNvPr>
          <p:cNvPicPr>
            <a:picLocks noChangeAspect="1"/>
          </p:cNvPicPr>
          <p:nvPr/>
        </p:nvPicPr>
        <p:blipFill>
          <a:blip r:embed="rId2"/>
          <a:stretch>
            <a:fillRect/>
          </a:stretch>
        </p:blipFill>
        <p:spPr>
          <a:xfrm>
            <a:off x="478818" y="3348503"/>
            <a:ext cx="5186438" cy="2538244"/>
          </a:xfrm>
          <a:prstGeom prst="rect">
            <a:avLst/>
          </a:prstGeom>
        </p:spPr>
      </p:pic>
      <p:pic>
        <p:nvPicPr>
          <p:cNvPr id="6" name="Picture 7">
            <a:extLst>
              <a:ext uri="{FF2B5EF4-FFF2-40B4-BE49-F238E27FC236}">
                <a16:creationId xmlns:a16="http://schemas.microsoft.com/office/drawing/2014/main" id="{4A08CA56-0F2C-4842-8FB2-31B02C4CC1C2}"/>
              </a:ext>
            </a:extLst>
          </p:cNvPr>
          <p:cNvPicPr>
            <a:picLocks noChangeAspect="1"/>
          </p:cNvPicPr>
          <p:nvPr/>
        </p:nvPicPr>
        <p:blipFill>
          <a:blip r:embed="rId3"/>
          <a:stretch>
            <a:fillRect/>
          </a:stretch>
        </p:blipFill>
        <p:spPr>
          <a:xfrm>
            <a:off x="474837" y="1232750"/>
            <a:ext cx="5071609" cy="2050923"/>
          </a:xfrm>
          <a:prstGeom prst="rect">
            <a:avLst/>
          </a:prstGeom>
        </p:spPr>
      </p:pic>
      <p:pic>
        <p:nvPicPr>
          <p:cNvPr id="8" name="Picture 9" descr="Chart, line chart&#10;&#10;Description automatically generated">
            <a:extLst>
              <a:ext uri="{FF2B5EF4-FFF2-40B4-BE49-F238E27FC236}">
                <a16:creationId xmlns:a16="http://schemas.microsoft.com/office/drawing/2014/main" id="{6CC0388A-2FEB-46B2-970B-B498ED898DF7}"/>
              </a:ext>
            </a:extLst>
          </p:cNvPr>
          <p:cNvPicPr>
            <a:picLocks noChangeAspect="1"/>
          </p:cNvPicPr>
          <p:nvPr/>
        </p:nvPicPr>
        <p:blipFill>
          <a:blip r:embed="rId4"/>
          <a:stretch>
            <a:fillRect/>
          </a:stretch>
        </p:blipFill>
        <p:spPr>
          <a:xfrm>
            <a:off x="5984295" y="1494418"/>
            <a:ext cx="5476723" cy="4330467"/>
          </a:xfrm>
          <a:prstGeom prst="rect">
            <a:avLst/>
          </a:prstGeom>
        </p:spPr>
      </p:pic>
      <p:grpSp>
        <p:nvGrpSpPr>
          <p:cNvPr id="3" name="Group 2">
            <a:extLst>
              <a:ext uri="{FF2B5EF4-FFF2-40B4-BE49-F238E27FC236}">
                <a16:creationId xmlns:a16="http://schemas.microsoft.com/office/drawing/2014/main" id="{A5CB7353-8154-4FEC-A0E5-512671A7A8F9}"/>
              </a:ext>
            </a:extLst>
          </p:cNvPr>
          <p:cNvGrpSpPr/>
          <p:nvPr/>
        </p:nvGrpSpPr>
        <p:grpSpPr>
          <a:xfrm>
            <a:off x="10931699" y="-199070"/>
            <a:ext cx="1519721" cy="1519870"/>
            <a:chOff x="10931699" y="-199070"/>
            <a:chExt cx="1519721" cy="1519870"/>
          </a:xfrm>
        </p:grpSpPr>
        <p:sp>
          <p:nvSpPr>
            <p:cNvPr id="11" name="Flowchart: Connector 10">
              <a:extLst>
                <a:ext uri="{FF2B5EF4-FFF2-40B4-BE49-F238E27FC236}">
                  <a16:creationId xmlns:a16="http://schemas.microsoft.com/office/drawing/2014/main" id="{6DAA3297-58FF-41FD-9020-8BF237F00F1A}"/>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Machine Learning Modelling</a:t>
              </a:r>
              <a:endParaRPr lang="en-SG">
                <a:solidFill>
                  <a:schemeClr val="bg1"/>
                </a:solidFill>
              </a:endParaRPr>
            </a:p>
          </p:txBody>
        </p:sp>
        <p:pic>
          <p:nvPicPr>
            <p:cNvPr id="12" name="Graphic 11" descr="Arrow circle">
              <a:extLst>
                <a:ext uri="{FF2B5EF4-FFF2-40B4-BE49-F238E27FC236}">
                  <a16:creationId xmlns:a16="http://schemas.microsoft.com/office/drawing/2014/main" id="{F9B95713-815D-4A61-AA1B-DE0BEF4C21C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88667" y="-83187"/>
              <a:ext cx="720089" cy="720089"/>
            </a:xfrm>
            <a:prstGeom prst="rect">
              <a:avLst/>
            </a:prstGeom>
          </p:spPr>
        </p:pic>
        <p:pic>
          <p:nvPicPr>
            <p:cNvPr id="13" name="Graphic 12" descr="Single gear">
              <a:extLst>
                <a:ext uri="{FF2B5EF4-FFF2-40B4-BE49-F238E27FC236}">
                  <a16:creationId xmlns:a16="http://schemas.microsoft.com/office/drawing/2014/main" id="{2219FA0D-B3D4-4932-AD41-99CB4FC40F5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514733" y="114594"/>
              <a:ext cx="311754" cy="311754"/>
            </a:xfrm>
            <a:prstGeom prst="rect">
              <a:avLst/>
            </a:prstGeom>
          </p:spPr>
        </p:pic>
      </p:grpSp>
    </p:spTree>
    <p:extLst>
      <p:ext uri="{BB962C8B-B14F-4D97-AF65-F5344CB8AC3E}">
        <p14:creationId xmlns:p14="http://schemas.microsoft.com/office/powerpoint/2010/main" val="4953258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A2505BE-1A50-4419-9F3A-26EF66EDBF4F}"/>
              </a:ext>
            </a:extLst>
          </p:cNvPr>
          <p:cNvSpPr txBox="1"/>
          <p:nvPr/>
        </p:nvSpPr>
        <p:spPr>
          <a:xfrm>
            <a:off x="689610" y="2828835"/>
            <a:ext cx="10812780" cy="107721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spAutoFit/>
          </a:bodyPr>
          <a:lstStyle/>
          <a:p>
            <a:pPr marL="342900" indent="-342900" algn="ctr"/>
            <a:r>
              <a:rPr lang="en-US" sz="3200" b="1">
                <a:solidFill>
                  <a:schemeClr val="bg1"/>
                </a:solidFill>
                <a:ea typeface="+mn-lt"/>
                <a:cs typeface="+mn-lt"/>
              </a:rPr>
              <a:t>How might we provide better allocation of buses to bus stops to cater to ridership demand? </a:t>
            </a:r>
          </a:p>
        </p:txBody>
      </p:sp>
    </p:spTree>
    <p:extLst>
      <p:ext uri="{BB962C8B-B14F-4D97-AF65-F5344CB8AC3E}">
        <p14:creationId xmlns:p14="http://schemas.microsoft.com/office/powerpoint/2010/main" val="206752129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3493F-F903-4297-A83F-FCC5CC0BF756}"/>
              </a:ext>
            </a:extLst>
          </p:cNvPr>
          <p:cNvSpPr>
            <a:spLocks noGrp="1"/>
          </p:cNvSpPr>
          <p:nvPr>
            <p:ph type="title"/>
          </p:nvPr>
        </p:nvSpPr>
        <p:spPr>
          <a:xfrm>
            <a:off x="630000" y="439534"/>
            <a:ext cx="10933350" cy="941796"/>
          </a:xfrm>
        </p:spPr>
        <p:txBody>
          <a:bodyPr/>
          <a:lstStyle/>
          <a:p>
            <a:r>
              <a:rPr lang="en-US">
                <a:solidFill>
                  <a:srgbClr val="002060"/>
                </a:solidFill>
                <a:ea typeface="+mj-lt"/>
                <a:cs typeface="+mj-lt"/>
              </a:rPr>
              <a:t>Modelling Test for Daily Prediction</a:t>
            </a:r>
          </a:p>
          <a:p>
            <a:r>
              <a:rPr lang="en-US">
                <a:solidFill>
                  <a:srgbClr val="002060"/>
                </a:solidFill>
                <a:ea typeface="+mj-lt"/>
                <a:cs typeface="+mj-lt"/>
              </a:rPr>
              <a:t>(Sarimax)</a:t>
            </a:r>
          </a:p>
        </p:txBody>
      </p:sp>
      <p:sp>
        <p:nvSpPr>
          <p:cNvPr id="9" name="TextBox 8">
            <a:extLst>
              <a:ext uri="{FF2B5EF4-FFF2-40B4-BE49-F238E27FC236}">
                <a16:creationId xmlns:a16="http://schemas.microsoft.com/office/drawing/2014/main" id="{3179ADB1-85CE-4DE6-A4AE-524B8EB2D41D}"/>
              </a:ext>
            </a:extLst>
          </p:cNvPr>
          <p:cNvSpPr txBox="1"/>
          <p:nvPr/>
        </p:nvSpPr>
        <p:spPr>
          <a:xfrm>
            <a:off x="859129" y="1534311"/>
            <a:ext cx="5737765"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err="1">
                <a:solidFill>
                  <a:schemeClr val="tx1"/>
                </a:solidFill>
              </a:rPr>
              <a:t>Sarimax</a:t>
            </a:r>
            <a:r>
              <a:rPr lang="en-US">
                <a:solidFill>
                  <a:schemeClr val="tx1"/>
                </a:solidFill>
              </a:rPr>
              <a:t> Model with TS Log(With </a:t>
            </a:r>
            <a:r>
              <a:rPr lang="en-US" err="1">
                <a:solidFill>
                  <a:schemeClr val="tx1"/>
                </a:solidFill>
              </a:rPr>
              <a:t>Exog</a:t>
            </a:r>
            <a:r>
              <a:rPr lang="en-US">
                <a:solidFill>
                  <a:schemeClr val="tx1"/>
                </a:solidFill>
              </a:rPr>
              <a:t> Parameters)</a:t>
            </a:r>
          </a:p>
        </p:txBody>
      </p:sp>
      <p:pic>
        <p:nvPicPr>
          <p:cNvPr id="3" name="Picture 6" descr="Chart, line chart&#10;&#10;Description automatically generated">
            <a:extLst>
              <a:ext uri="{FF2B5EF4-FFF2-40B4-BE49-F238E27FC236}">
                <a16:creationId xmlns:a16="http://schemas.microsoft.com/office/drawing/2014/main" id="{3E9A0F2D-BAD5-4289-9F34-C4D0E3B67FD8}"/>
              </a:ext>
            </a:extLst>
          </p:cNvPr>
          <p:cNvPicPr>
            <a:picLocks noChangeAspect="1"/>
          </p:cNvPicPr>
          <p:nvPr/>
        </p:nvPicPr>
        <p:blipFill>
          <a:blip r:embed="rId2"/>
          <a:stretch>
            <a:fillRect/>
          </a:stretch>
        </p:blipFill>
        <p:spPr>
          <a:xfrm>
            <a:off x="743381" y="1967389"/>
            <a:ext cx="5851676" cy="4532808"/>
          </a:xfrm>
          <a:prstGeom prst="rect">
            <a:avLst/>
          </a:prstGeom>
        </p:spPr>
      </p:pic>
      <p:grpSp>
        <p:nvGrpSpPr>
          <p:cNvPr id="4" name="Group 3">
            <a:extLst>
              <a:ext uri="{FF2B5EF4-FFF2-40B4-BE49-F238E27FC236}">
                <a16:creationId xmlns:a16="http://schemas.microsoft.com/office/drawing/2014/main" id="{0A6152A0-0A9D-4C47-A39C-AAF6B9D6B44A}"/>
              </a:ext>
            </a:extLst>
          </p:cNvPr>
          <p:cNvGrpSpPr/>
          <p:nvPr/>
        </p:nvGrpSpPr>
        <p:grpSpPr>
          <a:xfrm>
            <a:off x="10931699" y="-199070"/>
            <a:ext cx="1519721" cy="1519870"/>
            <a:chOff x="10931699" y="-199070"/>
            <a:chExt cx="1519721" cy="1519870"/>
          </a:xfrm>
        </p:grpSpPr>
        <p:sp>
          <p:nvSpPr>
            <p:cNvPr id="6" name="Flowchart: Connector 5">
              <a:extLst>
                <a:ext uri="{FF2B5EF4-FFF2-40B4-BE49-F238E27FC236}">
                  <a16:creationId xmlns:a16="http://schemas.microsoft.com/office/drawing/2014/main" id="{1007201C-E745-4AFB-8106-B35EC0418EDB}"/>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Machine Learning Modelling</a:t>
              </a:r>
              <a:endParaRPr lang="en-SG">
                <a:solidFill>
                  <a:schemeClr val="bg1"/>
                </a:solidFill>
              </a:endParaRPr>
            </a:p>
          </p:txBody>
        </p:sp>
        <p:pic>
          <p:nvPicPr>
            <p:cNvPr id="7" name="Graphic 6" descr="Arrow circle">
              <a:extLst>
                <a:ext uri="{FF2B5EF4-FFF2-40B4-BE49-F238E27FC236}">
                  <a16:creationId xmlns:a16="http://schemas.microsoft.com/office/drawing/2014/main" id="{B793B4DF-AF20-47FA-AB47-D476B8F8F30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88667" y="-83187"/>
              <a:ext cx="720089" cy="720089"/>
            </a:xfrm>
            <a:prstGeom prst="rect">
              <a:avLst/>
            </a:prstGeom>
          </p:spPr>
        </p:pic>
        <p:pic>
          <p:nvPicPr>
            <p:cNvPr id="8" name="Graphic 7" descr="Single gear">
              <a:extLst>
                <a:ext uri="{FF2B5EF4-FFF2-40B4-BE49-F238E27FC236}">
                  <a16:creationId xmlns:a16="http://schemas.microsoft.com/office/drawing/2014/main" id="{0C834731-5760-4145-9DB3-A1FB8FC414D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514733" y="114594"/>
              <a:ext cx="311754" cy="311754"/>
            </a:xfrm>
            <a:prstGeom prst="rect">
              <a:avLst/>
            </a:prstGeom>
          </p:spPr>
        </p:pic>
      </p:grpSp>
    </p:spTree>
    <p:extLst>
      <p:ext uri="{BB962C8B-B14F-4D97-AF65-F5344CB8AC3E}">
        <p14:creationId xmlns:p14="http://schemas.microsoft.com/office/powerpoint/2010/main" val="3710587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Connector 1">
            <a:extLst>
              <a:ext uri="{FF2B5EF4-FFF2-40B4-BE49-F238E27FC236}">
                <a16:creationId xmlns:a16="http://schemas.microsoft.com/office/drawing/2014/main" id="{D2AC414D-C8F9-4E07-9D41-5AAD3600E4CA}"/>
              </a:ext>
            </a:extLst>
          </p:cNvPr>
          <p:cNvSpPr>
            <a:spLocks noChangeAspect="1"/>
          </p:cNvSpPr>
          <p:nvPr/>
        </p:nvSpPr>
        <p:spPr>
          <a:xfrm>
            <a:off x="3820357" y="1233749"/>
            <a:ext cx="4017115" cy="3996764"/>
          </a:xfrm>
          <a:prstGeom prst="flowChartConnector">
            <a:avLst/>
          </a:prstGeom>
          <a:noFill/>
          <a:ln w="571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600">
              <a:solidFill>
                <a:srgbClr val="002060"/>
              </a:solidFill>
              <a:ea typeface="+mn-lt"/>
              <a:cs typeface="+mn-lt"/>
            </a:endParaRPr>
          </a:p>
          <a:p>
            <a:pPr algn="ctr"/>
            <a:endParaRPr lang="en-US" sz="3200">
              <a:solidFill>
                <a:srgbClr val="FFFFFF"/>
              </a:solidFill>
              <a:ea typeface="+mn-lt"/>
              <a:cs typeface="+mn-lt"/>
            </a:endParaRPr>
          </a:p>
          <a:p>
            <a:pPr algn="ctr"/>
            <a:r>
              <a:rPr lang="en-US" sz="3200" b="1">
                <a:solidFill>
                  <a:srgbClr val="FFFFFF"/>
                </a:solidFill>
                <a:ea typeface="+mn-lt"/>
                <a:cs typeface="+mn-lt"/>
              </a:rPr>
              <a:t>Appendix:</a:t>
            </a:r>
            <a:endParaRPr lang="en-SG" sz="3200" b="1">
              <a:solidFill>
                <a:srgbClr val="FFFFFF"/>
              </a:solidFill>
              <a:ea typeface="+mn-lt"/>
              <a:cs typeface="+mn-lt"/>
            </a:endParaRPr>
          </a:p>
          <a:p>
            <a:pPr algn="ctr"/>
            <a:r>
              <a:rPr lang="en-US" sz="3200">
                <a:solidFill>
                  <a:srgbClr val="FFFFFF"/>
                </a:solidFill>
                <a:ea typeface="+mn-lt"/>
                <a:cs typeface="+mn-lt"/>
              </a:rPr>
              <a:t>Modelling Test For Hourly Prediction </a:t>
            </a:r>
            <a:endParaRPr lang="en-SG" sz="3200">
              <a:ea typeface="+mn-lt"/>
              <a:cs typeface="+mn-lt"/>
            </a:endParaRPr>
          </a:p>
          <a:p>
            <a:pPr algn="ctr"/>
            <a:endParaRPr lang="en-SG" sz="2800" b="1"/>
          </a:p>
        </p:txBody>
      </p:sp>
    </p:spTree>
    <p:extLst>
      <p:ext uri="{BB962C8B-B14F-4D97-AF65-F5344CB8AC3E}">
        <p14:creationId xmlns:p14="http://schemas.microsoft.com/office/powerpoint/2010/main" val="6946462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C9826-9E79-4999-9783-F530944DD31E}"/>
              </a:ext>
            </a:extLst>
          </p:cNvPr>
          <p:cNvSpPr>
            <a:spLocks noGrp="1"/>
          </p:cNvSpPr>
          <p:nvPr>
            <p:ph type="title"/>
          </p:nvPr>
        </p:nvSpPr>
        <p:spPr>
          <a:xfrm>
            <a:off x="442849" y="183258"/>
            <a:ext cx="9161915" cy="941796"/>
          </a:xfrm>
        </p:spPr>
        <p:txBody>
          <a:bodyPr/>
          <a:lstStyle/>
          <a:p>
            <a:r>
              <a:rPr lang="en-US">
                <a:solidFill>
                  <a:srgbClr val="002060"/>
                </a:solidFill>
              </a:rPr>
              <a:t>Preprocessing for Modelling Test </a:t>
            </a:r>
            <a:br>
              <a:rPr lang="en-US">
                <a:solidFill>
                  <a:srgbClr val="002060"/>
                </a:solidFill>
              </a:rPr>
            </a:br>
            <a:r>
              <a:rPr lang="en-US">
                <a:solidFill>
                  <a:srgbClr val="002060"/>
                </a:solidFill>
              </a:rPr>
              <a:t>for Hourly Prediction</a:t>
            </a:r>
            <a:endParaRPr lang="en-US">
              <a:ea typeface="+mj-lt"/>
              <a:cs typeface="+mj-lt"/>
            </a:endParaRPr>
          </a:p>
        </p:txBody>
      </p:sp>
      <p:pic>
        <p:nvPicPr>
          <p:cNvPr id="3" name="Picture 3" descr="Chart, histogram&#10;&#10;Description automatically generated">
            <a:extLst>
              <a:ext uri="{FF2B5EF4-FFF2-40B4-BE49-F238E27FC236}">
                <a16:creationId xmlns:a16="http://schemas.microsoft.com/office/drawing/2014/main" id="{20B35CB3-36DD-49EE-954D-E122673D5070}"/>
              </a:ext>
            </a:extLst>
          </p:cNvPr>
          <p:cNvPicPr>
            <a:picLocks noChangeAspect="1"/>
          </p:cNvPicPr>
          <p:nvPr/>
        </p:nvPicPr>
        <p:blipFill>
          <a:blip r:embed="rId2"/>
          <a:stretch>
            <a:fillRect/>
          </a:stretch>
        </p:blipFill>
        <p:spPr>
          <a:xfrm>
            <a:off x="442590" y="1328733"/>
            <a:ext cx="5287353" cy="5097648"/>
          </a:xfrm>
          <a:prstGeom prst="rect">
            <a:avLst/>
          </a:prstGeom>
        </p:spPr>
      </p:pic>
      <p:pic>
        <p:nvPicPr>
          <p:cNvPr id="4" name="Picture 4" descr="A picture containing graphical user interface&#10;&#10;Description automatically generated">
            <a:extLst>
              <a:ext uri="{FF2B5EF4-FFF2-40B4-BE49-F238E27FC236}">
                <a16:creationId xmlns:a16="http://schemas.microsoft.com/office/drawing/2014/main" id="{77A06809-46E8-4104-8CC2-39B3E44D4271}"/>
              </a:ext>
            </a:extLst>
          </p:cNvPr>
          <p:cNvPicPr>
            <a:picLocks noChangeAspect="1"/>
          </p:cNvPicPr>
          <p:nvPr/>
        </p:nvPicPr>
        <p:blipFill>
          <a:blip r:embed="rId3"/>
          <a:stretch>
            <a:fillRect/>
          </a:stretch>
        </p:blipFill>
        <p:spPr>
          <a:xfrm>
            <a:off x="6140456" y="1240487"/>
            <a:ext cx="5219700" cy="5342755"/>
          </a:xfrm>
          <a:prstGeom prst="rect">
            <a:avLst/>
          </a:prstGeom>
        </p:spPr>
      </p:pic>
      <p:grpSp>
        <p:nvGrpSpPr>
          <p:cNvPr id="9" name="Group 8">
            <a:extLst>
              <a:ext uri="{FF2B5EF4-FFF2-40B4-BE49-F238E27FC236}">
                <a16:creationId xmlns:a16="http://schemas.microsoft.com/office/drawing/2014/main" id="{D36EA632-07B3-4295-BE67-774163081217}"/>
              </a:ext>
            </a:extLst>
          </p:cNvPr>
          <p:cNvGrpSpPr/>
          <p:nvPr/>
        </p:nvGrpSpPr>
        <p:grpSpPr>
          <a:xfrm>
            <a:off x="10931699" y="-199070"/>
            <a:ext cx="1519721" cy="1519870"/>
            <a:chOff x="10931699" y="-199070"/>
            <a:chExt cx="1519721" cy="1519870"/>
          </a:xfrm>
        </p:grpSpPr>
        <p:sp>
          <p:nvSpPr>
            <p:cNvPr id="6" name="Flowchart: Connector 5">
              <a:extLst>
                <a:ext uri="{FF2B5EF4-FFF2-40B4-BE49-F238E27FC236}">
                  <a16:creationId xmlns:a16="http://schemas.microsoft.com/office/drawing/2014/main" id="{E8A5316F-D582-4BB2-BF38-6996247FD050}"/>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Machine Learning Modelling</a:t>
              </a:r>
              <a:endParaRPr lang="en-SG">
                <a:solidFill>
                  <a:schemeClr val="bg1"/>
                </a:solidFill>
              </a:endParaRPr>
            </a:p>
          </p:txBody>
        </p:sp>
        <p:pic>
          <p:nvPicPr>
            <p:cNvPr id="7" name="Graphic 6" descr="Arrow circle">
              <a:extLst>
                <a:ext uri="{FF2B5EF4-FFF2-40B4-BE49-F238E27FC236}">
                  <a16:creationId xmlns:a16="http://schemas.microsoft.com/office/drawing/2014/main" id="{B9B6C3D8-5CCE-4FB1-BA57-BF4CB044282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88667" y="-83187"/>
              <a:ext cx="720089" cy="720089"/>
            </a:xfrm>
            <a:prstGeom prst="rect">
              <a:avLst/>
            </a:prstGeom>
          </p:spPr>
        </p:pic>
        <p:pic>
          <p:nvPicPr>
            <p:cNvPr id="8" name="Graphic 7" descr="Single gear">
              <a:extLst>
                <a:ext uri="{FF2B5EF4-FFF2-40B4-BE49-F238E27FC236}">
                  <a16:creationId xmlns:a16="http://schemas.microsoft.com/office/drawing/2014/main" id="{8E1B2611-AC19-4249-93EE-5183BAA2D29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514733" y="114594"/>
              <a:ext cx="311754" cy="311754"/>
            </a:xfrm>
            <a:prstGeom prst="rect">
              <a:avLst/>
            </a:prstGeom>
          </p:spPr>
        </p:pic>
      </p:grpSp>
    </p:spTree>
    <p:extLst>
      <p:ext uri="{BB962C8B-B14F-4D97-AF65-F5344CB8AC3E}">
        <p14:creationId xmlns:p14="http://schemas.microsoft.com/office/powerpoint/2010/main" val="160231728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Graphical user interface, text, application, email&#10;&#10;Description automatically generated">
            <a:extLst>
              <a:ext uri="{FF2B5EF4-FFF2-40B4-BE49-F238E27FC236}">
                <a16:creationId xmlns:a16="http://schemas.microsoft.com/office/drawing/2014/main" id="{0633DDFD-C6E4-49AC-8FC0-3B3F14495A9E}"/>
              </a:ext>
            </a:extLst>
          </p:cNvPr>
          <p:cNvPicPr>
            <a:picLocks noChangeAspect="1"/>
          </p:cNvPicPr>
          <p:nvPr/>
        </p:nvPicPr>
        <p:blipFill>
          <a:blip r:embed="rId2"/>
          <a:stretch>
            <a:fillRect/>
          </a:stretch>
        </p:blipFill>
        <p:spPr>
          <a:xfrm>
            <a:off x="298958" y="1365210"/>
            <a:ext cx="5600700" cy="3801908"/>
          </a:xfrm>
          <a:prstGeom prst="rect">
            <a:avLst/>
          </a:prstGeom>
        </p:spPr>
      </p:pic>
      <p:pic>
        <p:nvPicPr>
          <p:cNvPr id="5" name="Picture 5" descr="Chart&#10;&#10;Description automatically generated">
            <a:extLst>
              <a:ext uri="{FF2B5EF4-FFF2-40B4-BE49-F238E27FC236}">
                <a16:creationId xmlns:a16="http://schemas.microsoft.com/office/drawing/2014/main" id="{3B6F7F7B-D3FB-4B64-A663-FE7B75E2A8B0}"/>
              </a:ext>
            </a:extLst>
          </p:cNvPr>
          <p:cNvPicPr>
            <a:picLocks noChangeAspect="1"/>
          </p:cNvPicPr>
          <p:nvPr/>
        </p:nvPicPr>
        <p:blipFill>
          <a:blip r:embed="rId3"/>
          <a:stretch>
            <a:fillRect/>
          </a:stretch>
        </p:blipFill>
        <p:spPr>
          <a:xfrm>
            <a:off x="6100234" y="1268386"/>
            <a:ext cx="5939366" cy="5358395"/>
          </a:xfrm>
          <a:prstGeom prst="rect">
            <a:avLst/>
          </a:prstGeom>
        </p:spPr>
      </p:pic>
      <p:grpSp>
        <p:nvGrpSpPr>
          <p:cNvPr id="3" name="Group 2">
            <a:extLst>
              <a:ext uri="{FF2B5EF4-FFF2-40B4-BE49-F238E27FC236}">
                <a16:creationId xmlns:a16="http://schemas.microsoft.com/office/drawing/2014/main" id="{A22A9F86-5576-4C0E-83B2-91D832BD93F8}"/>
              </a:ext>
            </a:extLst>
          </p:cNvPr>
          <p:cNvGrpSpPr/>
          <p:nvPr/>
        </p:nvGrpSpPr>
        <p:grpSpPr>
          <a:xfrm>
            <a:off x="10931699" y="-199070"/>
            <a:ext cx="1519721" cy="1519870"/>
            <a:chOff x="10931699" y="-199070"/>
            <a:chExt cx="1519721" cy="1519870"/>
          </a:xfrm>
        </p:grpSpPr>
        <p:sp>
          <p:nvSpPr>
            <p:cNvPr id="7" name="Flowchart: Connector 6">
              <a:extLst>
                <a:ext uri="{FF2B5EF4-FFF2-40B4-BE49-F238E27FC236}">
                  <a16:creationId xmlns:a16="http://schemas.microsoft.com/office/drawing/2014/main" id="{67DBD3BA-B95E-4FDD-AF2A-6D52CC84D823}"/>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Machine Learning Modelling</a:t>
              </a:r>
              <a:endParaRPr lang="en-SG">
                <a:solidFill>
                  <a:schemeClr val="bg1"/>
                </a:solidFill>
              </a:endParaRPr>
            </a:p>
          </p:txBody>
        </p:sp>
        <p:pic>
          <p:nvPicPr>
            <p:cNvPr id="8" name="Graphic 7" descr="Arrow circle">
              <a:extLst>
                <a:ext uri="{FF2B5EF4-FFF2-40B4-BE49-F238E27FC236}">
                  <a16:creationId xmlns:a16="http://schemas.microsoft.com/office/drawing/2014/main" id="{57C57BFD-DA11-4460-8092-910D3CEB1A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88667" y="-83187"/>
              <a:ext cx="720089" cy="720089"/>
            </a:xfrm>
            <a:prstGeom prst="rect">
              <a:avLst/>
            </a:prstGeom>
          </p:spPr>
        </p:pic>
        <p:pic>
          <p:nvPicPr>
            <p:cNvPr id="9" name="Graphic 8" descr="Single gear">
              <a:extLst>
                <a:ext uri="{FF2B5EF4-FFF2-40B4-BE49-F238E27FC236}">
                  <a16:creationId xmlns:a16="http://schemas.microsoft.com/office/drawing/2014/main" id="{39D90BAE-AD83-4365-96A7-D1CDDFF6A5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514733" y="114594"/>
              <a:ext cx="311754" cy="311754"/>
            </a:xfrm>
            <a:prstGeom prst="rect">
              <a:avLst/>
            </a:prstGeom>
          </p:spPr>
        </p:pic>
      </p:grpSp>
      <p:sp>
        <p:nvSpPr>
          <p:cNvPr id="11" name="Title 1">
            <a:extLst>
              <a:ext uri="{FF2B5EF4-FFF2-40B4-BE49-F238E27FC236}">
                <a16:creationId xmlns:a16="http://schemas.microsoft.com/office/drawing/2014/main" id="{17A790A2-3A10-4637-9B2F-3CD458BC0EF1}"/>
              </a:ext>
            </a:extLst>
          </p:cNvPr>
          <p:cNvSpPr txBox="1">
            <a:spLocks/>
          </p:cNvSpPr>
          <p:nvPr/>
        </p:nvSpPr>
        <p:spPr>
          <a:xfrm>
            <a:off x="365684" y="125384"/>
            <a:ext cx="9161915" cy="9417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a:solidFill>
                  <a:srgbClr val="002060"/>
                </a:solidFill>
              </a:rPr>
              <a:t>Preprocessing for Modelling Test </a:t>
            </a:r>
            <a:br>
              <a:rPr lang="en-US">
                <a:solidFill>
                  <a:srgbClr val="002060"/>
                </a:solidFill>
              </a:rPr>
            </a:br>
            <a:r>
              <a:rPr lang="en-US">
                <a:solidFill>
                  <a:srgbClr val="002060"/>
                </a:solidFill>
              </a:rPr>
              <a:t>for Hourly Prediction</a:t>
            </a:r>
            <a:endParaRPr lang="en-US">
              <a:ea typeface="+mj-lt"/>
              <a:cs typeface="+mj-lt"/>
            </a:endParaRPr>
          </a:p>
        </p:txBody>
      </p:sp>
    </p:spTree>
    <p:extLst>
      <p:ext uri="{BB962C8B-B14F-4D97-AF65-F5344CB8AC3E}">
        <p14:creationId xmlns:p14="http://schemas.microsoft.com/office/powerpoint/2010/main" val="104214149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10" descr="Graphical user interface, chart&#10;&#10;Description automatically generated">
            <a:extLst>
              <a:ext uri="{FF2B5EF4-FFF2-40B4-BE49-F238E27FC236}">
                <a16:creationId xmlns:a16="http://schemas.microsoft.com/office/drawing/2014/main" id="{676266AD-39DD-4C63-AC43-FBDA958C8BFA}"/>
              </a:ext>
            </a:extLst>
          </p:cNvPr>
          <p:cNvPicPr>
            <a:picLocks noChangeAspect="1"/>
          </p:cNvPicPr>
          <p:nvPr/>
        </p:nvPicPr>
        <p:blipFill>
          <a:blip r:embed="rId2"/>
          <a:stretch>
            <a:fillRect/>
          </a:stretch>
        </p:blipFill>
        <p:spPr>
          <a:xfrm>
            <a:off x="287170" y="1104577"/>
            <a:ext cx="8558540" cy="5750582"/>
          </a:xfrm>
          <a:prstGeom prst="rect">
            <a:avLst/>
          </a:prstGeom>
        </p:spPr>
      </p:pic>
      <p:grpSp>
        <p:nvGrpSpPr>
          <p:cNvPr id="3" name="Group 2">
            <a:extLst>
              <a:ext uri="{FF2B5EF4-FFF2-40B4-BE49-F238E27FC236}">
                <a16:creationId xmlns:a16="http://schemas.microsoft.com/office/drawing/2014/main" id="{4455BCB6-14D7-48F3-BD0E-54E7F3C808D5}"/>
              </a:ext>
            </a:extLst>
          </p:cNvPr>
          <p:cNvGrpSpPr/>
          <p:nvPr/>
        </p:nvGrpSpPr>
        <p:grpSpPr>
          <a:xfrm>
            <a:off x="10931699" y="-199070"/>
            <a:ext cx="1519721" cy="1519870"/>
            <a:chOff x="10931699" y="-199070"/>
            <a:chExt cx="1519721" cy="1519870"/>
          </a:xfrm>
        </p:grpSpPr>
        <p:sp>
          <p:nvSpPr>
            <p:cNvPr id="5" name="Flowchart: Connector 4">
              <a:extLst>
                <a:ext uri="{FF2B5EF4-FFF2-40B4-BE49-F238E27FC236}">
                  <a16:creationId xmlns:a16="http://schemas.microsoft.com/office/drawing/2014/main" id="{EB2B428C-873A-41E4-8128-CEC254CF006E}"/>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Machine Learning Modelling</a:t>
              </a:r>
              <a:endParaRPr lang="en-SG">
                <a:solidFill>
                  <a:schemeClr val="bg1"/>
                </a:solidFill>
              </a:endParaRPr>
            </a:p>
          </p:txBody>
        </p:sp>
        <p:pic>
          <p:nvPicPr>
            <p:cNvPr id="6" name="Graphic 5" descr="Arrow circle">
              <a:extLst>
                <a:ext uri="{FF2B5EF4-FFF2-40B4-BE49-F238E27FC236}">
                  <a16:creationId xmlns:a16="http://schemas.microsoft.com/office/drawing/2014/main" id="{57DF4BDF-20F7-4B05-A6C0-B1EEAB73E0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88667" y="-83187"/>
              <a:ext cx="720089" cy="720089"/>
            </a:xfrm>
            <a:prstGeom prst="rect">
              <a:avLst/>
            </a:prstGeom>
          </p:spPr>
        </p:pic>
        <p:pic>
          <p:nvPicPr>
            <p:cNvPr id="7" name="Graphic 6" descr="Single gear">
              <a:extLst>
                <a:ext uri="{FF2B5EF4-FFF2-40B4-BE49-F238E27FC236}">
                  <a16:creationId xmlns:a16="http://schemas.microsoft.com/office/drawing/2014/main" id="{B3632482-0862-4F09-A256-3B622852ADB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514733" y="114594"/>
              <a:ext cx="311754" cy="311754"/>
            </a:xfrm>
            <a:prstGeom prst="rect">
              <a:avLst/>
            </a:prstGeom>
          </p:spPr>
        </p:pic>
      </p:grpSp>
      <p:sp>
        <p:nvSpPr>
          <p:cNvPr id="12" name="Title 1">
            <a:extLst>
              <a:ext uri="{FF2B5EF4-FFF2-40B4-BE49-F238E27FC236}">
                <a16:creationId xmlns:a16="http://schemas.microsoft.com/office/drawing/2014/main" id="{3502CFB6-6A40-4F07-8AA1-9E63A659ADA0}"/>
              </a:ext>
            </a:extLst>
          </p:cNvPr>
          <p:cNvSpPr txBox="1">
            <a:spLocks/>
          </p:cNvSpPr>
          <p:nvPr/>
        </p:nvSpPr>
        <p:spPr>
          <a:xfrm>
            <a:off x="147722" y="130876"/>
            <a:ext cx="10933350" cy="9417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a:solidFill>
                  <a:srgbClr val="002060"/>
                </a:solidFill>
                <a:ea typeface="+mj-lt"/>
                <a:cs typeface="+mj-lt"/>
              </a:rPr>
              <a:t>Modelling Test for Hourly Prediction – </a:t>
            </a:r>
            <a:r>
              <a:rPr lang="en-US" err="1">
                <a:solidFill>
                  <a:srgbClr val="002060"/>
                </a:solidFill>
                <a:ea typeface="+mj-lt"/>
                <a:cs typeface="+mj-lt"/>
              </a:rPr>
              <a:t>Imbiah</a:t>
            </a:r>
            <a:r>
              <a:rPr lang="en-US">
                <a:solidFill>
                  <a:srgbClr val="002060"/>
                </a:solidFill>
                <a:ea typeface="+mj-lt"/>
                <a:cs typeface="+mj-lt"/>
              </a:rPr>
              <a:t> Lookout</a:t>
            </a:r>
            <a:endParaRPr lang="en-US">
              <a:solidFill>
                <a:srgbClr val="171D3C"/>
              </a:solidFill>
              <a:ea typeface="+mj-lt"/>
              <a:cs typeface="+mj-lt"/>
            </a:endParaRPr>
          </a:p>
          <a:p>
            <a:r>
              <a:rPr lang="en-US" sz="3200">
                <a:solidFill>
                  <a:srgbClr val="002060"/>
                </a:solidFill>
                <a:ea typeface="+mj-lt"/>
                <a:cs typeface="+mj-lt"/>
              </a:rPr>
              <a:t>(</a:t>
            </a:r>
            <a:r>
              <a:rPr lang="en-US" sz="3200" err="1">
                <a:solidFill>
                  <a:srgbClr val="002060"/>
                </a:solidFill>
                <a:ea typeface="+mj-lt"/>
                <a:cs typeface="+mj-lt"/>
              </a:rPr>
              <a:t>Sarimax</a:t>
            </a:r>
            <a:r>
              <a:rPr lang="en-US" sz="3200">
                <a:solidFill>
                  <a:srgbClr val="002060"/>
                </a:solidFill>
                <a:ea typeface="+mj-lt"/>
                <a:cs typeface="+mj-lt"/>
              </a:rPr>
              <a:t> - Train)</a:t>
            </a:r>
            <a:endParaRPr lang="en-US" sz="3200"/>
          </a:p>
        </p:txBody>
      </p:sp>
    </p:spTree>
    <p:extLst>
      <p:ext uri="{BB962C8B-B14F-4D97-AF65-F5344CB8AC3E}">
        <p14:creationId xmlns:p14="http://schemas.microsoft.com/office/powerpoint/2010/main" val="4263607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Chart, histogram&#10;&#10;Description automatically generated">
            <a:extLst>
              <a:ext uri="{FF2B5EF4-FFF2-40B4-BE49-F238E27FC236}">
                <a16:creationId xmlns:a16="http://schemas.microsoft.com/office/drawing/2014/main" id="{809C533A-AFC0-4A50-BB53-AD1A504EB8AA}"/>
              </a:ext>
            </a:extLst>
          </p:cNvPr>
          <p:cNvPicPr>
            <a:picLocks noChangeAspect="1"/>
          </p:cNvPicPr>
          <p:nvPr/>
        </p:nvPicPr>
        <p:blipFill>
          <a:blip r:embed="rId2"/>
          <a:stretch>
            <a:fillRect/>
          </a:stretch>
        </p:blipFill>
        <p:spPr>
          <a:xfrm>
            <a:off x="292394" y="1161995"/>
            <a:ext cx="9453033" cy="4640244"/>
          </a:xfrm>
          <a:prstGeom prst="rect">
            <a:avLst/>
          </a:prstGeom>
        </p:spPr>
      </p:pic>
      <p:pic>
        <p:nvPicPr>
          <p:cNvPr id="6" name="Picture 6">
            <a:extLst>
              <a:ext uri="{FF2B5EF4-FFF2-40B4-BE49-F238E27FC236}">
                <a16:creationId xmlns:a16="http://schemas.microsoft.com/office/drawing/2014/main" id="{6A9FCBE7-1CC3-44E4-81F0-428DD3F70CFC}"/>
              </a:ext>
            </a:extLst>
          </p:cNvPr>
          <p:cNvPicPr>
            <a:picLocks noChangeAspect="1"/>
          </p:cNvPicPr>
          <p:nvPr/>
        </p:nvPicPr>
        <p:blipFill>
          <a:blip r:embed="rId3"/>
          <a:stretch>
            <a:fillRect/>
          </a:stretch>
        </p:blipFill>
        <p:spPr>
          <a:xfrm>
            <a:off x="292394" y="5765431"/>
            <a:ext cx="9453033" cy="943003"/>
          </a:xfrm>
          <a:prstGeom prst="rect">
            <a:avLst/>
          </a:prstGeom>
        </p:spPr>
      </p:pic>
      <p:grpSp>
        <p:nvGrpSpPr>
          <p:cNvPr id="2" name="Group 1">
            <a:extLst>
              <a:ext uri="{FF2B5EF4-FFF2-40B4-BE49-F238E27FC236}">
                <a16:creationId xmlns:a16="http://schemas.microsoft.com/office/drawing/2014/main" id="{906CB9A3-F9BB-42AA-B2BA-7AABFD3D8BBA}"/>
              </a:ext>
            </a:extLst>
          </p:cNvPr>
          <p:cNvGrpSpPr/>
          <p:nvPr/>
        </p:nvGrpSpPr>
        <p:grpSpPr>
          <a:xfrm>
            <a:off x="10931699" y="-199070"/>
            <a:ext cx="1519721" cy="1519870"/>
            <a:chOff x="10931699" y="-199070"/>
            <a:chExt cx="1519721" cy="1519870"/>
          </a:xfrm>
        </p:grpSpPr>
        <p:sp>
          <p:nvSpPr>
            <p:cNvPr id="7" name="Flowchart: Connector 6">
              <a:extLst>
                <a:ext uri="{FF2B5EF4-FFF2-40B4-BE49-F238E27FC236}">
                  <a16:creationId xmlns:a16="http://schemas.microsoft.com/office/drawing/2014/main" id="{64C65C99-44F3-4C11-960E-08516D66593B}"/>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Machine Learning Modelling</a:t>
              </a:r>
              <a:endParaRPr lang="en-SG">
                <a:solidFill>
                  <a:schemeClr val="bg1"/>
                </a:solidFill>
              </a:endParaRPr>
            </a:p>
          </p:txBody>
        </p:sp>
        <p:pic>
          <p:nvPicPr>
            <p:cNvPr id="9" name="Graphic 8" descr="Arrow circle">
              <a:extLst>
                <a:ext uri="{FF2B5EF4-FFF2-40B4-BE49-F238E27FC236}">
                  <a16:creationId xmlns:a16="http://schemas.microsoft.com/office/drawing/2014/main" id="{C8EA01C6-1858-43F2-A453-566E947967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88667" y="-83187"/>
              <a:ext cx="720089" cy="720089"/>
            </a:xfrm>
            <a:prstGeom prst="rect">
              <a:avLst/>
            </a:prstGeom>
          </p:spPr>
        </p:pic>
        <p:pic>
          <p:nvPicPr>
            <p:cNvPr id="10" name="Graphic 9" descr="Single gear">
              <a:extLst>
                <a:ext uri="{FF2B5EF4-FFF2-40B4-BE49-F238E27FC236}">
                  <a16:creationId xmlns:a16="http://schemas.microsoft.com/office/drawing/2014/main" id="{F1973591-DEBF-4569-A0C6-F6F9BE8E99F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514733" y="114594"/>
              <a:ext cx="311754" cy="311754"/>
            </a:xfrm>
            <a:prstGeom prst="rect">
              <a:avLst/>
            </a:prstGeom>
          </p:spPr>
        </p:pic>
      </p:grpSp>
      <p:sp>
        <p:nvSpPr>
          <p:cNvPr id="15" name="Title 1">
            <a:extLst>
              <a:ext uri="{FF2B5EF4-FFF2-40B4-BE49-F238E27FC236}">
                <a16:creationId xmlns:a16="http://schemas.microsoft.com/office/drawing/2014/main" id="{42598CE5-1CF1-401F-9EC8-146FA6EFC0EE}"/>
              </a:ext>
            </a:extLst>
          </p:cNvPr>
          <p:cNvSpPr txBox="1">
            <a:spLocks/>
          </p:cNvSpPr>
          <p:nvPr/>
        </p:nvSpPr>
        <p:spPr>
          <a:xfrm>
            <a:off x="147722" y="130876"/>
            <a:ext cx="11647122" cy="9417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a:solidFill>
                  <a:srgbClr val="002060"/>
                </a:solidFill>
                <a:ea typeface="+mj-lt"/>
                <a:cs typeface="+mj-lt"/>
              </a:rPr>
              <a:t>Modelling Test for Hourly Prediction – </a:t>
            </a:r>
            <a:r>
              <a:rPr lang="en-US" err="1">
                <a:solidFill>
                  <a:srgbClr val="002060"/>
                </a:solidFill>
                <a:ea typeface="+mj-lt"/>
                <a:cs typeface="+mj-lt"/>
              </a:rPr>
              <a:t>Imbiah</a:t>
            </a:r>
            <a:r>
              <a:rPr lang="en-US">
                <a:solidFill>
                  <a:srgbClr val="002060"/>
                </a:solidFill>
                <a:ea typeface="+mj-lt"/>
                <a:cs typeface="+mj-lt"/>
              </a:rPr>
              <a:t> Lookout </a:t>
            </a:r>
            <a:r>
              <a:rPr lang="en-US" sz="3200">
                <a:solidFill>
                  <a:srgbClr val="002060"/>
                </a:solidFill>
                <a:ea typeface="+mj-lt"/>
                <a:cs typeface="+mj-lt"/>
              </a:rPr>
              <a:t>(</a:t>
            </a:r>
            <a:r>
              <a:rPr lang="en-US" sz="3200" err="1">
                <a:solidFill>
                  <a:srgbClr val="002060"/>
                </a:solidFill>
                <a:ea typeface="+mj-lt"/>
                <a:cs typeface="+mj-lt"/>
              </a:rPr>
              <a:t>Sarimax</a:t>
            </a:r>
            <a:r>
              <a:rPr lang="en-US" sz="3200">
                <a:solidFill>
                  <a:srgbClr val="002060"/>
                </a:solidFill>
                <a:ea typeface="+mj-lt"/>
                <a:cs typeface="+mj-lt"/>
              </a:rPr>
              <a:t> - Test)</a:t>
            </a:r>
            <a:endParaRPr lang="en-US" sz="3200"/>
          </a:p>
        </p:txBody>
      </p:sp>
    </p:spTree>
    <p:extLst>
      <p:ext uri="{BB962C8B-B14F-4D97-AF65-F5344CB8AC3E}">
        <p14:creationId xmlns:p14="http://schemas.microsoft.com/office/powerpoint/2010/main" val="182329617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Chart&#10;&#10;Description automatically generated">
            <a:extLst>
              <a:ext uri="{FF2B5EF4-FFF2-40B4-BE49-F238E27FC236}">
                <a16:creationId xmlns:a16="http://schemas.microsoft.com/office/drawing/2014/main" id="{5077707B-414C-42AA-B330-0167CEF42AD3}"/>
              </a:ext>
            </a:extLst>
          </p:cNvPr>
          <p:cNvPicPr>
            <a:picLocks noChangeAspect="1"/>
          </p:cNvPicPr>
          <p:nvPr/>
        </p:nvPicPr>
        <p:blipFill>
          <a:blip r:embed="rId2"/>
          <a:stretch>
            <a:fillRect/>
          </a:stretch>
        </p:blipFill>
        <p:spPr>
          <a:xfrm>
            <a:off x="247649" y="1066393"/>
            <a:ext cx="8199108" cy="5611266"/>
          </a:xfrm>
          <a:prstGeom prst="rect">
            <a:avLst/>
          </a:prstGeom>
        </p:spPr>
      </p:pic>
      <p:grpSp>
        <p:nvGrpSpPr>
          <p:cNvPr id="3" name="Group 2">
            <a:extLst>
              <a:ext uri="{FF2B5EF4-FFF2-40B4-BE49-F238E27FC236}">
                <a16:creationId xmlns:a16="http://schemas.microsoft.com/office/drawing/2014/main" id="{57C87872-B27F-4BC8-B498-E61B67FA18BB}"/>
              </a:ext>
            </a:extLst>
          </p:cNvPr>
          <p:cNvGrpSpPr/>
          <p:nvPr/>
        </p:nvGrpSpPr>
        <p:grpSpPr>
          <a:xfrm>
            <a:off x="10931699" y="-199070"/>
            <a:ext cx="1519721" cy="1519870"/>
            <a:chOff x="10931699" y="-199070"/>
            <a:chExt cx="1519721" cy="1519870"/>
          </a:xfrm>
        </p:grpSpPr>
        <p:sp>
          <p:nvSpPr>
            <p:cNvPr id="6" name="Flowchart: Connector 5">
              <a:extLst>
                <a:ext uri="{FF2B5EF4-FFF2-40B4-BE49-F238E27FC236}">
                  <a16:creationId xmlns:a16="http://schemas.microsoft.com/office/drawing/2014/main" id="{0510CFFA-DF38-42A9-96D0-D2CFFEBEF4E6}"/>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Machine Learning Modelling</a:t>
              </a:r>
              <a:endParaRPr lang="en-SG">
                <a:solidFill>
                  <a:schemeClr val="bg1"/>
                </a:solidFill>
              </a:endParaRPr>
            </a:p>
          </p:txBody>
        </p:sp>
        <p:pic>
          <p:nvPicPr>
            <p:cNvPr id="7" name="Graphic 6" descr="Arrow circle">
              <a:extLst>
                <a:ext uri="{FF2B5EF4-FFF2-40B4-BE49-F238E27FC236}">
                  <a16:creationId xmlns:a16="http://schemas.microsoft.com/office/drawing/2014/main" id="{BCA76BA3-B5BB-46A5-9F43-E7B5D6FAB1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88667" y="-83187"/>
              <a:ext cx="720089" cy="720089"/>
            </a:xfrm>
            <a:prstGeom prst="rect">
              <a:avLst/>
            </a:prstGeom>
          </p:spPr>
        </p:pic>
        <p:pic>
          <p:nvPicPr>
            <p:cNvPr id="8" name="Graphic 7" descr="Single gear">
              <a:extLst>
                <a:ext uri="{FF2B5EF4-FFF2-40B4-BE49-F238E27FC236}">
                  <a16:creationId xmlns:a16="http://schemas.microsoft.com/office/drawing/2014/main" id="{C3B9DD0D-61CB-4D90-8A95-6869EA00B49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514733" y="114594"/>
              <a:ext cx="311754" cy="311754"/>
            </a:xfrm>
            <a:prstGeom prst="rect">
              <a:avLst/>
            </a:prstGeom>
          </p:spPr>
        </p:pic>
      </p:grpSp>
      <p:sp>
        <p:nvSpPr>
          <p:cNvPr id="14" name="Title 1">
            <a:extLst>
              <a:ext uri="{FF2B5EF4-FFF2-40B4-BE49-F238E27FC236}">
                <a16:creationId xmlns:a16="http://schemas.microsoft.com/office/drawing/2014/main" id="{85E500D2-959C-4EBE-9F3F-2DFE370E9E2B}"/>
              </a:ext>
            </a:extLst>
          </p:cNvPr>
          <p:cNvSpPr txBox="1">
            <a:spLocks/>
          </p:cNvSpPr>
          <p:nvPr/>
        </p:nvSpPr>
        <p:spPr>
          <a:xfrm>
            <a:off x="147722" y="130876"/>
            <a:ext cx="11647122" cy="9417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a:solidFill>
                  <a:srgbClr val="002060"/>
                </a:solidFill>
                <a:ea typeface="+mj-lt"/>
                <a:cs typeface="+mj-lt"/>
              </a:rPr>
              <a:t>Modelling Test for Hourly Prediction – </a:t>
            </a:r>
            <a:r>
              <a:rPr lang="en-US" err="1">
                <a:solidFill>
                  <a:srgbClr val="002060"/>
                </a:solidFill>
                <a:ea typeface="+mj-lt"/>
                <a:cs typeface="+mj-lt"/>
              </a:rPr>
              <a:t>Siloso</a:t>
            </a:r>
            <a:r>
              <a:rPr lang="en-US">
                <a:solidFill>
                  <a:srgbClr val="002060"/>
                </a:solidFill>
                <a:ea typeface="+mj-lt"/>
                <a:cs typeface="+mj-lt"/>
              </a:rPr>
              <a:t> Point</a:t>
            </a:r>
            <a:endParaRPr lang="en-US" sz="3200">
              <a:solidFill>
                <a:srgbClr val="171D3C"/>
              </a:solidFill>
              <a:ea typeface="+mj-lt"/>
              <a:cs typeface="+mj-lt"/>
            </a:endParaRPr>
          </a:p>
          <a:p>
            <a:r>
              <a:rPr lang="en-US" sz="3200">
                <a:solidFill>
                  <a:srgbClr val="002060"/>
                </a:solidFill>
                <a:ea typeface="+mj-lt"/>
                <a:cs typeface="+mj-lt"/>
              </a:rPr>
              <a:t>(Sarimax - Train)</a:t>
            </a:r>
            <a:endParaRPr lang="en-US" sz="3200"/>
          </a:p>
        </p:txBody>
      </p:sp>
    </p:spTree>
    <p:extLst>
      <p:ext uri="{BB962C8B-B14F-4D97-AF65-F5344CB8AC3E}">
        <p14:creationId xmlns:p14="http://schemas.microsoft.com/office/powerpoint/2010/main" val="252870432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4C6C106-B386-4A2E-81E6-1F3F086FEAC0}"/>
              </a:ext>
            </a:extLst>
          </p:cNvPr>
          <p:cNvGrpSpPr/>
          <p:nvPr/>
        </p:nvGrpSpPr>
        <p:grpSpPr>
          <a:xfrm>
            <a:off x="244573" y="5641438"/>
            <a:ext cx="8317629" cy="951727"/>
            <a:chOff x="6848572" y="3863437"/>
            <a:chExt cx="5269629" cy="602477"/>
          </a:xfrm>
        </p:grpSpPr>
        <p:pic>
          <p:nvPicPr>
            <p:cNvPr id="6" name="Picture 5">
              <a:extLst>
                <a:ext uri="{FF2B5EF4-FFF2-40B4-BE49-F238E27FC236}">
                  <a16:creationId xmlns:a16="http://schemas.microsoft.com/office/drawing/2014/main" id="{403F2A95-E655-4F3E-AA55-9C7C28F67C77}"/>
                </a:ext>
              </a:extLst>
            </p:cNvPr>
            <p:cNvPicPr>
              <a:picLocks noChangeAspect="1"/>
            </p:cNvPicPr>
            <p:nvPr/>
          </p:nvPicPr>
          <p:blipFill>
            <a:blip r:embed="rId2"/>
            <a:stretch>
              <a:fillRect/>
            </a:stretch>
          </p:blipFill>
          <p:spPr>
            <a:xfrm>
              <a:off x="6850877" y="3863437"/>
              <a:ext cx="5267324" cy="598760"/>
            </a:xfrm>
            <a:prstGeom prst="rect">
              <a:avLst/>
            </a:prstGeom>
          </p:spPr>
        </p:pic>
        <p:sp>
          <p:nvSpPr>
            <p:cNvPr id="7" name="Rectangle 6">
              <a:extLst>
                <a:ext uri="{FF2B5EF4-FFF2-40B4-BE49-F238E27FC236}">
                  <a16:creationId xmlns:a16="http://schemas.microsoft.com/office/drawing/2014/main" id="{448DCFB8-0BB7-4818-BFA7-52EE275AEB29}"/>
                </a:ext>
              </a:extLst>
            </p:cNvPr>
            <p:cNvSpPr/>
            <p:nvPr/>
          </p:nvSpPr>
          <p:spPr>
            <a:xfrm>
              <a:off x="6848572" y="3864334"/>
              <a:ext cx="771606" cy="584458"/>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rgbClr val="FFFFFF"/>
                </a:solidFill>
              </a:endParaRPr>
            </a:p>
          </p:txBody>
        </p:sp>
        <p:sp>
          <p:nvSpPr>
            <p:cNvPr id="8" name="Rectangle 7">
              <a:extLst>
                <a:ext uri="{FF2B5EF4-FFF2-40B4-BE49-F238E27FC236}">
                  <a16:creationId xmlns:a16="http://schemas.microsoft.com/office/drawing/2014/main" id="{09412181-5062-449B-9180-7019A8119B2C}"/>
                </a:ext>
              </a:extLst>
            </p:cNvPr>
            <p:cNvSpPr/>
            <p:nvPr/>
          </p:nvSpPr>
          <p:spPr>
            <a:xfrm>
              <a:off x="11103785" y="3872895"/>
              <a:ext cx="514753" cy="593019"/>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rgbClr val="FFFFFF"/>
                </a:solidFill>
              </a:endParaRPr>
            </a:p>
          </p:txBody>
        </p:sp>
      </p:grpSp>
      <p:pic>
        <p:nvPicPr>
          <p:cNvPr id="5" name="Picture 4" descr="Chart&#10;&#10;Description automatically generated">
            <a:extLst>
              <a:ext uri="{FF2B5EF4-FFF2-40B4-BE49-F238E27FC236}">
                <a16:creationId xmlns:a16="http://schemas.microsoft.com/office/drawing/2014/main" id="{B95C723D-080B-423A-BEDF-8046FB191CAA}"/>
              </a:ext>
            </a:extLst>
          </p:cNvPr>
          <p:cNvPicPr>
            <a:picLocks noChangeAspect="1"/>
          </p:cNvPicPr>
          <p:nvPr/>
        </p:nvPicPr>
        <p:blipFill>
          <a:blip r:embed="rId3"/>
          <a:stretch>
            <a:fillRect/>
          </a:stretch>
        </p:blipFill>
        <p:spPr>
          <a:xfrm>
            <a:off x="245005" y="1155356"/>
            <a:ext cx="9000428" cy="4429632"/>
          </a:xfrm>
          <a:prstGeom prst="rect">
            <a:avLst/>
          </a:prstGeom>
        </p:spPr>
      </p:pic>
      <p:grpSp>
        <p:nvGrpSpPr>
          <p:cNvPr id="2" name="Group 1">
            <a:extLst>
              <a:ext uri="{FF2B5EF4-FFF2-40B4-BE49-F238E27FC236}">
                <a16:creationId xmlns:a16="http://schemas.microsoft.com/office/drawing/2014/main" id="{C4F68649-A620-4D16-A848-ACF857401516}"/>
              </a:ext>
            </a:extLst>
          </p:cNvPr>
          <p:cNvGrpSpPr/>
          <p:nvPr/>
        </p:nvGrpSpPr>
        <p:grpSpPr>
          <a:xfrm>
            <a:off x="10931699" y="-199070"/>
            <a:ext cx="1519721" cy="1519870"/>
            <a:chOff x="10931699" y="-199070"/>
            <a:chExt cx="1519721" cy="1519870"/>
          </a:xfrm>
        </p:grpSpPr>
        <p:sp>
          <p:nvSpPr>
            <p:cNvPr id="11" name="Flowchart: Connector 10">
              <a:extLst>
                <a:ext uri="{FF2B5EF4-FFF2-40B4-BE49-F238E27FC236}">
                  <a16:creationId xmlns:a16="http://schemas.microsoft.com/office/drawing/2014/main" id="{5C99F064-0445-4A96-B8AB-0F3404F223E6}"/>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Machine Learning Modelling</a:t>
              </a:r>
              <a:endParaRPr lang="en-SG">
                <a:solidFill>
                  <a:schemeClr val="bg1"/>
                </a:solidFill>
              </a:endParaRPr>
            </a:p>
          </p:txBody>
        </p:sp>
        <p:pic>
          <p:nvPicPr>
            <p:cNvPr id="12" name="Graphic 11" descr="Arrow circle">
              <a:extLst>
                <a:ext uri="{FF2B5EF4-FFF2-40B4-BE49-F238E27FC236}">
                  <a16:creationId xmlns:a16="http://schemas.microsoft.com/office/drawing/2014/main" id="{F372D20D-6C4B-4EEB-A240-5F55D9BF37D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88667" y="-83187"/>
              <a:ext cx="720089" cy="720089"/>
            </a:xfrm>
            <a:prstGeom prst="rect">
              <a:avLst/>
            </a:prstGeom>
          </p:spPr>
        </p:pic>
        <p:pic>
          <p:nvPicPr>
            <p:cNvPr id="13" name="Graphic 12" descr="Single gear">
              <a:extLst>
                <a:ext uri="{FF2B5EF4-FFF2-40B4-BE49-F238E27FC236}">
                  <a16:creationId xmlns:a16="http://schemas.microsoft.com/office/drawing/2014/main" id="{85B7A89A-9048-4D58-9EC8-3A5622FBA4C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514733" y="114594"/>
              <a:ext cx="311754" cy="311754"/>
            </a:xfrm>
            <a:prstGeom prst="rect">
              <a:avLst/>
            </a:prstGeom>
          </p:spPr>
        </p:pic>
      </p:grpSp>
      <p:sp>
        <p:nvSpPr>
          <p:cNvPr id="16" name="Title 1">
            <a:extLst>
              <a:ext uri="{FF2B5EF4-FFF2-40B4-BE49-F238E27FC236}">
                <a16:creationId xmlns:a16="http://schemas.microsoft.com/office/drawing/2014/main" id="{D0C7EA6D-0914-4FA0-A4FB-86761188BAEE}"/>
              </a:ext>
            </a:extLst>
          </p:cNvPr>
          <p:cNvSpPr txBox="1">
            <a:spLocks/>
          </p:cNvSpPr>
          <p:nvPr/>
        </p:nvSpPr>
        <p:spPr>
          <a:xfrm>
            <a:off x="147722" y="130876"/>
            <a:ext cx="11647122" cy="9417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a:solidFill>
                  <a:srgbClr val="002060"/>
                </a:solidFill>
                <a:ea typeface="+mj-lt"/>
                <a:cs typeface="+mj-lt"/>
              </a:rPr>
              <a:t>Modelling Test for Hourly Prediction – </a:t>
            </a:r>
            <a:r>
              <a:rPr lang="en-US" err="1">
                <a:solidFill>
                  <a:srgbClr val="002060"/>
                </a:solidFill>
                <a:ea typeface="+mj-lt"/>
                <a:cs typeface="+mj-lt"/>
              </a:rPr>
              <a:t>Siloso</a:t>
            </a:r>
            <a:r>
              <a:rPr lang="en-US">
                <a:solidFill>
                  <a:srgbClr val="002060"/>
                </a:solidFill>
                <a:ea typeface="+mj-lt"/>
                <a:cs typeface="+mj-lt"/>
              </a:rPr>
              <a:t> Point</a:t>
            </a:r>
            <a:endParaRPr lang="en-US" sz="3200">
              <a:solidFill>
                <a:srgbClr val="171D3C"/>
              </a:solidFill>
              <a:ea typeface="+mj-lt"/>
              <a:cs typeface="+mj-lt"/>
            </a:endParaRPr>
          </a:p>
          <a:p>
            <a:r>
              <a:rPr lang="en-US" sz="3200">
                <a:solidFill>
                  <a:srgbClr val="002060"/>
                </a:solidFill>
                <a:ea typeface="+mj-lt"/>
                <a:cs typeface="+mj-lt"/>
              </a:rPr>
              <a:t>(</a:t>
            </a:r>
            <a:r>
              <a:rPr lang="en-US" sz="3200" err="1">
                <a:solidFill>
                  <a:srgbClr val="002060"/>
                </a:solidFill>
                <a:ea typeface="+mj-lt"/>
                <a:cs typeface="+mj-lt"/>
              </a:rPr>
              <a:t>Sarimax</a:t>
            </a:r>
            <a:r>
              <a:rPr lang="en-US" sz="3200">
                <a:solidFill>
                  <a:srgbClr val="002060"/>
                </a:solidFill>
                <a:ea typeface="+mj-lt"/>
                <a:cs typeface="+mj-lt"/>
              </a:rPr>
              <a:t> - Test)</a:t>
            </a:r>
            <a:endParaRPr lang="en-US" sz="3200"/>
          </a:p>
        </p:txBody>
      </p:sp>
    </p:spTree>
    <p:extLst>
      <p:ext uri="{BB962C8B-B14F-4D97-AF65-F5344CB8AC3E}">
        <p14:creationId xmlns:p14="http://schemas.microsoft.com/office/powerpoint/2010/main" val="36852836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6099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4AA63-35D8-4136-8B2F-DE1837A583A2}"/>
              </a:ext>
            </a:extLst>
          </p:cNvPr>
          <p:cNvSpPr>
            <a:spLocks noGrp="1"/>
          </p:cNvSpPr>
          <p:nvPr>
            <p:ph type="title"/>
          </p:nvPr>
        </p:nvSpPr>
        <p:spPr/>
        <p:txBody>
          <a:bodyPr/>
          <a:lstStyle/>
          <a:p>
            <a:r>
              <a:rPr lang="en-US">
                <a:solidFill>
                  <a:srgbClr val="002060"/>
                </a:solidFill>
              </a:rPr>
              <a:t>Project Flow</a:t>
            </a:r>
          </a:p>
        </p:txBody>
      </p:sp>
      <p:sp>
        <p:nvSpPr>
          <p:cNvPr id="4" name="Flowchart: Connector 3">
            <a:extLst>
              <a:ext uri="{FF2B5EF4-FFF2-40B4-BE49-F238E27FC236}">
                <a16:creationId xmlns:a16="http://schemas.microsoft.com/office/drawing/2014/main" id="{F2781DB5-90E2-4089-BA07-2F83778C3F07}"/>
              </a:ext>
            </a:extLst>
          </p:cNvPr>
          <p:cNvSpPr>
            <a:spLocks noChangeAspect="1"/>
          </p:cNvSpPr>
          <p:nvPr/>
        </p:nvSpPr>
        <p:spPr>
          <a:xfrm>
            <a:off x="411352" y="1371412"/>
            <a:ext cx="2065105" cy="206525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a:ea typeface="+mn-lt"/>
              <a:cs typeface="+mn-lt"/>
            </a:endParaRPr>
          </a:p>
          <a:p>
            <a:pPr algn="ctr"/>
            <a:endParaRPr lang="en-SG">
              <a:ea typeface="+mn-lt"/>
              <a:cs typeface="+mn-lt"/>
            </a:endParaRPr>
          </a:p>
          <a:p>
            <a:pPr algn="ctr"/>
            <a:r>
              <a:rPr lang="en-SG">
                <a:ea typeface="+mn-lt"/>
                <a:cs typeface="+mn-lt"/>
              </a:rPr>
              <a:t>Research, Analyse and Hypothesize</a:t>
            </a:r>
            <a:endParaRPr lang="en-US"/>
          </a:p>
        </p:txBody>
      </p:sp>
      <p:sp>
        <p:nvSpPr>
          <p:cNvPr id="5" name="Flowchart: Connector 4">
            <a:extLst>
              <a:ext uri="{FF2B5EF4-FFF2-40B4-BE49-F238E27FC236}">
                <a16:creationId xmlns:a16="http://schemas.microsoft.com/office/drawing/2014/main" id="{AA1B9715-B961-42AF-90C9-79A87F13D1B8}"/>
              </a:ext>
            </a:extLst>
          </p:cNvPr>
          <p:cNvSpPr>
            <a:spLocks noChangeAspect="1"/>
          </p:cNvSpPr>
          <p:nvPr/>
        </p:nvSpPr>
        <p:spPr>
          <a:xfrm>
            <a:off x="2718422" y="1371412"/>
            <a:ext cx="2065105" cy="206525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a:ea typeface="+mn-lt"/>
              <a:cs typeface="+mn-lt"/>
            </a:endParaRPr>
          </a:p>
          <a:p>
            <a:pPr algn="ctr"/>
            <a:endParaRPr lang="en-SG">
              <a:ea typeface="+mn-lt"/>
              <a:cs typeface="+mn-lt"/>
            </a:endParaRPr>
          </a:p>
          <a:p>
            <a:pPr algn="ctr"/>
            <a:r>
              <a:rPr lang="en-SG">
                <a:ea typeface="+mn-lt"/>
                <a:cs typeface="+mn-lt"/>
              </a:rPr>
              <a:t>Data Processing</a:t>
            </a:r>
            <a:endParaRPr lang="en-US"/>
          </a:p>
        </p:txBody>
      </p:sp>
      <p:pic>
        <p:nvPicPr>
          <p:cNvPr id="7" name="Graphic 6" descr="Group brainstorm">
            <a:extLst>
              <a:ext uri="{FF2B5EF4-FFF2-40B4-BE49-F238E27FC236}">
                <a16:creationId xmlns:a16="http://schemas.microsoft.com/office/drawing/2014/main" id="{52098F02-F658-4E94-9501-A14F3E2D33C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59204" y="1587967"/>
            <a:ext cx="722941" cy="722941"/>
          </a:xfrm>
          <a:prstGeom prst="rect">
            <a:avLst/>
          </a:prstGeom>
        </p:spPr>
      </p:pic>
      <p:pic>
        <p:nvPicPr>
          <p:cNvPr id="9" name="Graphic 8" descr="Research">
            <a:extLst>
              <a:ext uri="{FF2B5EF4-FFF2-40B4-BE49-F238E27FC236}">
                <a16:creationId xmlns:a16="http://schemas.microsoft.com/office/drawing/2014/main" id="{A7D42D63-B632-4192-9AF9-4120DFBDAFF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29420" y="1674256"/>
            <a:ext cx="763708" cy="763708"/>
          </a:xfrm>
          <a:prstGeom prst="rect">
            <a:avLst/>
          </a:prstGeom>
        </p:spPr>
      </p:pic>
      <p:sp>
        <p:nvSpPr>
          <p:cNvPr id="10" name="Flowchart: Connector 9">
            <a:extLst>
              <a:ext uri="{FF2B5EF4-FFF2-40B4-BE49-F238E27FC236}">
                <a16:creationId xmlns:a16="http://schemas.microsoft.com/office/drawing/2014/main" id="{6903E9BF-EB5F-4900-A7C3-8046B86C2485}"/>
              </a:ext>
            </a:extLst>
          </p:cNvPr>
          <p:cNvSpPr>
            <a:spLocks noChangeAspect="1"/>
          </p:cNvSpPr>
          <p:nvPr/>
        </p:nvSpPr>
        <p:spPr>
          <a:xfrm>
            <a:off x="5020154" y="1371412"/>
            <a:ext cx="2065048" cy="206525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a:ea typeface="+mn-lt"/>
              <a:cs typeface="+mn-lt"/>
            </a:endParaRPr>
          </a:p>
          <a:p>
            <a:pPr algn="ctr"/>
            <a:endParaRPr lang="en-SG">
              <a:ea typeface="+mn-lt"/>
              <a:cs typeface="+mn-lt"/>
            </a:endParaRPr>
          </a:p>
          <a:p>
            <a:pPr algn="ctr"/>
            <a:r>
              <a:rPr lang="en-SG"/>
              <a:t>Exploratory Data Analysis</a:t>
            </a:r>
          </a:p>
        </p:txBody>
      </p:sp>
      <p:sp>
        <p:nvSpPr>
          <p:cNvPr id="11" name="Flowchart: Connector 10">
            <a:extLst>
              <a:ext uri="{FF2B5EF4-FFF2-40B4-BE49-F238E27FC236}">
                <a16:creationId xmlns:a16="http://schemas.microsoft.com/office/drawing/2014/main" id="{41409821-5DD4-4CE8-8A23-90E7022670FB}"/>
              </a:ext>
            </a:extLst>
          </p:cNvPr>
          <p:cNvSpPr>
            <a:spLocks noChangeAspect="1"/>
          </p:cNvSpPr>
          <p:nvPr/>
        </p:nvSpPr>
        <p:spPr>
          <a:xfrm>
            <a:off x="7328644" y="1402240"/>
            <a:ext cx="2065105" cy="206525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a:ea typeface="+mn-lt"/>
              <a:cs typeface="+mn-lt"/>
            </a:endParaRPr>
          </a:p>
          <a:p>
            <a:pPr algn="ctr"/>
            <a:endParaRPr lang="en-SG">
              <a:ea typeface="+mn-lt"/>
              <a:cs typeface="+mn-lt"/>
            </a:endParaRPr>
          </a:p>
          <a:p>
            <a:pPr algn="ctr"/>
            <a:r>
              <a:rPr lang="en-SG"/>
              <a:t>Feature Engineering</a:t>
            </a:r>
          </a:p>
        </p:txBody>
      </p:sp>
      <p:pic>
        <p:nvPicPr>
          <p:cNvPr id="13" name="Graphic 12" descr="Bar chart">
            <a:extLst>
              <a:ext uri="{FF2B5EF4-FFF2-40B4-BE49-F238E27FC236}">
                <a16:creationId xmlns:a16="http://schemas.microsoft.com/office/drawing/2014/main" id="{9D9C893F-03E6-48D6-942D-542F03E4CD7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57454" y="1599999"/>
            <a:ext cx="677092" cy="677092"/>
          </a:xfrm>
          <a:prstGeom prst="rect">
            <a:avLst/>
          </a:prstGeom>
        </p:spPr>
      </p:pic>
      <p:sp>
        <p:nvSpPr>
          <p:cNvPr id="17" name="Flowchart: Connector 16">
            <a:extLst>
              <a:ext uri="{FF2B5EF4-FFF2-40B4-BE49-F238E27FC236}">
                <a16:creationId xmlns:a16="http://schemas.microsoft.com/office/drawing/2014/main" id="{A342E76F-CBEB-45ED-8735-A83C6AD5D2B1}"/>
              </a:ext>
            </a:extLst>
          </p:cNvPr>
          <p:cNvSpPr>
            <a:spLocks noChangeAspect="1"/>
          </p:cNvSpPr>
          <p:nvPr/>
        </p:nvSpPr>
        <p:spPr>
          <a:xfrm>
            <a:off x="9629535" y="1371412"/>
            <a:ext cx="2065105" cy="206525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a:ea typeface="+mn-lt"/>
              <a:cs typeface="+mn-lt"/>
            </a:endParaRPr>
          </a:p>
          <a:p>
            <a:pPr algn="ctr"/>
            <a:endParaRPr lang="en-SG"/>
          </a:p>
          <a:p>
            <a:pPr algn="ctr"/>
            <a:endParaRPr lang="en-SG"/>
          </a:p>
          <a:p>
            <a:pPr algn="ctr"/>
            <a:r>
              <a:rPr lang="en-SG"/>
              <a:t>Machine Learning Modelling</a:t>
            </a:r>
          </a:p>
          <a:p>
            <a:pPr algn="ctr"/>
            <a:endParaRPr lang="en-SG">
              <a:ea typeface="+mn-lt"/>
              <a:cs typeface="+mn-lt"/>
            </a:endParaRPr>
          </a:p>
        </p:txBody>
      </p:sp>
      <p:pic>
        <p:nvPicPr>
          <p:cNvPr id="21" name="Graphic 20" descr="Gears">
            <a:extLst>
              <a:ext uri="{FF2B5EF4-FFF2-40B4-BE49-F238E27FC236}">
                <a16:creationId xmlns:a16="http://schemas.microsoft.com/office/drawing/2014/main" id="{270AFCE7-EE99-4D66-AE35-2E7503A4611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992971" y="1719508"/>
            <a:ext cx="736450" cy="736450"/>
          </a:xfrm>
          <a:prstGeom prst="rect">
            <a:avLst/>
          </a:prstGeom>
        </p:spPr>
      </p:pic>
      <p:pic>
        <p:nvPicPr>
          <p:cNvPr id="23" name="Graphic 22" descr="Arrow circle">
            <a:extLst>
              <a:ext uri="{FF2B5EF4-FFF2-40B4-BE49-F238E27FC236}">
                <a16:creationId xmlns:a16="http://schemas.microsoft.com/office/drawing/2014/main" id="{AEC9587C-3F93-4045-ACEB-A1A4AFB0FC1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09881" y="1517326"/>
            <a:ext cx="839954" cy="839954"/>
          </a:xfrm>
          <a:prstGeom prst="rect">
            <a:avLst/>
          </a:prstGeom>
        </p:spPr>
      </p:pic>
      <p:pic>
        <p:nvPicPr>
          <p:cNvPr id="29" name="Graphic 28" descr="Single gear">
            <a:extLst>
              <a:ext uri="{FF2B5EF4-FFF2-40B4-BE49-F238E27FC236}">
                <a16:creationId xmlns:a16="http://schemas.microsoft.com/office/drawing/2014/main" id="{4F6899D5-3109-4938-82DA-041DEA46D7E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470193" y="1740793"/>
            <a:ext cx="363124" cy="363124"/>
          </a:xfrm>
          <a:prstGeom prst="rect">
            <a:avLst/>
          </a:prstGeom>
        </p:spPr>
      </p:pic>
      <p:sp>
        <p:nvSpPr>
          <p:cNvPr id="32" name="TextBox 31">
            <a:extLst>
              <a:ext uri="{FF2B5EF4-FFF2-40B4-BE49-F238E27FC236}">
                <a16:creationId xmlns:a16="http://schemas.microsoft.com/office/drawing/2014/main" id="{19924F50-9976-41A7-88C1-641F1509CEE0}"/>
              </a:ext>
            </a:extLst>
          </p:cNvPr>
          <p:cNvSpPr txBox="1"/>
          <p:nvPr/>
        </p:nvSpPr>
        <p:spPr>
          <a:xfrm>
            <a:off x="365314" y="3894310"/>
            <a:ext cx="2162325" cy="12526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SG" sz="1600">
                <a:solidFill>
                  <a:srgbClr val="002060"/>
                </a:solidFill>
              </a:rPr>
              <a:t>Industry Research</a:t>
            </a:r>
          </a:p>
          <a:p>
            <a:pPr marL="285750" indent="-285750">
              <a:buFont typeface="Arial" panose="020B0604020202020204" pitchFamily="34" charset="0"/>
              <a:buChar char="•"/>
            </a:pPr>
            <a:r>
              <a:rPr lang="en-SG" sz="1600">
                <a:solidFill>
                  <a:srgbClr val="002060"/>
                </a:solidFill>
              </a:rPr>
              <a:t>Formulate the problem</a:t>
            </a:r>
          </a:p>
          <a:p>
            <a:pPr marL="285750" indent="-285750">
              <a:buFont typeface="Arial" panose="020B0604020202020204" pitchFamily="34" charset="0"/>
              <a:buChar char="•"/>
            </a:pPr>
            <a:r>
              <a:rPr lang="en-SG" sz="1600">
                <a:solidFill>
                  <a:srgbClr val="002060"/>
                </a:solidFill>
              </a:rPr>
              <a:t>Hypothesis Framing</a:t>
            </a:r>
          </a:p>
        </p:txBody>
      </p:sp>
      <p:sp>
        <p:nvSpPr>
          <p:cNvPr id="33" name="TextBox 32">
            <a:extLst>
              <a:ext uri="{FF2B5EF4-FFF2-40B4-BE49-F238E27FC236}">
                <a16:creationId xmlns:a16="http://schemas.microsoft.com/office/drawing/2014/main" id="{C9B7F08E-D629-47BA-B28C-40CF22219379}"/>
              </a:ext>
            </a:extLst>
          </p:cNvPr>
          <p:cNvSpPr txBox="1"/>
          <p:nvPr/>
        </p:nvSpPr>
        <p:spPr>
          <a:xfrm>
            <a:off x="2662446" y="3892398"/>
            <a:ext cx="2303413" cy="12526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SG" sz="1600">
                <a:solidFill>
                  <a:srgbClr val="002060"/>
                </a:solidFill>
              </a:rPr>
              <a:t>Reading/cleaning of data</a:t>
            </a:r>
          </a:p>
          <a:p>
            <a:pPr marL="285750" indent="-285750">
              <a:buFont typeface="Arial" panose="020B0604020202020204" pitchFamily="34" charset="0"/>
              <a:buChar char="•"/>
            </a:pPr>
            <a:r>
              <a:rPr lang="en-SG" sz="1600">
                <a:solidFill>
                  <a:srgbClr val="002060"/>
                </a:solidFill>
              </a:rPr>
              <a:t>Replace/removal of null values</a:t>
            </a:r>
          </a:p>
          <a:p>
            <a:pPr marL="285750" indent="-285750">
              <a:buFont typeface="Arial" panose="020B0604020202020204" pitchFamily="34" charset="0"/>
              <a:buChar char="•"/>
            </a:pPr>
            <a:r>
              <a:rPr lang="en-SG" sz="1600">
                <a:solidFill>
                  <a:srgbClr val="002060"/>
                </a:solidFill>
              </a:rPr>
              <a:t>Merging of dataset</a:t>
            </a:r>
          </a:p>
        </p:txBody>
      </p:sp>
      <p:sp>
        <p:nvSpPr>
          <p:cNvPr id="34" name="TextBox 33">
            <a:extLst>
              <a:ext uri="{FF2B5EF4-FFF2-40B4-BE49-F238E27FC236}">
                <a16:creationId xmlns:a16="http://schemas.microsoft.com/office/drawing/2014/main" id="{06D19D76-F677-4AAA-AA6A-7CA4B9DAF436}"/>
              </a:ext>
            </a:extLst>
          </p:cNvPr>
          <p:cNvSpPr txBox="1"/>
          <p:nvPr/>
        </p:nvSpPr>
        <p:spPr>
          <a:xfrm>
            <a:off x="4981944" y="3919995"/>
            <a:ext cx="2235397" cy="19412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SG" sz="1600">
                <a:solidFill>
                  <a:srgbClr val="002060"/>
                </a:solidFill>
              </a:rPr>
              <a:t>Understanding of data</a:t>
            </a:r>
          </a:p>
          <a:p>
            <a:pPr marL="285750" indent="-285750">
              <a:buFont typeface="Arial" panose="020B0604020202020204" pitchFamily="34" charset="0"/>
              <a:buChar char="•"/>
            </a:pPr>
            <a:r>
              <a:rPr lang="en-SG" sz="1600">
                <a:solidFill>
                  <a:srgbClr val="002060"/>
                </a:solidFill>
              </a:rPr>
              <a:t>Checking of relationship between variables</a:t>
            </a:r>
          </a:p>
          <a:p>
            <a:pPr marL="285750" indent="-285750">
              <a:buFont typeface="Arial" panose="020B0604020202020204" pitchFamily="34" charset="0"/>
              <a:buChar char="•"/>
            </a:pPr>
            <a:r>
              <a:rPr lang="en-SG" sz="1600">
                <a:solidFill>
                  <a:srgbClr val="002060"/>
                </a:solidFill>
              </a:rPr>
              <a:t>Visualising Data</a:t>
            </a:r>
          </a:p>
          <a:p>
            <a:pPr marL="285750" indent="-285750">
              <a:buFont typeface="Arial" panose="020B0604020202020204" pitchFamily="34" charset="0"/>
              <a:buChar char="•"/>
            </a:pPr>
            <a:r>
              <a:rPr lang="en-SG" sz="1600">
                <a:solidFill>
                  <a:srgbClr val="002060"/>
                </a:solidFill>
              </a:rPr>
              <a:t>Hypothesis testing</a:t>
            </a:r>
          </a:p>
          <a:p>
            <a:pPr marL="285750" indent="-285750">
              <a:buFont typeface="Arial" panose="020B0604020202020204" pitchFamily="34" charset="0"/>
              <a:buChar char="•"/>
            </a:pPr>
            <a:endParaRPr lang="en-SG" sz="1600">
              <a:solidFill>
                <a:srgbClr val="002060"/>
              </a:solidFill>
            </a:endParaRPr>
          </a:p>
        </p:txBody>
      </p:sp>
      <p:sp>
        <p:nvSpPr>
          <p:cNvPr id="35" name="TextBox 34">
            <a:extLst>
              <a:ext uri="{FF2B5EF4-FFF2-40B4-BE49-F238E27FC236}">
                <a16:creationId xmlns:a16="http://schemas.microsoft.com/office/drawing/2014/main" id="{E20AAA99-395B-4009-AF86-AC6B211B7758}"/>
              </a:ext>
            </a:extLst>
          </p:cNvPr>
          <p:cNvSpPr txBox="1"/>
          <p:nvPr/>
        </p:nvSpPr>
        <p:spPr>
          <a:xfrm>
            <a:off x="7392915" y="3949260"/>
            <a:ext cx="2179448" cy="14725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SG" sz="1600">
                <a:solidFill>
                  <a:srgbClr val="002060"/>
                </a:solidFill>
              </a:rPr>
              <a:t>Feature selection</a:t>
            </a:r>
          </a:p>
          <a:p>
            <a:pPr marL="285750" indent="-285750">
              <a:buFont typeface="Arial" panose="020B0604020202020204" pitchFamily="34" charset="0"/>
              <a:buChar char="•"/>
            </a:pPr>
            <a:r>
              <a:rPr lang="en-SG" sz="1600">
                <a:solidFill>
                  <a:srgbClr val="002060"/>
                </a:solidFill>
              </a:rPr>
              <a:t>Create new features</a:t>
            </a:r>
          </a:p>
          <a:p>
            <a:pPr marL="285750" indent="-285750">
              <a:buFont typeface="Arial" panose="020B0604020202020204" pitchFamily="34" charset="0"/>
              <a:buChar char="•"/>
            </a:pPr>
            <a:r>
              <a:rPr lang="en-SG" sz="1600">
                <a:solidFill>
                  <a:srgbClr val="002060"/>
                </a:solidFill>
              </a:rPr>
              <a:t>Eliminate low variance features</a:t>
            </a:r>
          </a:p>
          <a:p>
            <a:pPr marL="285750" indent="-285750">
              <a:buFont typeface="Arial" panose="020B0604020202020204" pitchFamily="34" charset="0"/>
              <a:buChar char="•"/>
            </a:pPr>
            <a:endParaRPr lang="en-SG" sz="1600">
              <a:solidFill>
                <a:srgbClr val="002060"/>
              </a:solidFill>
            </a:endParaRPr>
          </a:p>
        </p:txBody>
      </p:sp>
      <p:sp>
        <p:nvSpPr>
          <p:cNvPr id="37" name="TextBox 36">
            <a:extLst>
              <a:ext uri="{FF2B5EF4-FFF2-40B4-BE49-F238E27FC236}">
                <a16:creationId xmlns:a16="http://schemas.microsoft.com/office/drawing/2014/main" id="{1AA86EF9-D1F2-488E-902B-9C25FAEFDD52}"/>
              </a:ext>
            </a:extLst>
          </p:cNvPr>
          <p:cNvSpPr txBox="1"/>
          <p:nvPr/>
        </p:nvSpPr>
        <p:spPr>
          <a:xfrm>
            <a:off x="9770194" y="3919995"/>
            <a:ext cx="2179448" cy="9452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SG" sz="1600">
                <a:solidFill>
                  <a:srgbClr val="002060"/>
                </a:solidFill>
              </a:rPr>
              <a:t>Model Selection</a:t>
            </a:r>
          </a:p>
          <a:p>
            <a:pPr marL="285750" indent="-285750">
              <a:buFont typeface="Arial" panose="020B0604020202020204" pitchFamily="34" charset="0"/>
              <a:buChar char="•"/>
            </a:pPr>
            <a:r>
              <a:rPr lang="en-SG" sz="1600">
                <a:solidFill>
                  <a:srgbClr val="002060"/>
                </a:solidFill>
              </a:rPr>
              <a:t>Build and test model</a:t>
            </a:r>
          </a:p>
          <a:p>
            <a:pPr marL="285750" indent="-285750">
              <a:buFont typeface="Arial" panose="020B0604020202020204" pitchFamily="34" charset="0"/>
              <a:buChar char="•"/>
            </a:pPr>
            <a:r>
              <a:rPr lang="en-SG" sz="1600">
                <a:solidFill>
                  <a:srgbClr val="002060"/>
                </a:solidFill>
              </a:rPr>
              <a:t>Model prediction</a:t>
            </a:r>
          </a:p>
        </p:txBody>
      </p:sp>
      <p:sp>
        <p:nvSpPr>
          <p:cNvPr id="6" name="TextBox 5">
            <a:extLst>
              <a:ext uri="{FF2B5EF4-FFF2-40B4-BE49-F238E27FC236}">
                <a16:creationId xmlns:a16="http://schemas.microsoft.com/office/drawing/2014/main" id="{6CA25206-3BE3-4E79-8C96-46DAFD7B69D2}"/>
              </a:ext>
            </a:extLst>
          </p:cNvPr>
          <p:cNvSpPr txBox="1"/>
          <p:nvPr/>
        </p:nvSpPr>
        <p:spPr>
          <a:xfrm>
            <a:off x="1277257" y="3501629"/>
            <a:ext cx="360439" cy="33855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l"/>
            <a:r>
              <a:rPr lang="en-US" sz="1600" b="1">
                <a:solidFill>
                  <a:srgbClr val="002060"/>
                </a:solidFill>
              </a:rPr>
              <a:t>1</a:t>
            </a:r>
          </a:p>
        </p:txBody>
      </p:sp>
      <p:sp>
        <p:nvSpPr>
          <p:cNvPr id="22" name="TextBox 21">
            <a:extLst>
              <a:ext uri="{FF2B5EF4-FFF2-40B4-BE49-F238E27FC236}">
                <a16:creationId xmlns:a16="http://schemas.microsoft.com/office/drawing/2014/main" id="{87580016-E389-450C-958C-6E89567535CD}"/>
              </a:ext>
            </a:extLst>
          </p:cNvPr>
          <p:cNvSpPr txBox="1"/>
          <p:nvPr/>
        </p:nvSpPr>
        <p:spPr>
          <a:xfrm>
            <a:off x="3647923" y="3489532"/>
            <a:ext cx="360439" cy="33855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l"/>
            <a:r>
              <a:rPr lang="en-US" sz="1600" b="1">
                <a:solidFill>
                  <a:srgbClr val="002060"/>
                </a:solidFill>
              </a:rPr>
              <a:t>2</a:t>
            </a:r>
          </a:p>
        </p:txBody>
      </p:sp>
      <p:sp>
        <p:nvSpPr>
          <p:cNvPr id="25" name="TextBox 24">
            <a:extLst>
              <a:ext uri="{FF2B5EF4-FFF2-40B4-BE49-F238E27FC236}">
                <a16:creationId xmlns:a16="http://schemas.microsoft.com/office/drawing/2014/main" id="{4F00FEED-ACFF-47D3-8E58-F08ED7F24610}"/>
              </a:ext>
            </a:extLst>
          </p:cNvPr>
          <p:cNvSpPr txBox="1"/>
          <p:nvPr/>
        </p:nvSpPr>
        <p:spPr>
          <a:xfrm>
            <a:off x="5921827" y="3513722"/>
            <a:ext cx="360439" cy="33855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l"/>
            <a:r>
              <a:rPr lang="en-US" sz="1600">
                <a:solidFill>
                  <a:srgbClr val="002060"/>
                </a:solidFill>
              </a:rPr>
              <a:t>3</a:t>
            </a:r>
          </a:p>
        </p:txBody>
      </p:sp>
      <p:sp>
        <p:nvSpPr>
          <p:cNvPr id="26" name="TextBox 25">
            <a:extLst>
              <a:ext uri="{FF2B5EF4-FFF2-40B4-BE49-F238E27FC236}">
                <a16:creationId xmlns:a16="http://schemas.microsoft.com/office/drawing/2014/main" id="{F04C1B96-7F9F-4AB4-AD9F-542885D1602E}"/>
              </a:ext>
            </a:extLst>
          </p:cNvPr>
          <p:cNvSpPr txBox="1"/>
          <p:nvPr/>
        </p:nvSpPr>
        <p:spPr>
          <a:xfrm>
            <a:off x="8304588" y="3537911"/>
            <a:ext cx="360439" cy="33855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l"/>
            <a:r>
              <a:rPr lang="en-US" sz="1600" b="1">
                <a:solidFill>
                  <a:srgbClr val="002060"/>
                </a:solidFill>
              </a:rPr>
              <a:t>4</a:t>
            </a:r>
          </a:p>
        </p:txBody>
      </p:sp>
      <p:sp>
        <p:nvSpPr>
          <p:cNvPr id="27" name="TextBox 26">
            <a:extLst>
              <a:ext uri="{FF2B5EF4-FFF2-40B4-BE49-F238E27FC236}">
                <a16:creationId xmlns:a16="http://schemas.microsoft.com/office/drawing/2014/main" id="{577D7F9D-08BA-4DFF-A12D-161776ED3231}"/>
              </a:ext>
            </a:extLst>
          </p:cNvPr>
          <p:cNvSpPr txBox="1"/>
          <p:nvPr/>
        </p:nvSpPr>
        <p:spPr>
          <a:xfrm>
            <a:off x="10578492" y="3525816"/>
            <a:ext cx="360439" cy="33855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l"/>
            <a:r>
              <a:rPr lang="en-US" sz="1600" b="1">
                <a:solidFill>
                  <a:srgbClr val="002060"/>
                </a:solidFill>
              </a:rPr>
              <a:t>5</a:t>
            </a:r>
          </a:p>
        </p:txBody>
      </p:sp>
    </p:spTree>
    <p:extLst>
      <p:ext uri="{BB962C8B-B14F-4D97-AF65-F5344CB8AC3E}">
        <p14:creationId xmlns:p14="http://schemas.microsoft.com/office/powerpoint/2010/main" val="4160076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Connector 1">
            <a:extLst>
              <a:ext uri="{FF2B5EF4-FFF2-40B4-BE49-F238E27FC236}">
                <a16:creationId xmlns:a16="http://schemas.microsoft.com/office/drawing/2014/main" id="{D2AC414D-C8F9-4E07-9D41-5AAD3600E4CA}"/>
              </a:ext>
            </a:extLst>
          </p:cNvPr>
          <p:cNvSpPr>
            <a:spLocks noChangeAspect="1"/>
          </p:cNvSpPr>
          <p:nvPr/>
        </p:nvSpPr>
        <p:spPr>
          <a:xfrm>
            <a:off x="3820357" y="1233749"/>
            <a:ext cx="4017115" cy="3996764"/>
          </a:xfrm>
          <a:prstGeom prst="flowChartConnector">
            <a:avLst/>
          </a:prstGeom>
          <a:noFill/>
          <a:ln w="571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a:solidFill>
                <a:srgbClr val="002060"/>
              </a:solidFill>
              <a:ea typeface="+mn-lt"/>
              <a:cs typeface="+mn-lt"/>
            </a:endParaRPr>
          </a:p>
          <a:p>
            <a:pPr algn="ctr"/>
            <a:endParaRPr lang="en-SG">
              <a:solidFill>
                <a:srgbClr val="002060"/>
              </a:solidFill>
              <a:ea typeface="+mn-lt"/>
              <a:cs typeface="+mn-lt"/>
            </a:endParaRPr>
          </a:p>
          <a:p>
            <a:pPr algn="ctr"/>
            <a:endParaRPr lang="en-SG">
              <a:solidFill>
                <a:srgbClr val="002060"/>
              </a:solidFill>
            </a:endParaRPr>
          </a:p>
          <a:p>
            <a:pPr algn="ctr"/>
            <a:endParaRPr lang="en-SG" sz="3200">
              <a:solidFill>
                <a:srgbClr val="002060"/>
              </a:solidFill>
            </a:endParaRPr>
          </a:p>
          <a:p>
            <a:pPr algn="ctr"/>
            <a:r>
              <a:rPr lang="en-SG" sz="3200" b="1">
                <a:solidFill>
                  <a:srgbClr val="FFFFFF"/>
                </a:solidFill>
              </a:rPr>
              <a:t>Exploratory Data Analysis</a:t>
            </a:r>
            <a:endParaRPr lang="en-SG" b="1">
              <a:solidFill>
                <a:srgbClr val="FFFFFF"/>
              </a:solidFill>
            </a:endParaRPr>
          </a:p>
        </p:txBody>
      </p:sp>
      <p:pic>
        <p:nvPicPr>
          <p:cNvPr id="6" name="Graphic 5" descr="Bar chart">
            <a:extLst>
              <a:ext uri="{FF2B5EF4-FFF2-40B4-BE49-F238E27FC236}">
                <a16:creationId xmlns:a16="http://schemas.microsoft.com/office/drawing/2014/main" id="{CDA4DE4C-970A-4EAB-AC6E-002BA44377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30417" y="2007362"/>
            <a:ext cx="1401417" cy="1397636"/>
          </a:xfrm>
          <a:prstGeom prst="rect">
            <a:avLst/>
          </a:prstGeom>
        </p:spPr>
      </p:pic>
    </p:spTree>
    <p:extLst>
      <p:ext uri="{BB962C8B-B14F-4D97-AF65-F5344CB8AC3E}">
        <p14:creationId xmlns:p14="http://schemas.microsoft.com/office/powerpoint/2010/main" val="224919750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lowchart: Connector 17">
            <a:extLst>
              <a:ext uri="{FF2B5EF4-FFF2-40B4-BE49-F238E27FC236}">
                <a16:creationId xmlns:a16="http://schemas.microsoft.com/office/drawing/2014/main" id="{4C8E7E93-D719-4D68-AF75-84A3D92DD60C}"/>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endParaRPr lang="en-SG">
              <a:solidFill>
                <a:schemeClr val="bg1"/>
              </a:solidFill>
            </a:endParaRPr>
          </a:p>
        </p:txBody>
      </p:sp>
      <p:pic>
        <p:nvPicPr>
          <p:cNvPr id="19" name="Graphic 18" descr="Bar chart">
            <a:extLst>
              <a:ext uri="{FF2B5EF4-FFF2-40B4-BE49-F238E27FC236}">
                <a16:creationId xmlns:a16="http://schemas.microsoft.com/office/drawing/2014/main" id="{34C08A26-CA1B-4581-85D4-0D95F9633B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14721" y="32586"/>
            <a:ext cx="553679" cy="553679"/>
          </a:xfrm>
          <a:prstGeom prst="rect">
            <a:avLst/>
          </a:prstGeom>
        </p:spPr>
      </p:pic>
      <p:sp>
        <p:nvSpPr>
          <p:cNvPr id="7" name="Title 6">
            <a:extLst>
              <a:ext uri="{FF2B5EF4-FFF2-40B4-BE49-F238E27FC236}">
                <a16:creationId xmlns:a16="http://schemas.microsoft.com/office/drawing/2014/main" id="{5040411B-0A54-429E-94AB-0F4DA7C1917E}"/>
              </a:ext>
            </a:extLst>
          </p:cNvPr>
          <p:cNvSpPr>
            <a:spLocks noGrp="1"/>
          </p:cNvSpPr>
          <p:nvPr>
            <p:ph type="title"/>
          </p:nvPr>
        </p:nvSpPr>
        <p:spPr>
          <a:xfrm>
            <a:off x="630000" y="350657"/>
            <a:ext cx="10933350" cy="470898"/>
          </a:xfrm>
        </p:spPr>
        <p:txBody>
          <a:bodyPr/>
          <a:lstStyle/>
          <a:p>
            <a:r>
              <a:rPr lang="en-US">
                <a:solidFill>
                  <a:srgbClr val="002060"/>
                </a:solidFill>
                <a:ea typeface="+mj-lt"/>
                <a:cs typeface="+mj-lt"/>
              </a:rPr>
              <a:t>Total Ridership for Bus Stops</a:t>
            </a:r>
          </a:p>
        </p:txBody>
      </p:sp>
      <p:pic>
        <p:nvPicPr>
          <p:cNvPr id="15" name="Picture 15" descr="Chart, pie chart&#10;&#10;Description automatically generated">
            <a:extLst>
              <a:ext uri="{FF2B5EF4-FFF2-40B4-BE49-F238E27FC236}">
                <a16:creationId xmlns:a16="http://schemas.microsoft.com/office/drawing/2014/main" id="{5D59DB1C-172C-47ED-95FD-1E3F001466CE}"/>
              </a:ext>
            </a:extLst>
          </p:cNvPr>
          <p:cNvPicPr>
            <a:picLocks noChangeAspect="1"/>
          </p:cNvPicPr>
          <p:nvPr/>
        </p:nvPicPr>
        <p:blipFill>
          <a:blip r:embed="rId5"/>
          <a:stretch>
            <a:fillRect/>
          </a:stretch>
        </p:blipFill>
        <p:spPr>
          <a:xfrm>
            <a:off x="685738" y="991484"/>
            <a:ext cx="8201285" cy="5303237"/>
          </a:xfrm>
          <a:prstGeom prst="rect">
            <a:avLst/>
          </a:prstGeom>
        </p:spPr>
      </p:pic>
      <p:sp>
        <p:nvSpPr>
          <p:cNvPr id="28" name="TextBox 27">
            <a:extLst>
              <a:ext uri="{FF2B5EF4-FFF2-40B4-BE49-F238E27FC236}">
                <a16:creationId xmlns:a16="http://schemas.microsoft.com/office/drawing/2014/main" id="{5BEF8CBE-6A99-4BE1-8789-ABAC27A176FF}"/>
              </a:ext>
            </a:extLst>
          </p:cNvPr>
          <p:cNvSpPr txBox="1"/>
          <p:nvPr/>
        </p:nvSpPr>
        <p:spPr>
          <a:xfrm>
            <a:off x="9148497" y="2328444"/>
            <a:ext cx="2636183" cy="3802307"/>
          </a:xfrm>
          <a:prstGeom prst="rect">
            <a:avLst/>
          </a:prstGeom>
          <a:noFill/>
          <a:ln w="9525" cap="rnd">
            <a:solidFill>
              <a:schemeClr val="tx1"/>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600" err="1">
                <a:solidFill>
                  <a:srgbClr val="002060"/>
                </a:solidFill>
                <a:ea typeface="+mn-lt"/>
                <a:cs typeface="+mn-lt"/>
              </a:rPr>
              <a:t>Imbiah</a:t>
            </a:r>
            <a:r>
              <a:rPr lang="en-SG" sz="1600">
                <a:solidFill>
                  <a:srgbClr val="002060"/>
                </a:solidFill>
                <a:ea typeface="+mn-lt"/>
                <a:cs typeface="+mn-lt"/>
              </a:rPr>
              <a:t> lookout has the highest ridership of all bus stops.</a:t>
            </a:r>
            <a:endParaRPr lang="en-US" sz="1600"/>
          </a:p>
          <a:p>
            <a:endParaRPr lang="en-SG" sz="1600">
              <a:solidFill>
                <a:srgbClr val="002060"/>
              </a:solidFill>
            </a:endParaRPr>
          </a:p>
          <a:p>
            <a:endParaRPr lang="en-SG" sz="1400">
              <a:solidFill>
                <a:srgbClr val="002060"/>
              </a:solidFill>
            </a:endParaRPr>
          </a:p>
          <a:p>
            <a:endParaRPr lang="en-SG" sz="1400">
              <a:solidFill>
                <a:srgbClr val="002060"/>
              </a:solidFill>
            </a:endParaRPr>
          </a:p>
          <a:p>
            <a:endParaRPr lang="en-SG" sz="1400">
              <a:solidFill>
                <a:srgbClr val="002060"/>
              </a:solidFill>
            </a:endParaRPr>
          </a:p>
          <a:p>
            <a:r>
              <a:rPr lang="en-SG" sz="1400" i="1">
                <a:solidFill>
                  <a:srgbClr val="002060"/>
                </a:solidFill>
              </a:rPr>
              <a:t>*</a:t>
            </a:r>
            <a:r>
              <a:rPr lang="en-SG" sz="1200" i="1">
                <a:solidFill>
                  <a:srgbClr val="002060"/>
                </a:solidFill>
              </a:rPr>
              <a:t>Beach Station is excluded </a:t>
            </a:r>
            <a:r>
              <a:rPr lang="en-SG" sz="1200" i="1">
                <a:solidFill>
                  <a:schemeClr val="tx1"/>
                </a:solidFill>
              </a:rPr>
              <a:t>in</a:t>
            </a:r>
            <a:r>
              <a:rPr lang="en-SG" sz="1200" i="1">
                <a:solidFill>
                  <a:srgbClr val="002060"/>
                </a:solidFill>
              </a:rPr>
              <a:t> this analysis as it is a bus interchange which naturally will have high ridership.  </a:t>
            </a:r>
            <a:endParaRPr lang="en-US" sz="1200" i="1"/>
          </a:p>
          <a:p>
            <a:endParaRPr lang="en-SG" sz="1200" i="1">
              <a:solidFill>
                <a:srgbClr val="002060"/>
              </a:solidFill>
            </a:endParaRPr>
          </a:p>
          <a:p>
            <a:r>
              <a:rPr lang="en-SG" sz="1200" i="1">
                <a:solidFill>
                  <a:srgbClr val="002060"/>
                </a:solidFill>
              </a:rPr>
              <a:t>Our focus is on the bus stops between the interchange.</a:t>
            </a:r>
            <a:endParaRPr lang="en-SG" sz="1200" i="1"/>
          </a:p>
        </p:txBody>
      </p:sp>
      <p:sp>
        <p:nvSpPr>
          <p:cNvPr id="5" name="Rectangle 4">
            <a:extLst>
              <a:ext uri="{FF2B5EF4-FFF2-40B4-BE49-F238E27FC236}">
                <a16:creationId xmlns:a16="http://schemas.microsoft.com/office/drawing/2014/main" id="{0A784A15-5CA4-4DDF-B588-22BE7AFBC9A8}"/>
              </a:ext>
            </a:extLst>
          </p:cNvPr>
          <p:cNvSpPr/>
          <p:nvPr/>
        </p:nvSpPr>
        <p:spPr>
          <a:xfrm>
            <a:off x="6394055" y="1880492"/>
            <a:ext cx="1405701" cy="299032"/>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00B050"/>
              </a:solidFill>
            </a:endParaRPr>
          </a:p>
        </p:txBody>
      </p:sp>
      <p:sp>
        <p:nvSpPr>
          <p:cNvPr id="6" name="TextBox 5">
            <a:extLst>
              <a:ext uri="{FF2B5EF4-FFF2-40B4-BE49-F238E27FC236}">
                <a16:creationId xmlns:a16="http://schemas.microsoft.com/office/drawing/2014/main" id="{2421FA36-AD2A-4740-8B15-775BD01D9062}"/>
              </a:ext>
            </a:extLst>
          </p:cNvPr>
          <p:cNvSpPr txBox="1"/>
          <p:nvPr/>
        </p:nvSpPr>
        <p:spPr>
          <a:xfrm>
            <a:off x="586481" y="6411776"/>
            <a:ext cx="451061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ea typeface="+mn-lt"/>
                <a:cs typeface="+mn-lt"/>
              </a:rPr>
              <a:t>Source :  3 months actual ridership data (Jan to March 2021</a:t>
            </a:r>
            <a:r>
              <a:rPr lang="en-US" sz="1000">
                <a:latin typeface="Arial"/>
                <a:ea typeface="+mn-lt"/>
                <a:cs typeface="Calibri"/>
              </a:rPr>
              <a:t>) from SDC</a:t>
            </a:r>
            <a:endParaRPr lang="en-US" sz="1000">
              <a:latin typeface="Arial"/>
              <a:cs typeface="Calibri"/>
            </a:endParaRPr>
          </a:p>
        </p:txBody>
      </p:sp>
      <p:cxnSp>
        <p:nvCxnSpPr>
          <p:cNvPr id="2" name="Straight Arrow Connector 1">
            <a:extLst>
              <a:ext uri="{FF2B5EF4-FFF2-40B4-BE49-F238E27FC236}">
                <a16:creationId xmlns:a16="http://schemas.microsoft.com/office/drawing/2014/main" id="{B63EFFEA-9E3A-4A13-9654-5C684A6E316D}"/>
              </a:ext>
            </a:extLst>
          </p:cNvPr>
          <p:cNvCxnSpPr/>
          <p:nvPr/>
        </p:nvCxnSpPr>
        <p:spPr>
          <a:xfrm flipV="1">
            <a:off x="9391650" y="3990975"/>
            <a:ext cx="2143125" cy="9525"/>
          </a:xfrm>
          <a:prstGeom prst="straightConnector1">
            <a:avLst/>
          </a:prstGeom>
          <a:ln w="9525" cap="rnd">
            <a:solidFill>
              <a:srgbClr val="002060"/>
            </a:solidFill>
            <a:prstDash val="dash"/>
            <a:roun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630276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8" descr="Chart, bar chart&#10;&#10;Description automatically generated">
            <a:extLst>
              <a:ext uri="{FF2B5EF4-FFF2-40B4-BE49-F238E27FC236}">
                <a16:creationId xmlns:a16="http://schemas.microsoft.com/office/drawing/2014/main" id="{BF88B153-D379-4AEB-882A-4640F4183E92}"/>
              </a:ext>
            </a:extLst>
          </p:cNvPr>
          <p:cNvPicPr>
            <a:picLocks noChangeAspect="1"/>
          </p:cNvPicPr>
          <p:nvPr/>
        </p:nvPicPr>
        <p:blipFill>
          <a:blip r:embed="rId3"/>
          <a:stretch>
            <a:fillRect/>
          </a:stretch>
        </p:blipFill>
        <p:spPr>
          <a:xfrm>
            <a:off x="524076" y="1256909"/>
            <a:ext cx="7868962" cy="4897411"/>
          </a:xfrm>
          <a:prstGeom prst="rect">
            <a:avLst/>
          </a:prstGeom>
        </p:spPr>
      </p:pic>
      <p:sp>
        <p:nvSpPr>
          <p:cNvPr id="2" name="Title 1">
            <a:extLst>
              <a:ext uri="{FF2B5EF4-FFF2-40B4-BE49-F238E27FC236}">
                <a16:creationId xmlns:a16="http://schemas.microsoft.com/office/drawing/2014/main" id="{ED14AA63-35D8-4136-8B2F-DE1837A583A2}"/>
              </a:ext>
            </a:extLst>
          </p:cNvPr>
          <p:cNvSpPr>
            <a:spLocks noGrp="1"/>
          </p:cNvSpPr>
          <p:nvPr>
            <p:ph type="title"/>
          </p:nvPr>
        </p:nvSpPr>
        <p:spPr>
          <a:xfrm>
            <a:off x="523898" y="564927"/>
            <a:ext cx="10605402" cy="470898"/>
          </a:xfrm>
        </p:spPr>
        <p:txBody>
          <a:bodyPr/>
          <a:lstStyle/>
          <a:p>
            <a:r>
              <a:rPr lang="en-US">
                <a:solidFill>
                  <a:srgbClr val="002060"/>
                </a:solidFill>
              </a:rPr>
              <a:t>Total Ridership by time of day(All bus stops &amp; </a:t>
            </a:r>
            <a:r>
              <a:rPr lang="en-US" err="1">
                <a:solidFill>
                  <a:srgbClr val="002060"/>
                </a:solidFill>
              </a:rPr>
              <a:t>Imbiah</a:t>
            </a:r>
            <a:r>
              <a:rPr lang="en-US">
                <a:solidFill>
                  <a:srgbClr val="002060"/>
                </a:solidFill>
              </a:rPr>
              <a:t>) </a:t>
            </a:r>
          </a:p>
        </p:txBody>
      </p:sp>
      <p:sp>
        <p:nvSpPr>
          <p:cNvPr id="18" name="Flowchart: Connector 17">
            <a:extLst>
              <a:ext uri="{FF2B5EF4-FFF2-40B4-BE49-F238E27FC236}">
                <a16:creationId xmlns:a16="http://schemas.microsoft.com/office/drawing/2014/main" id="{4C8E7E93-D719-4D68-AF75-84A3D92DD60C}"/>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p>
        </p:txBody>
      </p:sp>
      <p:pic>
        <p:nvPicPr>
          <p:cNvPr id="19" name="Graphic 18" descr="Bar chart">
            <a:extLst>
              <a:ext uri="{FF2B5EF4-FFF2-40B4-BE49-F238E27FC236}">
                <a16:creationId xmlns:a16="http://schemas.microsoft.com/office/drawing/2014/main" id="{34C08A26-CA1B-4581-85D4-0D95F9633BC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414721" y="32586"/>
            <a:ext cx="553679" cy="553679"/>
          </a:xfrm>
          <a:prstGeom prst="rect">
            <a:avLst/>
          </a:prstGeom>
        </p:spPr>
      </p:pic>
      <p:sp>
        <p:nvSpPr>
          <p:cNvPr id="4" name="TextBox 3">
            <a:extLst>
              <a:ext uri="{FF2B5EF4-FFF2-40B4-BE49-F238E27FC236}">
                <a16:creationId xmlns:a16="http://schemas.microsoft.com/office/drawing/2014/main" id="{215644EC-E1A2-4B5F-BA53-79EB189605EC}"/>
              </a:ext>
            </a:extLst>
          </p:cNvPr>
          <p:cNvSpPr txBox="1"/>
          <p:nvPr/>
        </p:nvSpPr>
        <p:spPr>
          <a:xfrm>
            <a:off x="8725156" y="3816877"/>
            <a:ext cx="3129659" cy="2205322"/>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SG" sz="1600">
                <a:solidFill>
                  <a:srgbClr val="002060"/>
                </a:solidFill>
              </a:rPr>
              <a:t>Sentosa visitors generally prefer to take the bus in the afternoon compared to other times of the day. </a:t>
            </a:r>
            <a:endParaRPr lang="en-US">
              <a:solidFill>
                <a:srgbClr val="FFFFFF"/>
              </a:solidFill>
            </a:endParaRPr>
          </a:p>
          <a:p>
            <a:endParaRPr lang="en-SG" sz="1600">
              <a:solidFill>
                <a:srgbClr val="002060"/>
              </a:solidFill>
            </a:endParaRPr>
          </a:p>
          <a:p>
            <a:r>
              <a:rPr lang="en-SG" sz="1600">
                <a:solidFill>
                  <a:srgbClr val="002060"/>
                </a:solidFill>
              </a:rPr>
              <a:t>This suggests that most of the bus congestion happens in the afternoon.</a:t>
            </a:r>
            <a:endParaRPr lang="en-US">
              <a:solidFill>
                <a:srgbClr val="FFFFFF"/>
              </a:solidFill>
            </a:endParaRPr>
          </a:p>
        </p:txBody>
      </p:sp>
      <p:sp>
        <p:nvSpPr>
          <p:cNvPr id="7" name="Rectangle 6">
            <a:extLst>
              <a:ext uri="{FF2B5EF4-FFF2-40B4-BE49-F238E27FC236}">
                <a16:creationId xmlns:a16="http://schemas.microsoft.com/office/drawing/2014/main" id="{EE72E06D-8EAE-4242-B1FE-DB5A60BCC68C}"/>
              </a:ext>
            </a:extLst>
          </p:cNvPr>
          <p:cNvSpPr/>
          <p:nvPr/>
        </p:nvSpPr>
        <p:spPr>
          <a:xfrm>
            <a:off x="559948" y="3208716"/>
            <a:ext cx="7357637" cy="1007688"/>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00B050"/>
              </a:solidFill>
            </a:endParaRPr>
          </a:p>
        </p:txBody>
      </p:sp>
      <p:sp>
        <p:nvSpPr>
          <p:cNvPr id="11" name="TextBox 10">
            <a:extLst>
              <a:ext uri="{FF2B5EF4-FFF2-40B4-BE49-F238E27FC236}">
                <a16:creationId xmlns:a16="http://schemas.microsoft.com/office/drawing/2014/main" id="{7A860165-0B15-49E4-A7ED-826D9540D919}"/>
              </a:ext>
            </a:extLst>
          </p:cNvPr>
          <p:cNvSpPr txBox="1"/>
          <p:nvPr/>
        </p:nvSpPr>
        <p:spPr>
          <a:xfrm>
            <a:off x="480647" y="6318643"/>
            <a:ext cx="451061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ea typeface="+mn-lt"/>
                <a:cs typeface="+mn-lt"/>
              </a:rPr>
              <a:t>Source :  3 months actual ridership data (Jan to March 2021</a:t>
            </a:r>
            <a:r>
              <a:rPr lang="en-US" sz="1000">
                <a:latin typeface="Arial"/>
                <a:ea typeface="+mn-lt"/>
                <a:cs typeface="Calibri"/>
              </a:rPr>
              <a:t>) from SDC</a:t>
            </a:r>
            <a:endParaRPr lang="en-US" sz="1000">
              <a:latin typeface="Arial"/>
              <a:cs typeface="Calibri"/>
            </a:endParaRPr>
          </a:p>
        </p:txBody>
      </p:sp>
      <p:sp>
        <p:nvSpPr>
          <p:cNvPr id="3" name="TextBox 2">
            <a:extLst>
              <a:ext uri="{FF2B5EF4-FFF2-40B4-BE49-F238E27FC236}">
                <a16:creationId xmlns:a16="http://schemas.microsoft.com/office/drawing/2014/main" id="{A06E2C6C-AA2D-4DBA-B448-457815C4CAD3}"/>
              </a:ext>
            </a:extLst>
          </p:cNvPr>
          <p:cNvSpPr txBox="1"/>
          <p:nvPr/>
        </p:nvSpPr>
        <p:spPr>
          <a:xfrm>
            <a:off x="783546" y="2476790"/>
            <a:ext cx="1534885" cy="2616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050" b="1">
                <a:solidFill>
                  <a:srgbClr val="000000"/>
                </a:solidFill>
              </a:rPr>
              <a:t>07:00 – 11:59</a:t>
            </a:r>
          </a:p>
        </p:txBody>
      </p:sp>
      <p:sp>
        <p:nvSpPr>
          <p:cNvPr id="10" name="TextBox 9">
            <a:extLst>
              <a:ext uri="{FF2B5EF4-FFF2-40B4-BE49-F238E27FC236}">
                <a16:creationId xmlns:a16="http://schemas.microsoft.com/office/drawing/2014/main" id="{F403E5AA-CAF9-429E-AF8A-D6CAE94AE104}"/>
              </a:ext>
            </a:extLst>
          </p:cNvPr>
          <p:cNvSpPr txBox="1"/>
          <p:nvPr/>
        </p:nvSpPr>
        <p:spPr>
          <a:xfrm>
            <a:off x="635695" y="3788321"/>
            <a:ext cx="1534885" cy="2616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050" b="1">
                <a:solidFill>
                  <a:srgbClr val="000000"/>
                </a:solidFill>
              </a:rPr>
              <a:t>12:00 – 17:59</a:t>
            </a:r>
          </a:p>
        </p:txBody>
      </p:sp>
      <p:sp>
        <p:nvSpPr>
          <p:cNvPr id="12" name="TextBox 11">
            <a:extLst>
              <a:ext uri="{FF2B5EF4-FFF2-40B4-BE49-F238E27FC236}">
                <a16:creationId xmlns:a16="http://schemas.microsoft.com/office/drawing/2014/main" id="{E8C9A459-A11F-4DB3-BC61-E14A0DC903CB}"/>
              </a:ext>
            </a:extLst>
          </p:cNvPr>
          <p:cNvSpPr txBox="1"/>
          <p:nvPr/>
        </p:nvSpPr>
        <p:spPr>
          <a:xfrm>
            <a:off x="738090" y="5134083"/>
            <a:ext cx="1534885" cy="2616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050" b="1">
                <a:solidFill>
                  <a:srgbClr val="000000"/>
                </a:solidFill>
              </a:rPr>
              <a:t>18:00 – 23:59 </a:t>
            </a:r>
          </a:p>
        </p:txBody>
      </p:sp>
    </p:spTree>
    <p:extLst>
      <p:ext uri="{BB962C8B-B14F-4D97-AF65-F5344CB8AC3E}">
        <p14:creationId xmlns:p14="http://schemas.microsoft.com/office/powerpoint/2010/main" val="216041550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lowchart: Connector 17">
            <a:extLst>
              <a:ext uri="{FF2B5EF4-FFF2-40B4-BE49-F238E27FC236}">
                <a16:creationId xmlns:a16="http://schemas.microsoft.com/office/drawing/2014/main" id="{4C8E7E93-D719-4D68-AF75-84A3D92DD60C}"/>
              </a:ext>
            </a:extLst>
          </p:cNvPr>
          <p:cNvSpPr>
            <a:spLocks noChangeAspect="1"/>
          </p:cNvSpPr>
          <p:nvPr/>
        </p:nvSpPr>
        <p:spPr>
          <a:xfrm>
            <a:off x="10931699" y="-199070"/>
            <a:ext cx="1519721" cy="1519870"/>
          </a:xfrm>
          <a:prstGeom prst="flowChartConnector">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SG" sz="1200">
              <a:solidFill>
                <a:schemeClr val="bg1"/>
              </a:solidFill>
              <a:ea typeface="+mn-lt"/>
              <a:cs typeface="+mn-lt"/>
            </a:endParaRPr>
          </a:p>
          <a:p>
            <a:pPr algn="ctr"/>
            <a:endParaRPr lang="en-SG" sz="1200">
              <a:solidFill>
                <a:schemeClr val="bg1"/>
              </a:solidFill>
              <a:ea typeface="+mn-lt"/>
              <a:cs typeface="+mn-lt"/>
            </a:endParaRPr>
          </a:p>
          <a:p>
            <a:pPr algn="ctr"/>
            <a:endParaRPr lang="en-SG" sz="1300">
              <a:solidFill>
                <a:schemeClr val="bg1"/>
              </a:solidFill>
            </a:endParaRPr>
          </a:p>
          <a:p>
            <a:pPr algn="ctr"/>
            <a:r>
              <a:rPr lang="en-SG" sz="1300">
                <a:solidFill>
                  <a:schemeClr val="bg1"/>
                </a:solidFill>
              </a:rPr>
              <a:t>Exploratory Data Analysis</a:t>
            </a:r>
          </a:p>
        </p:txBody>
      </p:sp>
      <p:pic>
        <p:nvPicPr>
          <p:cNvPr id="19" name="Graphic 18" descr="Bar chart">
            <a:extLst>
              <a:ext uri="{FF2B5EF4-FFF2-40B4-BE49-F238E27FC236}">
                <a16:creationId xmlns:a16="http://schemas.microsoft.com/office/drawing/2014/main" id="{34C08A26-CA1B-4581-85D4-0D95F9633B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14721" y="32586"/>
            <a:ext cx="553679" cy="553679"/>
          </a:xfrm>
          <a:prstGeom prst="rect">
            <a:avLst/>
          </a:prstGeom>
        </p:spPr>
      </p:pic>
      <p:sp>
        <p:nvSpPr>
          <p:cNvPr id="5" name="Title 1">
            <a:extLst>
              <a:ext uri="{FF2B5EF4-FFF2-40B4-BE49-F238E27FC236}">
                <a16:creationId xmlns:a16="http://schemas.microsoft.com/office/drawing/2014/main" id="{66362E8C-07A8-4B97-87C8-091A9FDB599A}"/>
              </a:ext>
            </a:extLst>
          </p:cNvPr>
          <p:cNvSpPr txBox="1">
            <a:spLocks/>
          </p:cNvSpPr>
          <p:nvPr/>
        </p:nvSpPr>
        <p:spPr>
          <a:xfrm>
            <a:off x="639292" y="622800"/>
            <a:ext cx="10292156" cy="4708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Trebuchet MS" panose="020B0603020202020204" pitchFamily="34" charset="0"/>
              </a:defRPr>
            </a:lvl1pPr>
          </a:lstStyle>
          <a:p>
            <a:r>
              <a:rPr lang="en-US" err="1">
                <a:solidFill>
                  <a:srgbClr val="002060"/>
                </a:solidFill>
                <a:ea typeface="+mj-lt"/>
                <a:cs typeface="+mj-lt"/>
              </a:rPr>
              <a:t>Imbiah</a:t>
            </a:r>
            <a:r>
              <a:rPr lang="en-US">
                <a:solidFill>
                  <a:srgbClr val="002060"/>
                </a:solidFill>
                <a:ea typeface="+mj-lt"/>
                <a:cs typeface="+mj-lt"/>
              </a:rPr>
              <a:t> Lookout is one of the top 3 popular bus stops</a:t>
            </a:r>
            <a:endParaRPr lang="en-US">
              <a:ea typeface="+mj-lt"/>
              <a:cs typeface="+mj-lt"/>
            </a:endParaRPr>
          </a:p>
        </p:txBody>
      </p:sp>
      <p:pic>
        <p:nvPicPr>
          <p:cNvPr id="2" name="Picture 3" descr="Chart, bar chart&#10;&#10;Description automatically generated">
            <a:extLst>
              <a:ext uri="{FF2B5EF4-FFF2-40B4-BE49-F238E27FC236}">
                <a16:creationId xmlns:a16="http://schemas.microsoft.com/office/drawing/2014/main" id="{69CF128B-0B09-4BF1-B2CA-1BA877B1F78B}"/>
              </a:ext>
            </a:extLst>
          </p:cNvPr>
          <p:cNvPicPr>
            <a:picLocks noChangeAspect="1"/>
          </p:cNvPicPr>
          <p:nvPr/>
        </p:nvPicPr>
        <p:blipFill rotWithShape="1">
          <a:blip r:embed="rId5"/>
          <a:srcRect l="3904" r="-126" b="-225"/>
          <a:stretch/>
        </p:blipFill>
        <p:spPr>
          <a:xfrm>
            <a:off x="731039" y="1242637"/>
            <a:ext cx="10294585" cy="4993781"/>
          </a:xfrm>
          <a:prstGeom prst="rect">
            <a:avLst/>
          </a:prstGeom>
        </p:spPr>
      </p:pic>
      <p:sp>
        <p:nvSpPr>
          <p:cNvPr id="14" name="TextBox 13">
            <a:extLst>
              <a:ext uri="{FF2B5EF4-FFF2-40B4-BE49-F238E27FC236}">
                <a16:creationId xmlns:a16="http://schemas.microsoft.com/office/drawing/2014/main" id="{3C1C8EDA-91F1-403C-A371-164289F5FB16}"/>
              </a:ext>
            </a:extLst>
          </p:cNvPr>
          <p:cNvSpPr txBox="1"/>
          <p:nvPr/>
        </p:nvSpPr>
        <p:spPr>
          <a:xfrm>
            <a:off x="506176" y="7378954"/>
            <a:ext cx="10641153" cy="873403"/>
          </a:xfrm>
          <a:prstGeom prst="rect">
            <a:avLst/>
          </a:prstGeom>
          <a:noFill/>
          <a:ln w="9525" cap="rnd">
            <a:solidFill>
              <a:srgbClr val="002060"/>
            </a:solidFill>
            <a:prstDash val="lg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sz="1600" err="1">
                <a:solidFill>
                  <a:srgbClr val="002060"/>
                </a:solidFill>
              </a:rPr>
              <a:t>Imbiah</a:t>
            </a:r>
            <a:r>
              <a:rPr lang="en-SG" sz="1600">
                <a:solidFill>
                  <a:srgbClr val="002060"/>
                </a:solidFill>
              </a:rPr>
              <a:t> Lookout and </a:t>
            </a:r>
            <a:r>
              <a:rPr lang="en-SG" sz="1600" err="1">
                <a:solidFill>
                  <a:srgbClr val="002060"/>
                </a:solidFill>
              </a:rPr>
              <a:t>Siloso</a:t>
            </a:r>
            <a:r>
              <a:rPr lang="en-SG" sz="1600">
                <a:solidFill>
                  <a:srgbClr val="002060"/>
                </a:solidFill>
              </a:rPr>
              <a:t> Point are the top bus stops with high popularity among all bus stops</a:t>
            </a:r>
          </a:p>
          <a:p>
            <a:endParaRPr lang="en-SG" sz="1600">
              <a:solidFill>
                <a:srgbClr val="002060"/>
              </a:solidFill>
            </a:endParaRPr>
          </a:p>
          <a:p>
            <a:r>
              <a:rPr lang="en-SG" sz="1600">
                <a:solidFill>
                  <a:srgbClr val="002060"/>
                </a:solidFill>
              </a:rPr>
              <a:t>The popularity factor has a correlation with the total rider. The higher the score, there will be more passengers.</a:t>
            </a:r>
            <a:endParaRPr lang="en-SG"/>
          </a:p>
        </p:txBody>
      </p:sp>
      <p:sp>
        <p:nvSpPr>
          <p:cNvPr id="6" name="Rectangle 5">
            <a:extLst>
              <a:ext uri="{FF2B5EF4-FFF2-40B4-BE49-F238E27FC236}">
                <a16:creationId xmlns:a16="http://schemas.microsoft.com/office/drawing/2014/main" id="{208993E5-B009-40A8-BC89-286E139EA12D}"/>
              </a:ext>
            </a:extLst>
          </p:cNvPr>
          <p:cNvSpPr/>
          <p:nvPr/>
        </p:nvSpPr>
        <p:spPr>
          <a:xfrm>
            <a:off x="1792449" y="1866450"/>
            <a:ext cx="6431910" cy="313554"/>
          </a:xfrm>
          <a:prstGeom prst="rect">
            <a:avLst/>
          </a:prstGeom>
          <a:noFill/>
          <a:ln w="28575" cap="rnd" cmpd="sng" algn="ctr">
            <a:solidFill>
              <a:srgbClr val="FF8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200">
              <a:solidFill>
                <a:srgbClr val="00B050"/>
              </a:solidFill>
            </a:endParaRPr>
          </a:p>
        </p:txBody>
      </p:sp>
      <p:sp>
        <p:nvSpPr>
          <p:cNvPr id="7" name="TextBox 6">
            <a:extLst>
              <a:ext uri="{FF2B5EF4-FFF2-40B4-BE49-F238E27FC236}">
                <a16:creationId xmlns:a16="http://schemas.microsoft.com/office/drawing/2014/main" id="{94FE5CC3-34DB-4563-9D82-37FBEA4166BF}"/>
              </a:ext>
            </a:extLst>
          </p:cNvPr>
          <p:cNvSpPr txBox="1"/>
          <p:nvPr/>
        </p:nvSpPr>
        <p:spPr>
          <a:xfrm>
            <a:off x="639397" y="6380027"/>
            <a:ext cx="451061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ea typeface="+mn-lt"/>
                <a:cs typeface="+mn-lt"/>
              </a:rPr>
              <a:t>Source :  3 months actual ridership data (Jan to March 2021</a:t>
            </a:r>
            <a:r>
              <a:rPr lang="en-US" sz="1000">
                <a:latin typeface="Arial"/>
                <a:ea typeface="+mn-lt"/>
                <a:cs typeface="Calibri"/>
              </a:rPr>
              <a:t>) from SDC</a:t>
            </a:r>
            <a:endParaRPr lang="en-US" sz="1000">
              <a:latin typeface="Arial"/>
              <a:cs typeface="Calibri"/>
            </a:endParaRPr>
          </a:p>
        </p:txBody>
      </p:sp>
    </p:spTree>
    <p:extLst>
      <p:ext uri="{BB962C8B-B14F-4D97-AF65-F5344CB8AC3E}">
        <p14:creationId xmlns:p14="http://schemas.microsoft.com/office/powerpoint/2010/main" val="231635803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NAME" val="Rise Grid 16:9"/>
  <p:tag name="EE4P_STYLE_ID" val="39dcc26a-7131-49f4-a9eb-1c0521500c0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vDVTaVd8hb6b1kRSdaZ3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qWAixli0Adpsnkjav4Q9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XHX5xNumWWBR_ix_SOR0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rKQtrZwWvhvkh_4nn7NL7Q"/>
</p:tagLst>
</file>

<file path=ppt/tags/tag10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GhCTCyY5ka1NZJCIrPqtw"/>
</p:tagLst>
</file>

<file path=ppt/tags/tag11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j9ZejRRTtsaIvYfJ42lQGg"/>
</p:tagLst>
</file>

<file path=ppt/tags/tag11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kVWVDJk78UFFitwmr5RPzg"/>
</p:tagLst>
</file>

<file path=ppt/tags/tag11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ylewG0rYLOysctow_UB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KR4jsvNT8gbl8S32XQdSJQ"/>
</p:tagLst>
</file>

<file path=ppt/tags/tag12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2hHtS22evfAbGXgwkm05fQ"/>
</p:tagLst>
</file>

<file path=ppt/tags/tag12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9i.b3Q7WZMsowRJNC6Eg0Q"/>
</p:tagLst>
</file>

<file path=ppt/tags/tag12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m9Bu3tQkmFpae3ot_Gu12w"/>
</p:tagLst>
</file>

<file path=ppt/tags/tag13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KVzVRzB1wvdz2Uj1l5Ivw"/>
</p:tagLst>
</file>

<file path=ppt/tags/tag13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ennsyDiPN9qq.TKtBYbKhw"/>
</p:tagLst>
</file>

<file path=ppt/tags/tag13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Jzv3_Ti_SSPNpj_.p1vScA"/>
</p:tagLst>
</file>

<file path=ppt/tags/tag14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pJsul38QGKe9qFkv.C_gVw"/>
</p:tagLst>
</file>

<file path=ppt/tags/tag14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Uuzkw_ap44LjO7GeemWpw"/>
</p:tagLst>
</file>

<file path=ppt/tags/tag14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parida0.WbMien2ohjlV2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5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dtcTr36Fjl.eNcPcJyIyp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6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AK7pux3R5UKndXN65nGB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Y6bksXOK3XEwfT4SSam88Q"/>
</p:tagLst>
</file>

<file path=ppt/tags/tag18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3.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AK7pux3R5UKndXN65nGBA"/>
</p:tagLst>
</file>

<file path=ppt/tags/tag19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2.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QHYCmNPJ1_60Y44y2nj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Npm0omy_vDNFr.4VBiY6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gUNsodjj.QPTiuploe4pw"/>
</p:tagLst>
</file>

<file path=ppt/tags/tag2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2n3j2WYj2xgWh9uXaBp.w"/>
</p:tagLst>
</file>

<file path=ppt/tags/tag2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ysbL2kDu37Ie2iYfxDk6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TBMAoXpwp0MLMBSSfgU.Q"/>
</p:tagLst>
</file>

<file path=ppt/tags/tag3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pEaXaohsYZv4amqbi7rnQ"/>
</p:tagLst>
</file>

<file path=ppt/tags/tag3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ytJwQgKnHBBwz0zTi0CVA"/>
</p:tagLst>
</file>

<file path=ppt/tags/tag3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dLEoRbBiv9uxZhl_Ac9bw"/>
</p:tagLst>
</file>

<file path=ppt/tags/tag4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uhx7PPmrp8U2eb7SABrvA"/>
</p:tagLst>
</file>

<file path=ppt/tags/tag4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4GgjYdcUyh3ZbmavHKSGg"/>
</p:tagLst>
</file>

<file path=ppt/tags/tag4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xKYKMF31Zrq0szm8uNM6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HDByHbBEFQKVdsPdqbn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XawhgbDSRt80NqDCJRt6w"/>
</p:tagLst>
</file>

<file path=ppt/tags/tag5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4IVvcX.q1snGKHm2IXVuog"/>
</p:tagLst>
</file>

<file path=ppt/tags/tag5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4NJ7E1Lfyjf3sK0zFEiI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tL1uhY_4hbsk0c6fn7YDFw"/>
</p:tagLst>
</file>

<file path=ppt/tags/tag6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_.LtVUnszVJovAG30yYQOA"/>
</p:tagLst>
</file>

<file path=ppt/tags/tag6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N8FSHYFfwxmnJFS1WsnXg"/>
</p:tagLst>
</file>

<file path=ppt/tags/tag6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6.iYUyxGfzTf2UeLRiLdQ"/>
</p:tagLst>
</file>

<file path=ppt/tags/tag7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zZZlA1C3R1r3Xtko3AlVG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uEBLybNeUsZEHrARQWxq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uEBLybNeUsZEHrARQWxq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1Tnviuvppfp_f9X8JqZoPQ"/>
</p:tagLst>
</file>

<file path=ppt/theme/theme1.xml><?xml version="1.0" encoding="utf-8"?>
<a:theme xmlns:a="http://schemas.openxmlformats.org/drawingml/2006/main" name="Nice Grid 16:9">
  <a:themeElements>
    <a:clrScheme name="Rise">
      <a:dk1>
        <a:srgbClr val="000000"/>
      </a:dk1>
      <a:lt1>
        <a:sysClr val="window" lastClr="FFFFFF"/>
      </a:lt1>
      <a:dk2>
        <a:srgbClr val="171D3C"/>
      </a:dk2>
      <a:lt2>
        <a:srgbClr val="F2F2F2"/>
      </a:lt2>
      <a:accent1>
        <a:srgbClr val="0F1327"/>
      </a:accent1>
      <a:accent2>
        <a:srgbClr val="2A356C"/>
      </a:accent2>
      <a:accent3>
        <a:srgbClr val="31DB89"/>
      </a:accent3>
      <a:accent4>
        <a:srgbClr val="394893"/>
      </a:accent4>
      <a:accent5>
        <a:srgbClr val="7F7F7F"/>
      </a:accent5>
      <a:accent6>
        <a:srgbClr val="FFFF00"/>
      </a:accent6>
      <a:hlink>
        <a:srgbClr val="1C9C5F"/>
      </a:hlink>
      <a:folHlink>
        <a:srgbClr val="1C9C5F"/>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tailEnd type="none"/>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F7638A798FBF54984597EB325E8111B" ma:contentTypeVersion="10" ma:contentTypeDescription="Create a new document." ma:contentTypeScope="" ma:versionID="c9804a3670e65e574a4ae6be2ca83465">
  <xsd:schema xmlns:xsd="http://www.w3.org/2001/XMLSchema" xmlns:xs="http://www.w3.org/2001/XMLSchema" xmlns:p="http://schemas.microsoft.com/office/2006/metadata/properties" xmlns:ns2="2dc97b79-0b93-40db-a5f5-74867eea2b6f" targetNamespace="http://schemas.microsoft.com/office/2006/metadata/properties" ma:root="true" ma:fieldsID="cd77fa9be89e59442720c38a3fae2724" ns2:_="">
    <xsd:import namespace="2dc97b79-0b93-40db-a5f5-74867eea2b6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c97b79-0b93-40db-a5f5-74867eea2b6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734B731-EDCF-42B7-BE42-0947D0E73A6B}">
  <ds:schemaRefs>
    <ds:schemaRef ds:uri="http://schemas.microsoft.com/sharepoint/v3/contenttype/forms"/>
  </ds:schemaRefs>
</ds:datastoreItem>
</file>

<file path=customXml/itemProps2.xml><?xml version="1.0" encoding="utf-8"?>
<ds:datastoreItem xmlns:ds="http://schemas.openxmlformats.org/officeDocument/2006/customXml" ds:itemID="{AE7B3177-C41F-4F8B-BCE9-FE873B0B3A21}">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DB4F6C6-0AD7-4F77-9BE2-CB5E13DA88B2}">
  <ds:schemaRefs>
    <ds:schemaRef ds:uri="2dc97b79-0b93-40db-a5f5-74867eea2b6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48</Slides>
  <Notes>29</Notes>
  <HiddenSlides>0</HiddenSlides>
  <ScaleCrop>false</ScaleCrop>
  <HeadingPairs>
    <vt:vector size="4" baseType="variant">
      <vt:variant>
        <vt:lpstr>Theme</vt:lpstr>
      </vt:variant>
      <vt:variant>
        <vt:i4>1</vt:i4>
      </vt:variant>
      <vt:variant>
        <vt:lpstr>Slide Titles</vt:lpstr>
      </vt:variant>
      <vt:variant>
        <vt:i4>48</vt:i4>
      </vt:variant>
    </vt:vector>
  </HeadingPairs>
  <TitlesOfParts>
    <vt:vector size="49" baseType="lpstr">
      <vt:lpstr>Nice Grid 16:9</vt:lpstr>
      <vt:lpstr>Capstone Project</vt:lpstr>
      <vt:lpstr>PowerPoint Presentation</vt:lpstr>
      <vt:lpstr>Executive Summary</vt:lpstr>
      <vt:lpstr>PowerPoint Presentation</vt:lpstr>
      <vt:lpstr>Project Flow</vt:lpstr>
      <vt:lpstr>PowerPoint Presentation</vt:lpstr>
      <vt:lpstr>Total Ridership for Bus Stops</vt:lpstr>
      <vt:lpstr>Total Ridership by time of day(All bus stops &amp; Imbiah) </vt:lpstr>
      <vt:lpstr>PowerPoint Presentation</vt:lpstr>
      <vt:lpstr>Bus Frequency of Imbiah Lookout </vt:lpstr>
      <vt:lpstr>PowerPoint Presentation</vt:lpstr>
      <vt:lpstr>Feature Selection</vt:lpstr>
      <vt:lpstr>PowerPoint Presentation</vt:lpstr>
      <vt:lpstr>PowerPoint Presentation</vt:lpstr>
      <vt:lpstr>Ridership Predictions for 1st Week of April 2021</vt:lpstr>
      <vt:lpstr>Predicted Minimum Bus Frequency Required  on 1st April 2021</vt:lpstr>
      <vt:lpstr>PowerPoint Presentation</vt:lpstr>
      <vt:lpstr>Adding features in existing Sentosa App Provide real time bus arrival and occupancy information</vt:lpstr>
      <vt:lpstr>PowerPoint Presentation</vt:lpstr>
      <vt:lpstr>PowerPoint Presentation</vt:lpstr>
      <vt:lpstr>PowerPoint Presentation</vt:lpstr>
      <vt:lpstr>PowerPoint Presentation</vt:lpstr>
      <vt:lpstr>Total ridership for bus stops (including Beach station)</vt:lpstr>
      <vt:lpstr>PowerPoint Presentation</vt:lpstr>
      <vt:lpstr>Total ridership by route</vt:lpstr>
      <vt:lpstr>Bus Frequency of top bus stops  Siloso Point and Imbiah Lookout (Weekday)</vt:lpstr>
      <vt:lpstr>Bus Frequency of top bus stops  Siloso Point and Imbiah Lookout (Weekend/holidays)</vt:lpstr>
      <vt:lpstr>Comparing Minimum Bus Frequency Required:  Selected Weekday vs 3 Months of Weekdays Data </vt:lpstr>
      <vt:lpstr>Select Weekday Bus Frequency Comparison:  Actual Bus Deployed vs Minimum Bus Frequency Required </vt:lpstr>
      <vt:lpstr>Calculation for Popularity Factor</vt:lpstr>
      <vt:lpstr>Hypothesis Testing for Correlation between Variables</vt:lpstr>
      <vt:lpstr>PowerPoint Presentation</vt:lpstr>
      <vt:lpstr>Preprocessing for Modelling Test for Daily Prediction</vt:lpstr>
      <vt:lpstr>PowerPoint Presentation</vt:lpstr>
      <vt:lpstr>Modelling Test for Daily Prediction</vt:lpstr>
      <vt:lpstr>PowerPoint Presentation</vt:lpstr>
      <vt:lpstr>PowerPoint Presentation</vt:lpstr>
      <vt:lpstr>PowerPoint Presentation</vt:lpstr>
      <vt:lpstr>Modelling Test for Daily Prediction (Tune Sarimax &amp; Tune Sarima)</vt:lpstr>
      <vt:lpstr>Modelling Test for Daily Prediction (Sarimax)</vt:lpstr>
      <vt:lpstr>PowerPoint Presentation</vt:lpstr>
      <vt:lpstr>Preprocessing for Modelling Test  for Hourly Prediction</vt:lpstr>
      <vt:lpstr>PowerPoint Presentation</vt:lpstr>
      <vt:lpstr>PowerPoint Presentation</vt:lpstr>
      <vt:lpstr>PowerPoint Presentation</vt:lpstr>
      <vt:lpstr>PowerPoint Presentation</vt:lpstr>
      <vt:lpstr>PowerPoint Presentation</vt:lpstr>
      <vt:lpstr>PowerPoint Presentation</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revision>1</cp:revision>
  <cp:lastPrinted>1999-12-31T16:00:00Z</cp:lastPrinted>
  <dcterms:created xsi:type="dcterms:W3CDTF">2021-02-08T07:05:41Z</dcterms:created>
  <dcterms:modified xsi:type="dcterms:W3CDTF">2022-01-11T05:2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2601277</vt:lpwstr>
  </property>
  <property fmtid="{D5CDD505-2E9C-101B-9397-08002B2CF9AE}" pid="4" name="NXPowerLiteSettings">
    <vt:lpwstr>87000AA0054001</vt:lpwstr>
  </property>
  <property fmtid="{D5CDD505-2E9C-101B-9397-08002B2CF9AE}" pid="5" name="NXPowerLiteVersion">
    <vt:lpwstr>D8.0.4</vt:lpwstr>
  </property>
  <property fmtid="{D5CDD505-2E9C-101B-9397-08002B2CF9AE}" pid="6" name="Template Name">
    <vt:lpwstr>16x9</vt:lpwstr>
  </property>
  <property fmtid="{D5CDD505-2E9C-101B-9397-08002B2CF9AE}" pid="7" name="ContentTypeId">
    <vt:lpwstr>0x0101000F7638A798FBF54984597EB325E8111B</vt:lpwstr>
  </property>
</Properties>
</file>